
<file path=[Content_Types].xml><?xml version="1.0" encoding="utf-8"?>
<Types xmlns="http://schemas.openxmlformats.org/package/2006/content-types">
  <Default Extension="B8162780" ContentType="image/png"/>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notesSlides/notesSlide1.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24.xml" ContentType="application/vnd.openxmlformats-officedocument.presentationml.tags+xml"/>
  <Override PartName="/ppt/tags/tag125.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notesSlides/notesSlide6.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notesSlides/notesSlide7.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8.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10.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11.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12.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notesSlides/notesSlide13.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notesSlides/notesSlide14.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notesSlides/notesSlide15.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notesSlides/notesSlide16.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notesSlides/notesSlide17.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notesSlides/notesSlide18.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notesSlides/notesSlide1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72" r:id="rId2"/>
    <p:sldMasterId id="2147485191" r:id="rId3"/>
    <p:sldMasterId id="2147485209" r:id="rId4"/>
  </p:sldMasterIdLst>
  <p:notesMasterIdLst>
    <p:notesMasterId r:id="rId25"/>
  </p:notesMasterIdLst>
  <p:handoutMasterIdLst>
    <p:handoutMasterId r:id="rId26"/>
  </p:handoutMasterIdLst>
  <p:sldIdLst>
    <p:sldId id="797" r:id="rId5"/>
    <p:sldId id="783" r:id="rId6"/>
    <p:sldId id="791" r:id="rId7"/>
    <p:sldId id="792" r:id="rId8"/>
    <p:sldId id="794" r:id="rId9"/>
    <p:sldId id="795" r:id="rId10"/>
    <p:sldId id="793" r:id="rId11"/>
    <p:sldId id="796" r:id="rId12"/>
    <p:sldId id="790" r:id="rId13"/>
    <p:sldId id="773" r:id="rId14"/>
    <p:sldId id="771" r:id="rId15"/>
    <p:sldId id="784" r:id="rId16"/>
    <p:sldId id="782" r:id="rId17"/>
    <p:sldId id="778" r:id="rId18"/>
    <p:sldId id="789" r:id="rId19"/>
    <p:sldId id="780" r:id="rId20"/>
    <p:sldId id="788" r:id="rId21"/>
    <p:sldId id="779" r:id="rId22"/>
    <p:sldId id="781" r:id="rId23"/>
    <p:sldId id="798" r:id="rId24"/>
  </p:sldIdLst>
  <p:sldSz cx="12192000" cy="6858000"/>
  <p:notesSz cx="9236075" cy="6950075"/>
  <p:custShowLst>
    <p:custShow name="Format Guide Workshop" id="0">
      <p:sldLst/>
    </p:custShow>
  </p:custShowLst>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0084BD3B-1A34-49E5-A1F3-E802383692B6}">
          <p14:sldIdLst>
            <p14:sldId id="797"/>
          </p14:sldIdLst>
        </p14:section>
        <p14:section name="Macroeconomic overview" id="{F5DC5108-5CFB-4C31-ACAD-8FD101054E8E}">
          <p14:sldIdLst>
            <p14:sldId id="783"/>
            <p14:sldId id="791"/>
            <p14:sldId id="792"/>
            <p14:sldId id="794"/>
            <p14:sldId id="795"/>
            <p14:sldId id="793"/>
            <p14:sldId id="796"/>
          </p14:sldIdLst>
        </p14:section>
        <p14:section name="How institutions can support entrepreneurs in their international activities - our experience and capabilities" id="{939FAF56-6443-4E15-8B97-9B2887EE6170}">
          <p14:sldIdLst>
            <p14:sldId id="790"/>
            <p14:sldId id="773"/>
            <p14:sldId id="771"/>
            <p14:sldId id="784"/>
          </p14:sldIdLst>
        </p14:section>
        <p14:section name="Our experience - examples of transactions" id="{C7BC7BC3-AB8B-445D-8EF1-377BE1808B93}">
          <p14:sldIdLst>
            <p14:sldId id="782"/>
            <p14:sldId id="778"/>
            <p14:sldId id="789"/>
            <p14:sldId id="780"/>
            <p14:sldId id="788"/>
            <p14:sldId id="779"/>
            <p14:sldId id="781"/>
            <p14:sldId id="798"/>
          </p14:sldIdLst>
        </p14:section>
      </p14:sectionLst>
    </p:ext>
    <p:ext uri="{EFAFB233-063F-42B5-8137-9DF3F51BA10A}">
      <p15:sldGuideLst xmlns:p15="http://schemas.microsoft.com/office/powerpoint/2012/main">
        <p15:guide id="1" orient="horz" pos="1457" userDrawn="1">
          <p15:clr>
            <a:srgbClr val="A4A3A4"/>
          </p15:clr>
        </p15:guide>
        <p15:guide id="2" pos="5269" userDrawn="1">
          <p15:clr>
            <a:srgbClr val="A4A3A4"/>
          </p15:clr>
        </p15:guide>
        <p15:guide id="3" pos="408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B164335-86A1-2CA1-B3D3-381A12F158D5}" name="Bartkiewicz Piotr  (Departament Analiz Makroekonomicznych)" initials="BP(AM" userId="S::piotr.bartkiewicz@pekao.com.pl::c3ff34ab-3689-49b2-91bb-5fc0ef688b1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zczepańska Magdalena  (Departament Bankowości Międzynarodowej i Finansowania Handlu)" initials="SM(BMiFH" lastIdx="1" clrIdx="0">
    <p:extLst>
      <p:ext uri="{19B8F6BF-5375-455C-9EA6-DF929625EA0E}">
        <p15:presenceInfo xmlns:p15="http://schemas.microsoft.com/office/powerpoint/2012/main" userId="S::magdalena.szczepanska@pekao.com.pl::85b85159-e0ae-48b4-a543-780a5c5653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B3D7"/>
    <a:srgbClr val="548235"/>
    <a:srgbClr val="595959"/>
    <a:srgbClr val="BFBFBF"/>
    <a:srgbClr val="D99694"/>
    <a:srgbClr val="E46C0A"/>
    <a:srgbClr val="E5F0F9"/>
    <a:srgbClr val="002060"/>
    <a:srgbClr val="FFFFFF"/>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62" autoAdjust="0"/>
    <p:restoredTop sz="95326" autoAdjust="0"/>
  </p:normalViewPr>
  <p:slideViewPr>
    <p:cSldViewPr snapToGrid="0">
      <p:cViewPr varScale="1">
        <p:scale>
          <a:sx n="109" d="100"/>
          <a:sy n="109" d="100"/>
        </p:scale>
        <p:origin x="780" y="108"/>
      </p:cViewPr>
      <p:guideLst>
        <p:guide orient="horz" pos="1457"/>
        <p:guide pos="5269"/>
        <p:guide pos="408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86" d="100"/>
          <a:sy n="86" d="100"/>
        </p:scale>
        <p:origin x="1992" y="53"/>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Zeszyt1"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Zeszyt3"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Zeszyt3"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Zeszyt3"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hqfile\bam\ZAiPR\PREZENTACJE\2023\KIG_radcowie_ambasad\challenges.xlsx" TargetMode="External"/><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oleObject" Target="file:///C:\Users\pbartkiewicz\Downloads\API_NY.GDP.PCAP.PP.KD_DS2_en_excel_v2_4770533.xls"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hqfile\bam\BAZY\PB\dane_mies\PKB_inwestycja_zapasy\Baza_PKB_2015.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solidFill>
                <a:latin typeface="Calibri" panose="020F0502020204030204" pitchFamily="34" charset="0"/>
                <a:ea typeface="+mn-ea"/>
                <a:cs typeface="+mn-cs"/>
              </a:defRPr>
            </a:pPr>
            <a:r>
              <a:rPr lang="pl-PL">
                <a:solidFill>
                  <a:schemeClr val="tx1"/>
                </a:solidFill>
              </a:rPr>
              <a:t>Poland's GDP per capita as % of France's</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solidFill>
              <a:latin typeface="Calibri" panose="020F0502020204030204" pitchFamily="34" charset="0"/>
              <a:ea typeface="+mn-ea"/>
              <a:cs typeface="+mn-cs"/>
            </a:defRPr>
          </a:pPr>
          <a:endParaRPr lang="pl-PL"/>
        </a:p>
      </c:txPr>
    </c:title>
    <c:autoTitleDeleted val="0"/>
    <c:plotArea>
      <c:layout/>
      <c:scatterChart>
        <c:scatterStyle val="lineMarker"/>
        <c:varyColors val="0"/>
        <c:ser>
          <c:idx val="0"/>
          <c:order val="0"/>
          <c:spPr>
            <a:ln w="25400" cap="rnd">
              <a:noFill/>
              <a:round/>
            </a:ln>
            <a:effectLst/>
          </c:spPr>
          <c:marker>
            <c:symbol val="circle"/>
            <c:size val="5"/>
            <c:spPr>
              <a:solidFill>
                <a:srgbClr val="D71920"/>
              </a:solidFill>
              <a:ln w="9525">
                <a:solidFill>
                  <a:srgbClr val="D71920"/>
                </a:solidFill>
                <a:prstDash val="solid"/>
              </a:ln>
              <a:effectLst/>
            </c:spPr>
          </c:marker>
          <c:xVal>
            <c:numRef>
              <c:f>Arkusz1!$A$3:$A$621</c:f>
              <c:numCache>
                <c:formatCode>General</c:formatCode>
                <c:ptCount val="619"/>
                <c:pt idx="0">
                  <c:v>1400</c:v>
                </c:pt>
                <c:pt idx="1">
                  <c:v>1401</c:v>
                </c:pt>
                <c:pt idx="2">
                  <c:v>1402</c:v>
                </c:pt>
                <c:pt idx="3">
                  <c:v>1403</c:v>
                </c:pt>
                <c:pt idx="4">
                  <c:v>1404</c:v>
                </c:pt>
                <c:pt idx="5">
                  <c:v>1405</c:v>
                </c:pt>
                <c:pt idx="6">
                  <c:v>1406</c:v>
                </c:pt>
                <c:pt idx="7">
                  <c:v>1407</c:v>
                </c:pt>
                <c:pt idx="8">
                  <c:v>1408</c:v>
                </c:pt>
                <c:pt idx="9">
                  <c:v>1409</c:v>
                </c:pt>
                <c:pt idx="10">
                  <c:v>1410</c:v>
                </c:pt>
                <c:pt idx="11">
                  <c:v>1411</c:v>
                </c:pt>
                <c:pt idx="12">
                  <c:v>1412</c:v>
                </c:pt>
                <c:pt idx="13">
                  <c:v>1413</c:v>
                </c:pt>
                <c:pt idx="14">
                  <c:v>1414</c:v>
                </c:pt>
                <c:pt idx="15">
                  <c:v>1415</c:v>
                </c:pt>
                <c:pt idx="16">
                  <c:v>1416</c:v>
                </c:pt>
                <c:pt idx="17">
                  <c:v>1417</c:v>
                </c:pt>
                <c:pt idx="18">
                  <c:v>1418</c:v>
                </c:pt>
                <c:pt idx="19">
                  <c:v>1419</c:v>
                </c:pt>
                <c:pt idx="20">
                  <c:v>1420</c:v>
                </c:pt>
                <c:pt idx="21">
                  <c:v>1421</c:v>
                </c:pt>
                <c:pt idx="22">
                  <c:v>1422</c:v>
                </c:pt>
                <c:pt idx="23">
                  <c:v>1423</c:v>
                </c:pt>
                <c:pt idx="24">
                  <c:v>1424</c:v>
                </c:pt>
                <c:pt idx="25">
                  <c:v>1425</c:v>
                </c:pt>
                <c:pt idx="26">
                  <c:v>1426</c:v>
                </c:pt>
                <c:pt idx="27">
                  <c:v>1427</c:v>
                </c:pt>
                <c:pt idx="28">
                  <c:v>1428</c:v>
                </c:pt>
                <c:pt idx="29">
                  <c:v>1429</c:v>
                </c:pt>
                <c:pt idx="30">
                  <c:v>1430</c:v>
                </c:pt>
                <c:pt idx="31">
                  <c:v>1431</c:v>
                </c:pt>
                <c:pt idx="32">
                  <c:v>1432</c:v>
                </c:pt>
                <c:pt idx="33">
                  <c:v>1433</c:v>
                </c:pt>
                <c:pt idx="34">
                  <c:v>1434</c:v>
                </c:pt>
                <c:pt idx="35">
                  <c:v>1435</c:v>
                </c:pt>
                <c:pt idx="36">
                  <c:v>1436</c:v>
                </c:pt>
                <c:pt idx="37">
                  <c:v>1437</c:v>
                </c:pt>
                <c:pt idx="38">
                  <c:v>1438</c:v>
                </c:pt>
                <c:pt idx="39">
                  <c:v>1439</c:v>
                </c:pt>
                <c:pt idx="40">
                  <c:v>1440</c:v>
                </c:pt>
                <c:pt idx="41">
                  <c:v>1441</c:v>
                </c:pt>
                <c:pt idx="42">
                  <c:v>1442</c:v>
                </c:pt>
                <c:pt idx="43">
                  <c:v>1443</c:v>
                </c:pt>
                <c:pt idx="44">
                  <c:v>1444</c:v>
                </c:pt>
                <c:pt idx="45">
                  <c:v>1445</c:v>
                </c:pt>
                <c:pt idx="46">
                  <c:v>1446</c:v>
                </c:pt>
                <c:pt idx="47">
                  <c:v>1447</c:v>
                </c:pt>
                <c:pt idx="48">
                  <c:v>1448</c:v>
                </c:pt>
                <c:pt idx="49">
                  <c:v>1449</c:v>
                </c:pt>
                <c:pt idx="50">
                  <c:v>1450</c:v>
                </c:pt>
                <c:pt idx="51">
                  <c:v>1451</c:v>
                </c:pt>
                <c:pt idx="52">
                  <c:v>1452</c:v>
                </c:pt>
                <c:pt idx="53">
                  <c:v>1453</c:v>
                </c:pt>
                <c:pt idx="54">
                  <c:v>1454</c:v>
                </c:pt>
                <c:pt idx="55">
                  <c:v>1455</c:v>
                </c:pt>
                <c:pt idx="56">
                  <c:v>1456</c:v>
                </c:pt>
                <c:pt idx="57">
                  <c:v>1457</c:v>
                </c:pt>
                <c:pt idx="58">
                  <c:v>1458</c:v>
                </c:pt>
                <c:pt idx="59">
                  <c:v>1459</c:v>
                </c:pt>
                <c:pt idx="60">
                  <c:v>1460</c:v>
                </c:pt>
                <c:pt idx="61">
                  <c:v>1461</c:v>
                </c:pt>
                <c:pt idx="62">
                  <c:v>1462</c:v>
                </c:pt>
                <c:pt idx="63">
                  <c:v>1463</c:v>
                </c:pt>
                <c:pt idx="64">
                  <c:v>1464</c:v>
                </c:pt>
                <c:pt idx="65">
                  <c:v>1465</c:v>
                </c:pt>
                <c:pt idx="66">
                  <c:v>1466</c:v>
                </c:pt>
                <c:pt idx="67">
                  <c:v>1467</c:v>
                </c:pt>
                <c:pt idx="68">
                  <c:v>1468</c:v>
                </c:pt>
                <c:pt idx="69">
                  <c:v>1469</c:v>
                </c:pt>
                <c:pt idx="70">
                  <c:v>1470</c:v>
                </c:pt>
                <c:pt idx="71">
                  <c:v>1471</c:v>
                </c:pt>
                <c:pt idx="72">
                  <c:v>1472</c:v>
                </c:pt>
                <c:pt idx="73">
                  <c:v>1473</c:v>
                </c:pt>
                <c:pt idx="74">
                  <c:v>1474</c:v>
                </c:pt>
                <c:pt idx="75">
                  <c:v>1475</c:v>
                </c:pt>
                <c:pt idx="76">
                  <c:v>1476</c:v>
                </c:pt>
                <c:pt idx="77">
                  <c:v>1477</c:v>
                </c:pt>
                <c:pt idx="78">
                  <c:v>1478</c:v>
                </c:pt>
                <c:pt idx="79">
                  <c:v>1479</c:v>
                </c:pt>
                <c:pt idx="80">
                  <c:v>1480</c:v>
                </c:pt>
                <c:pt idx="81">
                  <c:v>1481</c:v>
                </c:pt>
                <c:pt idx="82">
                  <c:v>1482</c:v>
                </c:pt>
                <c:pt idx="83">
                  <c:v>1483</c:v>
                </c:pt>
                <c:pt idx="84">
                  <c:v>1484</c:v>
                </c:pt>
                <c:pt idx="85">
                  <c:v>1485</c:v>
                </c:pt>
                <c:pt idx="86">
                  <c:v>1486</c:v>
                </c:pt>
                <c:pt idx="87">
                  <c:v>1487</c:v>
                </c:pt>
                <c:pt idx="88">
                  <c:v>1488</c:v>
                </c:pt>
                <c:pt idx="89">
                  <c:v>1489</c:v>
                </c:pt>
                <c:pt idx="90">
                  <c:v>1490</c:v>
                </c:pt>
                <c:pt idx="91">
                  <c:v>1491</c:v>
                </c:pt>
                <c:pt idx="92">
                  <c:v>1492</c:v>
                </c:pt>
                <c:pt idx="93">
                  <c:v>1493</c:v>
                </c:pt>
                <c:pt idx="94">
                  <c:v>1494</c:v>
                </c:pt>
                <c:pt idx="95">
                  <c:v>1495</c:v>
                </c:pt>
                <c:pt idx="96">
                  <c:v>1496</c:v>
                </c:pt>
                <c:pt idx="97">
                  <c:v>1497</c:v>
                </c:pt>
                <c:pt idx="98">
                  <c:v>1498</c:v>
                </c:pt>
                <c:pt idx="99">
                  <c:v>1499</c:v>
                </c:pt>
                <c:pt idx="100">
                  <c:v>1500</c:v>
                </c:pt>
                <c:pt idx="101">
                  <c:v>1501</c:v>
                </c:pt>
                <c:pt idx="102">
                  <c:v>1502</c:v>
                </c:pt>
                <c:pt idx="103">
                  <c:v>1503</c:v>
                </c:pt>
                <c:pt idx="104">
                  <c:v>1504</c:v>
                </c:pt>
                <c:pt idx="105">
                  <c:v>1505</c:v>
                </c:pt>
                <c:pt idx="106">
                  <c:v>1506</c:v>
                </c:pt>
                <c:pt idx="107">
                  <c:v>1507</c:v>
                </c:pt>
                <c:pt idx="108">
                  <c:v>1508</c:v>
                </c:pt>
                <c:pt idx="109">
                  <c:v>1509</c:v>
                </c:pt>
                <c:pt idx="110">
                  <c:v>1510</c:v>
                </c:pt>
                <c:pt idx="111">
                  <c:v>1511</c:v>
                </c:pt>
                <c:pt idx="112">
                  <c:v>1512</c:v>
                </c:pt>
                <c:pt idx="113">
                  <c:v>1513</c:v>
                </c:pt>
                <c:pt idx="114">
                  <c:v>1514</c:v>
                </c:pt>
                <c:pt idx="115">
                  <c:v>1515</c:v>
                </c:pt>
                <c:pt idx="116">
                  <c:v>1516</c:v>
                </c:pt>
                <c:pt idx="117">
                  <c:v>1517</c:v>
                </c:pt>
                <c:pt idx="118">
                  <c:v>1518</c:v>
                </c:pt>
                <c:pt idx="119">
                  <c:v>1519</c:v>
                </c:pt>
                <c:pt idx="120">
                  <c:v>1520</c:v>
                </c:pt>
                <c:pt idx="121">
                  <c:v>1521</c:v>
                </c:pt>
                <c:pt idx="122">
                  <c:v>1522</c:v>
                </c:pt>
                <c:pt idx="123">
                  <c:v>1523</c:v>
                </c:pt>
                <c:pt idx="124">
                  <c:v>1524</c:v>
                </c:pt>
                <c:pt idx="125">
                  <c:v>1525</c:v>
                </c:pt>
                <c:pt idx="126">
                  <c:v>1526</c:v>
                </c:pt>
                <c:pt idx="127">
                  <c:v>1527</c:v>
                </c:pt>
                <c:pt idx="128">
                  <c:v>1528</c:v>
                </c:pt>
                <c:pt idx="129">
                  <c:v>1529</c:v>
                </c:pt>
                <c:pt idx="130">
                  <c:v>1530</c:v>
                </c:pt>
                <c:pt idx="131">
                  <c:v>1531</c:v>
                </c:pt>
                <c:pt idx="132">
                  <c:v>1532</c:v>
                </c:pt>
                <c:pt idx="133">
                  <c:v>1533</c:v>
                </c:pt>
                <c:pt idx="134">
                  <c:v>1534</c:v>
                </c:pt>
                <c:pt idx="135">
                  <c:v>1535</c:v>
                </c:pt>
                <c:pt idx="136">
                  <c:v>1536</c:v>
                </c:pt>
                <c:pt idx="137">
                  <c:v>1537</c:v>
                </c:pt>
                <c:pt idx="138">
                  <c:v>1538</c:v>
                </c:pt>
                <c:pt idx="139">
                  <c:v>1539</c:v>
                </c:pt>
                <c:pt idx="140">
                  <c:v>1540</c:v>
                </c:pt>
                <c:pt idx="141">
                  <c:v>1541</c:v>
                </c:pt>
                <c:pt idx="142">
                  <c:v>1542</c:v>
                </c:pt>
                <c:pt idx="143">
                  <c:v>1543</c:v>
                </c:pt>
                <c:pt idx="144">
                  <c:v>1544</c:v>
                </c:pt>
                <c:pt idx="145">
                  <c:v>1545</c:v>
                </c:pt>
                <c:pt idx="146">
                  <c:v>1546</c:v>
                </c:pt>
                <c:pt idx="147">
                  <c:v>1547</c:v>
                </c:pt>
                <c:pt idx="148">
                  <c:v>1548</c:v>
                </c:pt>
                <c:pt idx="149">
                  <c:v>1549</c:v>
                </c:pt>
                <c:pt idx="150">
                  <c:v>1550</c:v>
                </c:pt>
                <c:pt idx="151">
                  <c:v>1551</c:v>
                </c:pt>
                <c:pt idx="152">
                  <c:v>1552</c:v>
                </c:pt>
                <c:pt idx="153">
                  <c:v>1553</c:v>
                </c:pt>
                <c:pt idx="154">
                  <c:v>1554</c:v>
                </c:pt>
                <c:pt idx="155">
                  <c:v>1555</c:v>
                </c:pt>
                <c:pt idx="156">
                  <c:v>1556</c:v>
                </c:pt>
                <c:pt idx="157">
                  <c:v>1557</c:v>
                </c:pt>
                <c:pt idx="158">
                  <c:v>1558</c:v>
                </c:pt>
                <c:pt idx="159">
                  <c:v>1559</c:v>
                </c:pt>
                <c:pt idx="160">
                  <c:v>1560</c:v>
                </c:pt>
                <c:pt idx="161">
                  <c:v>1561</c:v>
                </c:pt>
                <c:pt idx="162">
                  <c:v>1562</c:v>
                </c:pt>
                <c:pt idx="163">
                  <c:v>1563</c:v>
                </c:pt>
                <c:pt idx="164">
                  <c:v>1564</c:v>
                </c:pt>
                <c:pt idx="165">
                  <c:v>1565</c:v>
                </c:pt>
                <c:pt idx="166">
                  <c:v>1566</c:v>
                </c:pt>
                <c:pt idx="167">
                  <c:v>1567</c:v>
                </c:pt>
                <c:pt idx="168">
                  <c:v>1568</c:v>
                </c:pt>
                <c:pt idx="169">
                  <c:v>1569</c:v>
                </c:pt>
                <c:pt idx="170">
                  <c:v>1570</c:v>
                </c:pt>
                <c:pt idx="171">
                  <c:v>1571</c:v>
                </c:pt>
                <c:pt idx="172">
                  <c:v>1572</c:v>
                </c:pt>
                <c:pt idx="173">
                  <c:v>1573</c:v>
                </c:pt>
                <c:pt idx="174">
                  <c:v>1574</c:v>
                </c:pt>
                <c:pt idx="175">
                  <c:v>1575</c:v>
                </c:pt>
                <c:pt idx="176">
                  <c:v>1576</c:v>
                </c:pt>
                <c:pt idx="177">
                  <c:v>1577</c:v>
                </c:pt>
                <c:pt idx="178">
                  <c:v>1578</c:v>
                </c:pt>
                <c:pt idx="179">
                  <c:v>1579</c:v>
                </c:pt>
                <c:pt idx="180">
                  <c:v>1580</c:v>
                </c:pt>
                <c:pt idx="181">
                  <c:v>1581</c:v>
                </c:pt>
                <c:pt idx="182">
                  <c:v>1582</c:v>
                </c:pt>
                <c:pt idx="183">
                  <c:v>1583</c:v>
                </c:pt>
                <c:pt idx="184">
                  <c:v>1584</c:v>
                </c:pt>
                <c:pt idx="185">
                  <c:v>1585</c:v>
                </c:pt>
                <c:pt idx="186">
                  <c:v>1586</c:v>
                </c:pt>
                <c:pt idx="187">
                  <c:v>1587</c:v>
                </c:pt>
                <c:pt idx="188">
                  <c:v>1588</c:v>
                </c:pt>
                <c:pt idx="189">
                  <c:v>1589</c:v>
                </c:pt>
                <c:pt idx="190">
                  <c:v>1590</c:v>
                </c:pt>
                <c:pt idx="191">
                  <c:v>1591</c:v>
                </c:pt>
                <c:pt idx="192">
                  <c:v>1592</c:v>
                </c:pt>
                <c:pt idx="193">
                  <c:v>1593</c:v>
                </c:pt>
                <c:pt idx="194">
                  <c:v>1594</c:v>
                </c:pt>
                <c:pt idx="195">
                  <c:v>1595</c:v>
                </c:pt>
                <c:pt idx="196">
                  <c:v>1596</c:v>
                </c:pt>
                <c:pt idx="197">
                  <c:v>1597</c:v>
                </c:pt>
                <c:pt idx="198">
                  <c:v>1598</c:v>
                </c:pt>
                <c:pt idx="199">
                  <c:v>1599</c:v>
                </c:pt>
                <c:pt idx="200">
                  <c:v>1600</c:v>
                </c:pt>
                <c:pt idx="201">
                  <c:v>1601</c:v>
                </c:pt>
                <c:pt idx="202">
                  <c:v>1602</c:v>
                </c:pt>
                <c:pt idx="203">
                  <c:v>1603</c:v>
                </c:pt>
                <c:pt idx="204">
                  <c:v>1604</c:v>
                </c:pt>
                <c:pt idx="205">
                  <c:v>1605</c:v>
                </c:pt>
                <c:pt idx="206">
                  <c:v>1606</c:v>
                </c:pt>
                <c:pt idx="207">
                  <c:v>1607</c:v>
                </c:pt>
                <c:pt idx="208">
                  <c:v>1608</c:v>
                </c:pt>
                <c:pt idx="209">
                  <c:v>1609</c:v>
                </c:pt>
                <c:pt idx="210">
                  <c:v>1610</c:v>
                </c:pt>
                <c:pt idx="211">
                  <c:v>1611</c:v>
                </c:pt>
                <c:pt idx="212">
                  <c:v>1612</c:v>
                </c:pt>
                <c:pt idx="213">
                  <c:v>1613</c:v>
                </c:pt>
                <c:pt idx="214">
                  <c:v>1614</c:v>
                </c:pt>
                <c:pt idx="215">
                  <c:v>1615</c:v>
                </c:pt>
                <c:pt idx="216">
                  <c:v>1616</c:v>
                </c:pt>
                <c:pt idx="217">
                  <c:v>1617</c:v>
                </c:pt>
                <c:pt idx="218">
                  <c:v>1618</c:v>
                </c:pt>
                <c:pt idx="219">
                  <c:v>1619</c:v>
                </c:pt>
                <c:pt idx="220">
                  <c:v>1620</c:v>
                </c:pt>
                <c:pt idx="221">
                  <c:v>1621</c:v>
                </c:pt>
                <c:pt idx="222">
                  <c:v>1622</c:v>
                </c:pt>
                <c:pt idx="223">
                  <c:v>1623</c:v>
                </c:pt>
                <c:pt idx="224">
                  <c:v>1624</c:v>
                </c:pt>
                <c:pt idx="225">
                  <c:v>1625</c:v>
                </c:pt>
                <c:pt idx="226">
                  <c:v>1626</c:v>
                </c:pt>
                <c:pt idx="227">
                  <c:v>1627</c:v>
                </c:pt>
                <c:pt idx="228">
                  <c:v>1628</c:v>
                </c:pt>
                <c:pt idx="229">
                  <c:v>1629</c:v>
                </c:pt>
                <c:pt idx="230">
                  <c:v>1630</c:v>
                </c:pt>
                <c:pt idx="231">
                  <c:v>1631</c:v>
                </c:pt>
                <c:pt idx="232">
                  <c:v>1632</c:v>
                </c:pt>
                <c:pt idx="233">
                  <c:v>1633</c:v>
                </c:pt>
                <c:pt idx="234">
                  <c:v>1634</c:v>
                </c:pt>
                <c:pt idx="235">
                  <c:v>1635</c:v>
                </c:pt>
                <c:pt idx="236">
                  <c:v>1636</c:v>
                </c:pt>
                <c:pt idx="237">
                  <c:v>1637</c:v>
                </c:pt>
                <c:pt idx="238">
                  <c:v>1638</c:v>
                </c:pt>
                <c:pt idx="239">
                  <c:v>1639</c:v>
                </c:pt>
                <c:pt idx="240">
                  <c:v>1640</c:v>
                </c:pt>
                <c:pt idx="241">
                  <c:v>1641</c:v>
                </c:pt>
                <c:pt idx="242">
                  <c:v>1642</c:v>
                </c:pt>
                <c:pt idx="243">
                  <c:v>1643</c:v>
                </c:pt>
                <c:pt idx="244">
                  <c:v>1644</c:v>
                </c:pt>
                <c:pt idx="245">
                  <c:v>1645</c:v>
                </c:pt>
                <c:pt idx="246">
                  <c:v>1646</c:v>
                </c:pt>
                <c:pt idx="247">
                  <c:v>1647</c:v>
                </c:pt>
                <c:pt idx="248">
                  <c:v>1648</c:v>
                </c:pt>
                <c:pt idx="249">
                  <c:v>1649</c:v>
                </c:pt>
                <c:pt idx="250">
                  <c:v>1650</c:v>
                </c:pt>
                <c:pt idx="251">
                  <c:v>1651</c:v>
                </c:pt>
                <c:pt idx="252">
                  <c:v>1652</c:v>
                </c:pt>
                <c:pt idx="253">
                  <c:v>1653</c:v>
                </c:pt>
                <c:pt idx="254">
                  <c:v>1654</c:v>
                </c:pt>
                <c:pt idx="255">
                  <c:v>1655</c:v>
                </c:pt>
                <c:pt idx="256">
                  <c:v>1656</c:v>
                </c:pt>
                <c:pt idx="257">
                  <c:v>1657</c:v>
                </c:pt>
                <c:pt idx="258">
                  <c:v>1658</c:v>
                </c:pt>
                <c:pt idx="259">
                  <c:v>1659</c:v>
                </c:pt>
                <c:pt idx="260">
                  <c:v>1660</c:v>
                </c:pt>
                <c:pt idx="261">
                  <c:v>1661</c:v>
                </c:pt>
                <c:pt idx="262">
                  <c:v>1662</c:v>
                </c:pt>
                <c:pt idx="263">
                  <c:v>1663</c:v>
                </c:pt>
                <c:pt idx="264">
                  <c:v>1664</c:v>
                </c:pt>
                <c:pt idx="265">
                  <c:v>1665</c:v>
                </c:pt>
                <c:pt idx="266">
                  <c:v>1666</c:v>
                </c:pt>
                <c:pt idx="267">
                  <c:v>1667</c:v>
                </c:pt>
                <c:pt idx="268">
                  <c:v>1668</c:v>
                </c:pt>
                <c:pt idx="269">
                  <c:v>1669</c:v>
                </c:pt>
                <c:pt idx="270">
                  <c:v>1670</c:v>
                </c:pt>
                <c:pt idx="271">
                  <c:v>1671</c:v>
                </c:pt>
                <c:pt idx="272">
                  <c:v>1672</c:v>
                </c:pt>
                <c:pt idx="273">
                  <c:v>1673</c:v>
                </c:pt>
                <c:pt idx="274">
                  <c:v>1674</c:v>
                </c:pt>
                <c:pt idx="275">
                  <c:v>1675</c:v>
                </c:pt>
                <c:pt idx="276">
                  <c:v>1676</c:v>
                </c:pt>
                <c:pt idx="277">
                  <c:v>1677</c:v>
                </c:pt>
                <c:pt idx="278">
                  <c:v>1678</c:v>
                </c:pt>
                <c:pt idx="279">
                  <c:v>1679</c:v>
                </c:pt>
                <c:pt idx="280">
                  <c:v>1680</c:v>
                </c:pt>
                <c:pt idx="281">
                  <c:v>1681</c:v>
                </c:pt>
                <c:pt idx="282">
                  <c:v>1682</c:v>
                </c:pt>
                <c:pt idx="283">
                  <c:v>1683</c:v>
                </c:pt>
                <c:pt idx="284">
                  <c:v>1684</c:v>
                </c:pt>
                <c:pt idx="285">
                  <c:v>1685</c:v>
                </c:pt>
                <c:pt idx="286">
                  <c:v>1686</c:v>
                </c:pt>
                <c:pt idx="287">
                  <c:v>1687</c:v>
                </c:pt>
                <c:pt idx="288">
                  <c:v>1688</c:v>
                </c:pt>
                <c:pt idx="289">
                  <c:v>1689</c:v>
                </c:pt>
                <c:pt idx="290">
                  <c:v>1690</c:v>
                </c:pt>
                <c:pt idx="291">
                  <c:v>1691</c:v>
                </c:pt>
                <c:pt idx="292">
                  <c:v>1692</c:v>
                </c:pt>
                <c:pt idx="293">
                  <c:v>1693</c:v>
                </c:pt>
                <c:pt idx="294">
                  <c:v>1694</c:v>
                </c:pt>
                <c:pt idx="295">
                  <c:v>1695</c:v>
                </c:pt>
                <c:pt idx="296">
                  <c:v>1696</c:v>
                </c:pt>
                <c:pt idx="297">
                  <c:v>1697</c:v>
                </c:pt>
                <c:pt idx="298">
                  <c:v>1698</c:v>
                </c:pt>
                <c:pt idx="299">
                  <c:v>1699</c:v>
                </c:pt>
                <c:pt idx="300">
                  <c:v>1700</c:v>
                </c:pt>
                <c:pt idx="301">
                  <c:v>1701</c:v>
                </c:pt>
                <c:pt idx="302">
                  <c:v>1702</c:v>
                </c:pt>
                <c:pt idx="303">
                  <c:v>1703</c:v>
                </c:pt>
                <c:pt idx="304">
                  <c:v>1704</c:v>
                </c:pt>
                <c:pt idx="305">
                  <c:v>1705</c:v>
                </c:pt>
                <c:pt idx="306">
                  <c:v>1706</c:v>
                </c:pt>
                <c:pt idx="307">
                  <c:v>1707</c:v>
                </c:pt>
                <c:pt idx="308">
                  <c:v>1708</c:v>
                </c:pt>
                <c:pt idx="309">
                  <c:v>1709</c:v>
                </c:pt>
                <c:pt idx="310">
                  <c:v>1710</c:v>
                </c:pt>
                <c:pt idx="311">
                  <c:v>1711</c:v>
                </c:pt>
                <c:pt idx="312">
                  <c:v>1712</c:v>
                </c:pt>
                <c:pt idx="313">
                  <c:v>1713</c:v>
                </c:pt>
                <c:pt idx="314">
                  <c:v>1714</c:v>
                </c:pt>
                <c:pt idx="315">
                  <c:v>1715</c:v>
                </c:pt>
                <c:pt idx="316">
                  <c:v>1716</c:v>
                </c:pt>
                <c:pt idx="317">
                  <c:v>1717</c:v>
                </c:pt>
                <c:pt idx="318">
                  <c:v>1718</c:v>
                </c:pt>
                <c:pt idx="319">
                  <c:v>1719</c:v>
                </c:pt>
                <c:pt idx="320">
                  <c:v>1720</c:v>
                </c:pt>
                <c:pt idx="321">
                  <c:v>1721</c:v>
                </c:pt>
                <c:pt idx="322">
                  <c:v>1722</c:v>
                </c:pt>
                <c:pt idx="323">
                  <c:v>1723</c:v>
                </c:pt>
                <c:pt idx="324">
                  <c:v>1724</c:v>
                </c:pt>
                <c:pt idx="325">
                  <c:v>1725</c:v>
                </c:pt>
                <c:pt idx="326">
                  <c:v>1726</c:v>
                </c:pt>
                <c:pt idx="327">
                  <c:v>1727</c:v>
                </c:pt>
                <c:pt idx="328">
                  <c:v>1728</c:v>
                </c:pt>
                <c:pt idx="329">
                  <c:v>1729</c:v>
                </c:pt>
                <c:pt idx="330">
                  <c:v>1730</c:v>
                </c:pt>
                <c:pt idx="331">
                  <c:v>1731</c:v>
                </c:pt>
                <c:pt idx="332">
                  <c:v>1732</c:v>
                </c:pt>
                <c:pt idx="333">
                  <c:v>1733</c:v>
                </c:pt>
                <c:pt idx="334">
                  <c:v>1734</c:v>
                </c:pt>
                <c:pt idx="335">
                  <c:v>1735</c:v>
                </c:pt>
                <c:pt idx="336">
                  <c:v>1736</c:v>
                </c:pt>
                <c:pt idx="337">
                  <c:v>1737</c:v>
                </c:pt>
                <c:pt idx="338">
                  <c:v>1738</c:v>
                </c:pt>
                <c:pt idx="339">
                  <c:v>1739</c:v>
                </c:pt>
                <c:pt idx="340">
                  <c:v>1740</c:v>
                </c:pt>
                <c:pt idx="341">
                  <c:v>1741</c:v>
                </c:pt>
                <c:pt idx="342">
                  <c:v>1742</c:v>
                </c:pt>
                <c:pt idx="343">
                  <c:v>1743</c:v>
                </c:pt>
                <c:pt idx="344">
                  <c:v>1744</c:v>
                </c:pt>
                <c:pt idx="345">
                  <c:v>1745</c:v>
                </c:pt>
                <c:pt idx="346">
                  <c:v>1746</c:v>
                </c:pt>
                <c:pt idx="347">
                  <c:v>1747</c:v>
                </c:pt>
                <c:pt idx="348">
                  <c:v>1748</c:v>
                </c:pt>
                <c:pt idx="349">
                  <c:v>1749</c:v>
                </c:pt>
                <c:pt idx="350">
                  <c:v>1750</c:v>
                </c:pt>
                <c:pt idx="351">
                  <c:v>1751</c:v>
                </c:pt>
                <c:pt idx="352">
                  <c:v>1752</c:v>
                </c:pt>
                <c:pt idx="353">
                  <c:v>1753</c:v>
                </c:pt>
                <c:pt idx="354">
                  <c:v>1754</c:v>
                </c:pt>
                <c:pt idx="355">
                  <c:v>1755</c:v>
                </c:pt>
                <c:pt idx="356">
                  <c:v>1756</c:v>
                </c:pt>
                <c:pt idx="357">
                  <c:v>1757</c:v>
                </c:pt>
                <c:pt idx="358">
                  <c:v>1758</c:v>
                </c:pt>
                <c:pt idx="359">
                  <c:v>1759</c:v>
                </c:pt>
                <c:pt idx="360">
                  <c:v>1760</c:v>
                </c:pt>
                <c:pt idx="361">
                  <c:v>1761</c:v>
                </c:pt>
                <c:pt idx="362">
                  <c:v>1762</c:v>
                </c:pt>
                <c:pt idx="363">
                  <c:v>1763</c:v>
                </c:pt>
                <c:pt idx="364">
                  <c:v>1764</c:v>
                </c:pt>
                <c:pt idx="365">
                  <c:v>1765</c:v>
                </c:pt>
                <c:pt idx="366">
                  <c:v>1766</c:v>
                </c:pt>
                <c:pt idx="367">
                  <c:v>1767</c:v>
                </c:pt>
                <c:pt idx="368">
                  <c:v>1768</c:v>
                </c:pt>
                <c:pt idx="369">
                  <c:v>1769</c:v>
                </c:pt>
                <c:pt idx="370">
                  <c:v>1770</c:v>
                </c:pt>
                <c:pt idx="371">
                  <c:v>1771</c:v>
                </c:pt>
                <c:pt idx="372">
                  <c:v>1772</c:v>
                </c:pt>
                <c:pt idx="373">
                  <c:v>1773</c:v>
                </c:pt>
                <c:pt idx="374">
                  <c:v>1774</c:v>
                </c:pt>
                <c:pt idx="375">
                  <c:v>1775</c:v>
                </c:pt>
                <c:pt idx="376">
                  <c:v>1776</c:v>
                </c:pt>
                <c:pt idx="377">
                  <c:v>1777</c:v>
                </c:pt>
                <c:pt idx="378">
                  <c:v>1778</c:v>
                </c:pt>
                <c:pt idx="379">
                  <c:v>1779</c:v>
                </c:pt>
                <c:pt idx="380">
                  <c:v>1780</c:v>
                </c:pt>
                <c:pt idx="381">
                  <c:v>1781</c:v>
                </c:pt>
                <c:pt idx="382">
                  <c:v>1782</c:v>
                </c:pt>
                <c:pt idx="383">
                  <c:v>1783</c:v>
                </c:pt>
                <c:pt idx="384">
                  <c:v>1784</c:v>
                </c:pt>
                <c:pt idx="385">
                  <c:v>1785</c:v>
                </c:pt>
                <c:pt idx="386">
                  <c:v>1786</c:v>
                </c:pt>
                <c:pt idx="387">
                  <c:v>1787</c:v>
                </c:pt>
                <c:pt idx="388">
                  <c:v>1788</c:v>
                </c:pt>
                <c:pt idx="389">
                  <c:v>1789</c:v>
                </c:pt>
                <c:pt idx="390">
                  <c:v>1790</c:v>
                </c:pt>
                <c:pt idx="391">
                  <c:v>1791</c:v>
                </c:pt>
                <c:pt idx="392">
                  <c:v>1792</c:v>
                </c:pt>
                <c:pt idx="393">
                  <c:v>1793</c:v>
                </c:pt>
                <c:pt idx="394">
                  <c:v>1794</c:v>
                </c:pt>
                <c:pt idx="395">
                  <c:v>1795</c:v>
                </c:pt>
                <c:pt idx="396">
                  <c:v>1796</c:v>
                </c:pt>
                <c:pt idx="397">
                  <c:v>1797</c:v>
                </c:pt>
                <c:pt idx="398">
                  <c:v>1798</c:v>
                </c:pt>
                <c:pt idx="399">
                  <c:v>1799</c:v>
                </c:pt>
                <c:pt idx="400">
                  <c:v>1800</c:v>
                </c:pt>
                <c:pt idx="401">
                  <c:v>1801</c:v>
                </c:pt>
                <c:pt idx="402">
                  <c:v>1802</c:v>
                </c:pt>
                <c:pt idx="403">
                  <c:v>1803</c:v>
                </c:pt>
                <c:pt idx="404">
                  <c:v>1804</c:v>
                </c:pt>
                <c:pt idx="405">
                  <c:v>1805</c:v>
                </c:pt>
                <c:pt idx="406">
                  <c:v>1806</c:v>
                </c:pt>
                <c:pt idx="407">
                  <c:v>1807</c:v>
                </c:pt>
                <c:pt idx="408">
                  <c:v>1808</c:v>
                </c:pt>
                <c:pt idx="409">
                  <c:v>1809</c:v>
                </c:pt>
                <c:pt idx="410">
                  <c:v>1810</c:v>
                </c:pt>
                <c:pt idx="411">
                  <c:v>1811</c:v>
                </c:pt>
                <c:pt idx="412">
                  <c:v>1812</c:v>
                </c:pt>
                <c:pt idx="413">
                  <c:v>1813</c:v>
                </c:pt>
                <c:pt idx="414">
                  <c:v>1814</c:v>
                </c:pt>
                <c:pt idx="415">
                  <c:v>1815</c:v>
                </c:pt>
                <c:pt idx="416">
                  <c:v>1816</c:v>
                </c:pt>
                <c:pt idx="417">
                  <c:v>1817</c:v>
                </c:pt>
                <c:pt idx="418">
                  <c:v>1818</c:v>
                </c:pt>
                <c:pt idx="419">
                  <c:v>1819</c:v>
                </c:pt>
                <c:pt idx="420">
                  <c:v>1820</c:v>
                </c:pt>
                <c:pt idx="421">
                  <c:v>1821</c:v>
                </c:pt>
                <c:pt idx="422">
                  <c:v>1822</c:v>
                </c:pt>
                <c:pt idx="423">
                  <c:v>1823</c:v>
                </c:pt>
                <c:pt idx="424">
                  <c:v>1824</c:v>
                </c:pt>
                <c:pt idx="425">
                  <c:v>1825</c:v>
                </c:pt>
                <c:pt idx="426">
                  <c:v>1826</c:v>
                </c:pt>
                <c:pt idx="427">
                  <c:v>1827</c:v>
                </c:pt>
                <c:pt idx="428">
                  <c:v>1828</c:v>
                </c:pt>
                <c:pt idx="429">
                  <c:v>1829</c:v>
                </c:pt>
                <c:pt idx="430">
                  <c:v>1830</c:v>
                </c:pt>
                <c:pt idx="431">
                  <c:v>1831</c:v>
                </c:pt>
                <c:pt idx="432">
                  <c:v>1832</c:v>
                </c:pt>
                <c:pt idx="433">
                  <c:v>1833</c:v>
                </c:pt>
                <c:pt idx="434">
                  <c:v>1834</c:v>
                </c:pt>
                <c:pt idx="435">
                  <c:v>1835</c:v>
                </c:pt>
                <c:pt idx="436">
                  <c:v>1836</c:v>
                </c:pt>
                <c:pt idx="437">
                  <c:v>1837</c:v>
                </c:pt>
                <c:pt idx="438">
                  <c:v>1838</c:v>
                </c:pt>
                <c:pt idx="439">
                  <c:v>1839</c:v>
                </c:pt>
                <c:pt idx="440">
                  <c:v>1840</c:v>
                </c:pt>
                <c:pt idx="441">
                  <c:v>1841</c:v>
                </c:pt>
                <c:pt idx="442">
                  <c:v>1842</c:v>
                </c:pt>
                <c:pt idx="443">
                  <c:v>1843</c:v>
                </c:pt>
                <c:pt idx="444">
                  <c:v>1844</c:v>
                </c:pt>
                <c:pt idx="445">
                  <c:v>1845</c:v>
                </c:pt>
                <c:pt idx="446">
                  <c:v>1846</c:v>
                </c:pt>
                <c:pt idx="447">
                  <c:v>1847</c:v>
                </c:pt>
                <c:pt idx="448">
                  <c:v>1848</c:v>
                </c:pt>
                <c:pt idx="449">
                  <c:v>1849</c:v>
                </c:pt>
                <c:pt idx="450">
                  <c:v>1850</c:v>
                </c:pt>
                <c:pt idx="451">
                  <c:v>1851</c:v>
                </c:pt>
                <c:pt idx="452">
                  <c:v>1852</c:v>
                </c:pt>
                <c:pt idx="453">
                  <c:v>1853</c:v>
                </c:pt>
                <c:pt idx="454">
                  <c:v>1854</c:v>
                </c:pt>
                <c:pt idx="455">
                  <c:v>1855</c:v>
                </c:pt>
                <c:pt idx="456">
                  <c:v>1856</c:v>
                </c:pt>
                <c:pt idx="457">
                  <c:v>1857</c:v>
                </c:pt>
                <c:pt idx="458">
                  <c:v>1858</c:v>
                </c:pt>
                <c:pt idx="459">
                  <c:v>1859</c:v>
                </c:pt>
                <c:pt idx="460">
                  <c:v>1860</c:v>
                </c:pt>
                <c:pt idx="461">
                  <c:v>1861</c:v>
                </c:pt>
                <c:pt idx="462">
                  <c:v>1862</c:v>
                </c:pt>
                <c:pt idx="463">
                  <c:v>1863</c:v>
                </c:pt>
                <c:pt idx="464">
                  <c:v>1864</c:v>
                </c:pt>
                <c:pt idx="465">
                  <c:v>1865</c:v>
                </c:pt>
                <c:pt idx="466">
                  <c:v>1866</c:v>
                </c:pt>
                <c:pt idx="467">
                  <c:v>1867</c:v>
                </c:pt>
                <c:pt idx="468">
                  <c:v>1868</c:v>
                </c:pt>
                <c:pt idx="469">
                  <c:v>1869</c:v>
                </c:pt>
                <c:pt idx="470">
                  <c:v>1870</c:v>
                </c:pt>
                <c:pt idx="471">
                  <c:v>1871</c:v>
                </c:pt>
                <c:pt idx="472">
                  <c:v>1872</c:v>
                </c:pt>
                <c:pt idx="473">
                  <c:v>1873</c:v>
                </c:pt>
                <c:pt idx="474">
                  <c:v>1874</c:v>
                </c:pt>
                <c:pt idx="475">
                  <c:v>1875</c:v>
                </c:pt>
                <c:pt idx="476">
                  <c:v>1876</c:v>
                </c:pt>
                <c:pt idx="477">
                  <c:v>1877</c:v>
                </c:pt>
                <c:pt idx="478">
                  <c:v>1878</c:v>
                </c:pt>
                <c:pt idx="479">
                  <c:v>1879</c:v>
                </c:pt>
                <c:pt idx="480">
                  <c:v>1880</c:v>
                </c:pt>
                <c:pt idx="481">
                  <c:v>1881</c:v>
                </c:pt>
                <c:pt idx="482">
                  <c:v>1882</c:v>
                </c:pt>
                <c:pt idx="483">
                  <c:v>1883</c:v>
                </c:pt>
                <c:pt idx="484">
                  <c:v>1884</c:v>
                </c:pt>
                <c:pt idx="485">
                  <c:v>1885</c:v>
                </c:pt>
                <c:pt idx="486">
                  <c:v>1886</c:v>
                </c:pt>
                <c:pt idx="487">
                  <c:v>1887</c:v>
                </c:pt>
                <c:pt idx="488">
                  <c:v>1888</c:v>
                </c:pt>
                <c:pt idx="489">
                  <c:v>1889</c:v>
                </c:pt>
                <c:pt idx="490">
                  <c:v>1890</c:v>
                </c:pt>
                <c:pt idx="491">
                  <c:v>1891</c:v>
                </c:pt>
                <c:pt idx="492">
                  <c:v>1892</c:v>
                </c:pt>
                <c:pt idx="493">
                  <c:v>1893</c:v>
                </c:pt>
                <c:pt idx="494">
                  <c:v>1894</c:v>
                </c:pt>
                <c:pt idx="495">
                  <c:v>1895</c:v>
                </c:pt>
                <c:pt idx="496">
                  <c:v>1896</c:v>
                </c:pt>
                <c:pt idx="497">
                  <c:v>1897</c:v>
                </c:pt>
                <c:pt idx="498">
                  <c:v>1898</c:v>
                </c:pt>
                <c:pt idx="499">
                  <c:v>1899</c:v>
                </c:pt>
                <c:pt idx="500">
                  <c:v>1900</c:v>
                </c:pt>
                <c:pt idx="501">
                  <c:v>1901</c:v>
                </c:pt>
                <c:pt idx="502">
                  <c:v>1902</c:v>
                </c:pt>
                <c:pt idx="503">
                  <c:v>1903</c:v>
                </c:pt>
                <c:pt idx="504">
                  <c:v>1904</c:v>
                </c:pt>
                <c:pt idx="505">
                  <c:v>1905</c:v>
                </c:pt>
                <c:pt idx="506">
                  <c:v>1906</c:v>
                </c:pt>
                <c:pt idx="507">
                  <c:v>1907</c:v>
                </c:pt>
                <c:pt idx="508">
                  <c:v>1908</c:v>
                </c:pt>
                <c:pt idx="509">
                  <c:v>1909</c:v>
                </c:pt>
                <c:pt idx="510">
                  <c:v>1910</c:v>
                </c:pt>
                <c:pt idx="511">
                  <c:v>1911</c:v>
                </c:pt>
                <c:pt idx="512">
                  <c:v>1912</c:v>
                </c:pt>
                <c:pt idx="513">
                  <c:v>1913</c:v>
                </c:pt>
                <c:pt idx="514">
                  <c:v>1914</c:v>
                </c:pt>
                <c:pt idx="515">
                  <c:v>1915</c:v>
                </c:pt>
                <c:pt idx="516">
                  <c:v>1916</c:v>
                </c:pt>
                <c:pt idx="517">
                  <c:v>1917</c:v>
                </c:pt>
                <c:pt idx="518">
                  <c:v>1918</c:v>
                </c:pt>
                <c:pt idx="519">
                  <c:v>1919</c:v>
                </c:pt>
                <c:pt idx="520">
                  <c:v>1920</c:v>
                </c:pt>
                <c:pt idx="521">
                  <c:v>1921</c:v>
                </c:pt>
                <c:pt idx="522">
                  <c:v>1922</c:v>
                </c:pt>
                <c:pt idx="523">
                  <c:v>1923</c:v>
                </c:pt>
                <c:pt idx="524">
                  <c:v>1924</c:v>
                </c:pt>
                <c:pt idx="525">
                  <c:v>1925</c:v>
                </c:pt>
                <c:pt idx="526">
                  <c:v>1926</c:v>
                </c:pt>
                <c:pt idx="527">
                  <c:v>1927</c:v>
                </c:pt>
                <c:pt idx="528">
                  <c:v>1928</c:v>
                </c:pt>
                <c:pt idx="529">
                  <c:v>1929</c:v>
                </c:pt>
                <c:pt idx="530">
                  <c:v>1930</c:v>
                </c:pt>
                <c:pt idx="531">
                  <c:v>1931</c:v>
                </c:pt>
                <c:pt idx="532">
                  <c:v>1932</c:v>
                </c:pt>
                <c:pt idx="533">
                  <c:v>1933</c:v>
                </c:pt>
                <c:pt idx="534">
                  <c:v>1934</c:v>
                </c:pt>
                <c:pt idx="535">
                  <c:v>1935</c:v>
                </c:pt>
                <c:pt idx="536">
                  <c:v>1936</c:v>
                </c:pt>
                <c:pt idx="537">
                  <c:v>1937</c:v>
                </c:pt>
                <c:pt idx="538">
                  <c:v>1938</c:v>
                </c:pt>
                <c:pt idx="539">
                  <c:v>1939</c:v>
                </c:pt>
                <c:pt idx="540">
                  <c:v>1940</c:v>
                </c:pt>
                <c:pt idx="541">
                  <c:v>1941</c:v>
                </c:pt>
                <c:pt idx="542">
                  <c:v>1942</c:v>
                </c:pt>
                <c:pt idx="543">
                  <c:v>1943</c:v>
                </c:pt>
                <c:pt idx="544">
                  <c:v>1944</c:v>
                </c:pt>
                <c:pt idx="545">
                  <c:v>1945</c:v>
                </c:pt>
                <c:pt idx="546">
                  <c:v>1946</c:v>
                </c:pt>
                <c:pt idx="547">
                  <c:v>1947</c:v>
                </c:pt>
                <c:pt idx="548">
                  <c:v>1948</c:v>
                </c:pt>
                <c:pt idx="549">
                  <c:v>1949</c:v>
                </c:pt>
                <c:pt idx="550">
                  <c:v>1950</c:v>
                </c:pt>
                <c:pt idx="551">
                  <c:v>1951</c:v>
                </c:pt>
                <c:pt idx="552">
                  <c:v>1952</c:v>
                </c:pt>
                <c:pt idx="553">
                  <c:v>1953</c:v>
                </c:pt>
                <c:pt idx="554">
                  <c:v>1954</c:v>
                </c:pt>
                <c:pt idx="555">
                  <c:v>1955</c:v>
                </c:pt>
                <c:pt idx="556">
                  <c:v>1956</c:v>
                </c:pt>
                <c:pt idx="557">
                  <c:v>1957</c:v>
                </c:pt>
                <c:pt idx="558">
                  <c:v>1958</c:v>
                </c:pt>
                <c:pt idx="559">
                  <c:v>1959</c:v>
                </c:pt>
                <c:pt idx="560">
                  <c:v>1960</c:v>
                </c:pt>
                <c:pt idx="561">
                  <c:v>1961</c:v>
                </c:pt>
                <c:pt idx="562">
                  <c:v>1962</c:v>
                </c:pt>
                <c:pt idx="563">
                  <c:v>1963</c:v>
                </c:pt>
                <c:pt idx="564">
                  <c:v>1964</c:v>
                </c:pt>
                <c:pt idx="565">
                  <c:v>1965</c:v>
                </c:pt>
                <c:pt idx="566">
                  <c:v>1966</c:v>
                </c:pt>
                <c:pt idx="567">
                  <c:v>1967</c:v>
                </c:pt>
                <c:pt idx="568">
                  <c:v>1968</c:v>
                </c:pt>
                <c:pt idx="569">
                  <c:v>1969</c:v>
                </c:pt>
                <c:pt idx="570">
                  <c:v>1970</c:v>
                </c:pt>
                <c:pt idx="571">
                  <c:v>1971</c:v>
                </c:pt>
                <c:pt idx="572">
                  <c:v>1972</c:v>
                </c:pt>
                <c:pt idx="573">
                  <c:v>1973</c:v>
                </c:pt>
                <c:pt idx="574">
                  <c:v>1974</c:v>
                </c:pt>
                <c:pt idx="575">
                  <c:v>1975</c:v>
                </c:pt>
                <c:pt idx="576">
                  <c:v>1976</c:v>
                </c:pt>
                <c:pt idx="577">
                  <c:v>1977</c:v>
                </c:pt>
                <c:pt idx="578">
                  <c:v>1978</c:v>
                </c:pt>
                <c:pt idx="579">
                  <c:v>1979</c:v>
                </c:pt>
                <c:pt idx="580">
                  <c:v>1980</c:v>
                </c:pt>
                <c:pt idx="581">
                  <c:v>1981</c:v>
                </c:pt>
                <c:pt idx="582">
                  <c:v>1982</c:v>
                </c:pt>
                <c:pt idx="583">
                  <c:v>1983</c:v>
                </c:pt>
                <c:pt idx="584">
                  <c:v>1984</c:v>
                </c:pt>
                <c:pt idx="585">
                  <c:v>1985</c:v>
                </c:pt>
                <c:pt idx="586">
                  <c:v>1986</c:v>
                </c:pt>
                <c:pt idx="587">
                  <c:v>1987</c:v>
                </c:pt>
                <c:pt idx="588">
                  <c:v>1988</c:v>
                </c:pt>
                <c:pt idx="589">
                  <c:v>1989</c:v>
                </c:pt>
                <c:pt idx="590">
                  <c:v>1990</c:v>
                </c:pt>
                <c:pt idx="591">
                  <c:v>1991</c:v>
                </c:pt>
                <c:pt idx="592">
                  <c:v>1992</c:v>
                </c:pt>
                <c:pt idx="593">
                  <c:v>1993</c:v>
                </c:pt>
                <c:pt idx="594">
                  <c:v>1994</c:v>
                </c:pt>
                <c:pt idx="595">
                  <c:v>1995</c:v>
                </c:pt>
                <c:pt idx="596">
                  <c:v>1996</c:v>
                </c:pt>
                <c:pt idx="597">
                  <c:v>1997</c:v>
                </c:pt>
                <c:pt idx="598">
                  <c:v>1998</c:v>
                </c:pt>
                <c:pt idx="599">
                  <c:v>1999</c:v>
                </c:pt>
                <c:pt idx="600">
                  <c:v>2000</c:v>
                </c:pt>
                <c:pt idx="601">
                  <c:v>2001</c:v>
                </c:pt>
                <c:pt idx="602">
                  <c:v>2002</c:v>
                </c:pt>
                <c:pt idx="603">
                  <c:v>2003</c:v>
                </c:pt>
                <c:pt idx="604">
                  <c:v>2004</c:v>
                </c:pt>
                <c:pt idx="605">
                  <c:v>2005</c:v>
                </c:pt>
                <c:pt idx="606">
                  <c:v>2006</c:v>
                </c:pt>
                <c:pt idx="607">
                  <c:v>2007</c:v>
                </c:pt>
                <c:pt idx="608">
                  <c:v>2008</c:v>
                </c:pt>
                <c:pt idx="609">
                  <c:v>2009</c:v>
                </c:pt>
                <c:pt idx="610">
                  <c:v>2010</c:v>
                </c:pt>
                <c:pt idx="611">
                  <c:v>2011</c:v>
                </c:pt>
                <c:pt idx="612">
                  <c:v>2012</c:v>
                </c:pt>
                <c:pt idx="613">
                  <c:v>2013</c:v>
                </c:pt>
                <c:pt idx="614">
                  <c:v>2014</c:v>
                </c:pt>
                <c:pt idx="615">
                  <c:v>2015</c:v>
                </c:pt>
                <c:pt idx="616">
                  <c:v>2016</c:v>
                </c:pt>
                <c:pt idx="617">
                  <c:v>2017</c:v>
                </c:pt>
                <c:pt idx="618">
                  <c:v>2018</c:v>
                </c:pt>
              </c:numCache>
            </c:numRef>
          </c:xVal>
          <c:yVal>
            <c:numRef>
              <c:f>Arkusz1!$D$3:$D$621</c:f>
              <c:numCache>
                <c:formatCode>General</c:formatCode>
                <c:ptCount val="619"/>
                <c:pt idx="0">
                  <c:v>0.53259052924791084</c:v>
                </c:pt>
                <c:pt idx="9">
                  <c:v>0.50766609880749569</c:v>
                </c:pt>
                <c:pt idx="10">
                  <c:v>0.50880181714934691</c:v>
                </c:pt>
                <c:pt idx="11">
                  <c:v>0.50936967632027252</c:v>
                </c:pt>
                <c:pt idx="12">
                  <c:v>0.5151862464183381</c:v>
                </c:pt>
                <c:pt idx="13">
                  <c:v>0.5151862464183381</c:v>
                </c:pt>
                <c:pt idx="14">
                  <c:v>0.51690544412607453</c:v>
                </c:pt>
                <c:pt idx="15">
                  <c:v>0.53180515759312319</c:v>
                </c:pt>
                <c:pt idx="16">
                  <c:v>0.53810888252148992</c:v>
                </c:pt>
                <c:pt idx="17">
                  <c:v>0.54861111111111116</c:v>
                </c:pt>
                <c:pt idx="18">
                  <c:v>0.55555555555555558</c:v>
                </c:pt>
                <c:pt idx="19">
                  <c:v>0.56076388888888884</c:v>
                </c:pt>
                <c:pt idx="20">
                  <c:v>0.56712962962962965</c:v>
                </c:pt>
                <c:pt idx="21">
                  <c:v>0.5717592592592593</c:v>
                </c:pt>
                <c:pt idx="22">
                  <c:v>0.57191977077363898</c:v>
                </c:pt>
                <c:pt idx="23">
                  <c:v>0.57707736389684816</c:v>
                </c:pt>
                <c:pt idx="24">
                  <c:v>0.58452722063037255</c:v>
                </c:pt>
                <c:pt idx="25">
                  <c:v>0.5902578796561605</c:v>
                </c:pt>
                <c:pt idx="26">
                  <c:v>0.57864849517319705</c:v>
                </c:pt>
                <c:pt idx="27">
                  <c:v>0.58452722063037255</c:v>
                </c:pt>
                <c:pt idx="28">
                  <c:v>0.58035207268597389</c:v>
                </c:pt>
                <c:pt idx="29">
                  <c:v>0.57921635434412266</c:v>
                </c:pt>
                <c:pt idx="30">
                  <c:v>0.57864849517319705</c:v>
                </c:pt>
                <c:pt idx="31">
                  <c:v>0.57166947723440131</c:v>
                </c:pt>
                <c:pt idx="32">
                  <c:v>0.5699831365935919</c:v>
                </c:pt>
                <c:pt idx="33">
                  <c:v>0.56717256885890954</c:v>
                </c:pt>
                <c:pt idx="34">
                  <c:v>0.56548622821810002</c:v>
                </c:pt>
                <c:pt idx="35">
                  <c:v>0.55986509274873519</c:v>
                </c:pt>
                <c:pt idx="36">
                  <c:v>0.55649241146711637</c:v>
                </c:pt>
                <c:pt idx="37">
                  <c:v>0.54596100278551529</c:v>
                </c:pt>
                <c:pt idx="38">
                  <c:v>0.53983286908077999</c:v>
                </c:pt>
                <c:pt idx="39">
                  <c:v>0.53370473537604457</c:v>
                </c:pt>
                <c:pt idx="40">
                  <c:v>0.52813370473537602</c:v>
                </c:pt>
                <c:pt idx="41">
                  <c:v>0.5236768802228412</c:v>
                </c:pt>
                <c:pt idx="42">
                  <c:v>0.51866295264623952</c:v>
                </c:pt>
                <c:pt idx="43">
                  <c:v>0.51048565121412803</c:v>
                </c:pt>
                <c:pt idx="44">
                  <c:v>0.50772626931567333</c:v>
                </c:pt>
                <c:pt idx="45">
                  <c:v>0.50386313465783661</c:v>
                </c:pt>
                <c:pt idx="46">
                  <c:v>0.5016556291390728</c:v>
                </c:pt>
                <c:pt idx="47">
                  <c:v>0.49453551912568305</c:v>
                </c:pt>
                <c:pt idx="48">
                  <c:v>0.4988962472406181</c:v>
                </c:pt>
                <c:pt idx="49">
                  <c:v>0.49944812362030905</c:v>
                </c:pt>
                <c:pt idx="50">
                  <c:v>0.49944812362030905</c:v>
                </c:pt>
                <c:pt idx="51">
                  <c:v>0.5005518763796909</c:v>
                </c:pt>
                <c:pt idx="52">
                  <c:v>0.50529247910863506</c:v>
                </c:pt>
                <c:pt idx="53">
                  <c:v>0.5016556291390728</c:v>
                </c:pt>
                <c:pt idx="54">
                  <c:v>0.50696378830083566</c:v>
                </c:pt>
                <c:pt idx="55">
                  <c:v>0.50696378830083566</c:v>
                </c:pt>
                <c:pt idx="56">
                  <c:v>0.50646430578976953</c:v>
                </c:pt>
                <c:pt idx="57">
                  <c:v>0.49971894322653176</c:v>
                </c:pt>
                <c:pt idx="58">
                  <c:v>0.49858035207268597</c:v>
                </c:pt>
                <c:pt idx="59">
                  <c:v>0.49346961953435547</c:v>
                </c:pt>
                <c:pt idx="60">
                  <c:v>0.49169054441260746</c:v>
                </c:pt>
                <c:pt idx="61">
                  <c:v>0.48958333333333331</c:v>
                </c:pt>
                <c:pt idx="62">
                  <c:v>0.48321759259259262</c:v>
                </c:pt>
                <c:pt idx="63">
                  <c:v>0.48070175438596491</c:v>
                </c:pt>
                <c:pt idx="64">
                  <c:v>0.47426900584795323</c:v>
                </c:pt>
                <c:pt idx="65">
                  <c:v>0.46783625730994149</c:v>
                </c:pt>
                <c:pt idx="66">
                  <c:v>0.46140350877192982</c:v>
                </c:pt>
                <c:pt idx="67">
                  <c:v>0.46140350877192982</c:v>
                </c:pt>
                <c:pt idx="68">
                  <c:v>0.46257309941520469</c:v>
                </c:pt>
                <c:pt idx="69">
                  <c:v>0.45775462962962965</c:v>
                </c:pt>
                <c:pt idx="70">
                  <c:v>0.45775462962962965</c:v>
                </c:pt>
                <c:pt idx="71">
                  <c:v>0.45214899713467049</c:v>
                </c:pt>
                <c:pt idx="72">
                  <c:v>0.4451939291736931</c:v>
                </c:pt>
                <c:pt idx="73">
                  <c:v>0.45081506464305787</c:v>
                </c:pt>
                <c:pt idx="74">
                  <c:v>0.45996592844974449</c:v>
                </c:pt>
                <c:pt idx="75">
                  <c:v>0.46876790830945558</c:v>
                </c:pt>
                <c:pt idx="76">
                  <c:v>0.4830409356725146</c:v>
                </c:pt>
                <c:pt idx="77">
                  <c:v>0.49910554561717352</c:v>
                </c:pt>
                <c:pt idx="78">
                  <c:v>0.50387596899224807</c:v>
                </c:pt>
                <c:pt idx="79">
                  <c:v>0.51235684147076554</c:v>
                </c:pt>
                <c:pt idx="80">
                  <c:v>0.51043530113297553</c:v>
                </c:pt>
                <c:pt idx="81">
                  <c:v>0.5163983303518187</c:v>
                </c:pt>
                <c:pt idx="82">
                  <c:v>0.51754385964912286</c:v>
                </c:pt>
                <c:pt idx="83">
                  <c:v>0.51345029239766082</c:v>
                </c:pt>
                <c:pt idx="84">
                  <c:v>0.50289351851851849</c:v>
                </c:pt>
                <c:pt idx="85">
                  <c:v>0.4982638888888889</c:v>
                </c:pt>
                <c:pt idx="86">
                  <c:v>0.49189814814814814</c:v>
                </c:pt>
                <c:pt idx="87">
                  <c:v>0.48424068767908307</c:v>
                </c:pt>
                <c:pt idx="88">
                  <c:v>0.48424068767908307</c:v>
                </c:pt>
                <c:pt idx="89">
                  <c:v>0.4825214899713467</c:v>
                </c:pt>
                <c:pt idx="90">
                  <c:v>0.48424068767908307</c:v>
                </c:pt>
                <c:pt idx="91">
                  <c:v>0.4848137535816619</c:v>
                </c:pt>
                <c:pt idx="92">
                  <c:v>0.4871060171919771</c:v>
                </c:pt>
                <c:pt idx="93">
                  <c:v>0.4848137535816619</c:v>
                </c:pt>
                <c:pt idx="94">
                  <c:v>0.50115740740740744</c:v>
                </c:pt>
                <c:pt idx="95">
                  <c:v>0.51215277777777779</c:v>
                </c:pt>
                <c:pt idx="96">
                  <c:v>0.51909722222222221</c:v>
                </c:pt>
                <c:pt idx="97">
                  <c:v>0.53125</c:v>
                </c:pt>
                <c:pt idx="98">
                  <c:v>0.53877314814814814</c:v>
                </c:pt>
                <c:pt idx="99">
                  <c:v>0.54502923976608186</c:v>
                </c:pt>
                <c:pt idx="100">
                  <c:v>0.55726092089728452</c:v>
                </c:pt>
                <c:pt idx="101">
                  <c:v>0.5567251461988304</c:v>
                </c:pt>
                <c:pt idx="102">
                  <c:v>0.56670602125147584</c:v>
                </c:pt>
                <c:pt idx="103">
                  <c:v>0.56529516994633278</c:v>
                </c:pt>
                <c:pt idx="104">
                  <c:v>0.55396541443053071</c:v>
                </c:pt>
                <c:pt idx="105">
                  <c:v>0.55515802027429939</c:v>
                </c:pt>
                <c:pt idx="106">
                  <c:v>0.56178420735382761</c:v>
                </c:pt>
                <c:pt idx="107">
                  <c:v>0.56419529837251359</c:v>
                </c:pt>
                <c:pt idx="108">
                  <c:v>0.55873583780560521</c:v>
                </c:pt>
                <c:pt idx="109">
                  <c:v>0.56781193490054249</c:v>
                </c:pt>
                <c:pt idx="110">
                  <c:v>0.5714285714285714</c:v>
                </c:pt>
                <c:pt idx="111">
                  <c:v>0.57383966244725737</c:v>
                </c:pt>
                <c:pt idx="112">
                  <c:v>0.57383966244725737</c:v>
                </c:pt>
                <c:pt idx="113">
                  <c:v>0.58003651856360317</c:v>
                </c:pt>
                <c:pt idx="114">
                  <c:v>0.59099208764455269</c:v>
                </c:pt>
                <c:pt idx="115">
                  <c:v>0.59160073037127203</c:v>
                </c:pt>
                <c:pt idx="116">
                  <c:v>0.59281801582471094</c:v>
                </c:pt>
                <c:pt idx="117">
                  <c:v>0.60024600246002457</c:v>
                </c:pt>
                <c:pt idx="118">
                  <c:v>0.59403530127814974</c:v>
                </c:pt>
                <c:pt idx="119">
                  <c:v>0.59403530127814974</c:v>
                </c:pt>
                <c:pt idx="120">
                  <c:v>0.59829580036518559</c:v>
                </c:pt>
                <c:pt idx="121">
                  <c:v>0.59768715763846625</c:v>
                </c:pt>
                <c:pt idx="122">
                  <c:v>0.59768715763846625</c:v>
                </c:pt>
                <c:pt idx="123">
                  <c:v>0.59646987218502734</c:v>
                </c:pt>
                <c:pt idx="124">
                  <c:v>0.59586122945830799</c:v>
                </c:pt>
                <c:pt idx="125">
                  <c:v>0.59403530127814974</c:v>
                </c:pt>
                <c:pt idx="126">
                  <c:v>0.58977480219111378</c:v>
                </c:pt>
                <c:pt idx="127">
                  <c:v>0.58916615946439443</c:v>
                </c:pt>
                <c:pt idx="128">
                  <c:v>0.58977480219111378</c:v>
                </c:pt>
                <c:pt idx="129">
                  <c:v>0.58977480219111378</c:v>
                </c:pt>
                <c:pt idx="130">
                  <c:v>0.58490566037735847</c:v>
                </c:pt>
                <c:pt idx="131">
                  <c:v>0.58186244674376142</c:v>
                </c:pt>
                <c:pt idx="132">
                  <c:v>0.57699330493000611</c:v>
                </c:pt>
                <c:pt idx="133">
                  <c:v>0.57516737674984786</c:v>
                </c:pt>
                <c:pt idx="134">
                  <c:v>0.5733414485696896</c:v>
                </c:pt>
                <c:pt idx="135">
                  <c:v>0.57151552038953135</c:v>
                </c:pt>
                <c:pt idx="136">
                  <c:v>0.57821059038344491</c:v>
                </c:pt>
                <c:pt idx="137">
                  <c:v>0.58612294583079727</c:v>
                </c:pt>
                <c:pt idx="138">
                  <c:v>0.6018633540372671</c:v>
                </c:pt>
                <c:pt idx="139">
                  <c:v>0.60992462311557794</c:v>
                </c:pt>
                <c:pt idx="140">
                  <c:v>0.61683417085427139</c:v>
                </c:pt>
                <c:pt idx="141">
                  <c:v>0.63174603174603172</c:v>
                </c:pt>
                <c:pt idx="142">
                  <c:v>0.63936507936507936</c:v>
                </c:pt>
                <c:pt idx="143">
                  <c:v>0.65206349206349201</c:v>
                </c:pt>
                <c:pt idx="144">
                  <c:v>0.66095238095238096</c:v>
                </c:pt>
                <c:pt idx="145">
                  <c:v>0.67607440667094287</c:v>
                </c:pt>
                <c:pt idx="146">
                  <c:v>0.68184733803720332</c:v>
                </c:pt>
                <c:pt idx="147">
                  <c:v>0.67799871712636306</c:v>
                </c:pt>
                <c:pt idx="148">
                  <c:v>0.68072680077871517</c:v>
                </c:pt>
                <c:pt idx="149">
                  <c:v>0.69562334217506627</c:v>
                </c:pt>
                <c:pt idx="150">
                  <c:v>0.69865771812080535</c:v>
                </c:pt>
                <c:pt idx="151">
                  <c:v>0.70420624151967437</c:v>
                </c:pt>
                <c:pt idx="152">
                  <c:v>0.71516815374056275</c:v>
                </c:pt>
                <c:pt idx="153">
                  <c:v>0.71654083733699381</c:v>
                </c:pt>
                <c:pt idx="154">
                  <c:v>0.71859986273164034</c:v>
                </c:pt>
                <c:pt idx="155">
                  <c:v>0.73106323835997222</c:v>
                </c:pt>
                <c:pt idx="156">
                  <c:v>0.73662265462126475</c:v>
                </c:pt>
                <c:pt idx="157">
                  <c:v>0.74913134120917302</c:v>
                </c:pt>
                <c:pt idx="158">
                  <c:v>0.76650451702571232</c:v>
                </c:pt>
                <c:pt idx="159">
                  <c:v>0.78179291174426691</c:v>
                </c:pt>
                <c:pt idx="160">
                  <c:v>0.79638637943015989</c:v>
                </c:pt>
                <c:pt idx="161">
                  <c:v>0.79752916952642416</c:v>
                </c:pt>
                <c:pt idx="162">
                  <c:v>0.80301990391214828</c:v>
                </c:pt>
                <c:pt idx="163">
                  <c:v>0.79511533242876531</c:v>
                </c:pt>
                <c:pt idx="164">
                  <c:v>0.79715061058344638</c:v>
                </c:pt>
                <c:pt idx="165">
                  <c:v>0.79782903663500682</c:v>
                </c:pt>
                <c:pt idx="166">
                  <c:v>0.79375848032564456</c:v>
                </c:pt>
                <c:pt idx="167">
                  <c:v>0.80164722031571722</c:v>
                </c:pt>
                <c:pt idx="168">
                  <c:v>0.80301990391214828</c:v>
                </c:pt>
                <c:pt idx="169">
                  <c:v>0.79715061058344638</c:v>
                </c:pt>
                <c:pt idx="170">
                  <c:v>0.79261744966442949</c:v>
                </c:pt>
                <c:pt idx="171">
                  <c:v>0.7824933687002652</c:v>
                </c:pt>
                <c:pt idx="172">
                  <c:v>0.78149606299212604</c:v>
                </c:pt>
                <c:pt idx="173">
                  <c:v>0.79907161803713533</c:v>
                </c:pt>
                <c:pt idx="174">
                  <c:v>0.78844905905256324</c:v>
                </c:pt>
                <c:pt idx="175">
                  <c:v>0.80077871512005194</c:v>
                </c:pt>
                <c:pt idx="176">
                  <c:v>0.81310837118754054</c:v>
                </c:pt>
                <c:pt idx="177">
                  <c:v>0.82673588578844903</c:v>
                </c:pt>
                <c:pt idx="178">
                  <c:v>0.83776768332251783</c:v>
                </c:pt>
                <c:pt idx="179">
                  <c:v>0.84645669291338588</c:v>
                </c:pt>
                <c:pt idx="180">
                  <c:v>0.84383202099737531</c:v>
                </c:pt>
                <c:pt idx="181">
                  <c:v>0.84186351706036744</c:v>
                </c:pt>
                <c:pt idx="182">
                  <c:v>0.83062946138870863</c:v>
                </c:pt>
                <c:pt idx="183">
                  <c:v>0.83595800524934383</c:v>
                </c:pt>
                <c:pt idx="184">
                  <c:v>0.81205901218729959</c:v>
                </c:pt>
                <c:pt idx="185">
                  <c:v>0.80885182809493261</c:v>
                </c:pt>
                <c:pt idx="186">
                  <c:v>0.79666452854393843</c:v>
                </c:pt>
                <c:pt idx="187">
                  <c:v>0.78511866581141754</c:v>
                </c:pt>
                <c:pt idx="188">
                  <c:v>0.77650793650793648</c:v>
                </c:pt>
                <c:pt idx="189">
                  <c:v>0.76972418216805649</c:v>
                </c:pt>
                <c:pt idx="190">
                  <c:v>0.76074406670942907</c:v>
                </c:pt>
                <c:pt idx="191">
                  <c:v>0.73650793650793656</c:v>
                </c:pt>
                <c:pt idx="192">
                  <c:v>0.72571428571428576</c:v>
                </c:pt>
                <c:pt idx="193">
                  <c:v>0.70791457286432158</c:v>
                </c:pt>
                <c:pt idx="194">
                  <c:v>0.68450184501845024</c:v>
                </c:pt>
                <c:pt idx="195">
                  <c:v>0.67011564211807673</c:v>
                </c:pt>
                <c:pt idx="196">
                  <c:v>0.66297662976629768</c:v>
                </c:pt>
                <c:pt idx="197">
                  <c:v>0.65805658056580563</c:v>
                </c:pt>
                <c:pt idx="198">
                  <c:v>0.65067650676506761</c:v>
                </c:pt>
                <c:pt idx="199">
                  <c:v>0.64472049689440991</c:v>
                </c:pt>
                <c:pt idx="200">
                  <c:v>0.64472049689440991</c:v>
                </c:pt>
                <c:pt idx="201">
                  <c:v>0.63161131611316113</c:v>
                </c:pt>
                <c:pt idx="202">
                  <c:v>0.62730627306273068</c:v>
                </c:pt>
                <c:pt idx="203">
                  <c:v>0.62238622386223863</c:v>
                </c:pt>
                <c:pt idx="204">
                  <c:v>0.62546583850931681</c:v>
                </c:pt>
                <c:pt idx="205">
                  <c:v>0.62360248447204969</c:v>
                </c:pt>
                <c:pt idx="206">
                  <c:v>0.61254612546125464</c:v>
                </c:pt>
                <c:pt idx="207">
                  <c:v>0.61439114391143912</c:v>
                </c:pt>
                <c:pt idx="208">
                  <c:v>0.61377613776137763</c:v>
                </c:pt>
                <c:pt idx="209">
                  <c:v>0.61254612546125464</c:v>
                </c:pt>
                <c:pt idx="210">
                  <c:v>0.61193111931119315</c:v>
                </c:pt>
                <c:pt idx="211">
                  <c:v>0.60255629945222156</c:v>
                </c:pt>
                <c:pt idx="212">
                  <c:v>0.6007303712720633</c:v>
                </c:pt>
                <c:pt idx="213">
                  <c:v>0.59646987218502734</c:v>
                </c:pt>
                <c:pt idx="214">
                  <c:v>0.59403530127814974</c:v>
                </c:pt>
                <c:pt idx="215">
                  <c:v>0.58429701765063913</c:v>
                </c:pt>
                <c:pt idx="216">
                  <c:v>0.57212416311625081</c:v>
                </c:pt>
                <c:pt idx="217">
                  <c:v>0.56177723676202074</c:v>
                </c:pt>
                <c:pt idx="218">
                  <c:v>0.55508216676810707</c:v>
                </c:pt>
                <c:pt idx="219">
                  <c:v>0.5410833840535606</c:v>
                </c:pt>
                <c:pt idx="220">
                  <c:v>0.53073645769933053</c:v>
                </c:pt>
                <c:pt idx="221">
                  <c:v>0.51917224589166155</c:v>
                </c:pt>
                <c:pt idx="222">
                  <c:v>0.50760803408399269</c:v>
                </c:pt>
                <c:pt idx="223">
                  <c:v>0.50334753499695684</c:v>
                </c:pt>
                <c:pt idx="224">
                  <c:v>0.50273889227023738</c:v>
                </c:pt>
                <c:pt idx="225">
                  <c:v>0.50152160681679858</c:v>
                </c:pt>
                <c:pt idx="226">
                  <c:v>0.50639074863055389</c:v>
                </c:pt>
                <c:pt idx="227">
                  <c:v>0.50821667681071214</c:v>
                </c:pt>
                <c:pt idx="228">
                  <c:v>0.5161290322580645</c:v>
                </c:pt>
                <c:pt idx="229">
                  <c:v>0.52282410225197806</c:v>
                </c:pt>
                <c:pt idx="230">
                  <c:v>0.53073645769933053</c:v>
                </c:pt>
                <c:pt idx="231">
                  <c:v>0.53743152769324409</c:v>
                </c:pt>
                <c:pt idx="232">
                  <c:v>0.5435179549604382</c:v>
                </c:pt>
                <c:pt idx="233">
                  <c:v>0.54550934297769738</c:v>
                </c:pt>
                <c:pt idx="234">
                  <c:v>0.54972875226039786</c:v>
                </c:pt>
                <c:pt idx="235">
                  <c:v>0.55515370705244127</c:v>
                </c:pt>
                <c:pt idx="236">
                  <c:v>0.55756479807112713</c:v>
                </c:pt>
                <c:pt idx="237">
                  <c:v>0.55937311633514164</c:v>
                </c:pt>
                <c:pt idx="238">
                  <c:v>0.56118143459915615</c:v>
                </c:pt>
                <c:pt idx="239">
                  <c:v>0.56298975286317055</c:v>
                </c:pt>
                <c:pt idx="240">
                  <c:v>0.55997588908981311</c:v>
                </c:pt>
                <c:pt idx="241">
                  <c:v>0.55515370705244127</c:v>
                </c:pt>
                <c:pt idx="242">
                  <c:v>0.54368358913813464</c:v>
                </c:pt>
                <c:pt idx="243">
                  <c:v>0.53067129629629628</c:v>
                </c:pt>
                <c:pt idx="244">
                  <c:v>0.52320916905444126</c:v>
                </c:pt>
                <c:pt idx="245">
                  <c:v>0.51633237822349565</c:v>
                </c:pt>
                <c:pt idx="246">
                  <c:v>0.51404011461318055</c:v>
                </c:pt>
                <c:pt idx="247">
                  <c:v>0.5245614035087719</c:v>
                </c:pt>
                <c:pt idx="248">
                  <c:v>0.53428741800834822</c:v>
                </c:pt>
                <c:pt idx="249">
                  <c:v>0.5430982519590114</c:v>
                </c:pt>
                <c:pt idx="250">
                  <c:v>0.5430982519590114</c:v>
                </c:pt>
                <c:pt idx="251">
                  <c:v>0.54792043399638335</c:v>
                </c:pt>
                <c:pt idx="252">
                  <c:v>0.5527426160337553</c:v>
                </c:pt>
                <c:pt idx="253">
                  <c:v>0.55455093429776969</c:v>
                </c:pt>
                <c:pt idx="254">
                  <c:v>0.55937311633514164</c:v>
                </c:pt>
                <c:pt idx="255">
                  <c:v>0.56298975286317055</c:v>
                </c:pt>
                <c:pt idx="256">
                  <c:v>0.56469886702444838</c:v>
                </c:pt>
                <c:pt idx="257">
                  <c:v>0.56469886702444838</c:v>
                </c:pt>
                <c:pt idx="258">
                  <c:v>0.56171735241502685</c:v>
                </c:pt>
                <c:pt idx="259">
                  <c:v>0.55694692903995224</c:v>
                </c:pt>
                <c:pt idx="260">
                  <c:v>0.55038759689922478</c:v>
                </c:pt>
                <c:pt idx="261">
                  <c:v>0.54382826475849733</c:v>
                </c:pt>
                <c:pt idx="262">
                  <c:v>0.53187721369539553</c:v>
                </c:pt>
                <c:pt idx="263">
                  <c:v>0.52105263157894732</c:v>
                </c:pt>
                <c:pt idx="264">
                  <c:v>0.51461988304093564</c:v>
                </c:pt>
                <c:pt idx="265">
                  <c:v>0.50115740740740744</c:v>
                </c:pt>
                <c:pt idx="266">
                  <c:v>0.48900462962962965</c:v>
                </c:pt>
                <c:pt idx="267">
                  <c:v>0.47858796296296297</c:v>
                </c:pt>
                <c:pt idx="268">
                  <c:v>0.464756446991404</c:v>
                </c:pt>
                <c:pt idx="269">
                  <c:v>0.46131805157593125</c:v>
                </c:pt>
                <c:pt idx="270">
                  <c:v>0.45845272206303728</c:v>
                </c:pt>
                <c:pt idx="271">
                  <c:v>0.45386819484240687</c:v>
                </c:pt>
                <c:pt idx="272">
                  <c:v>0.44928366762177652</c:v>
                </c:pt>
                <c:pt idx="273">
                  <c:v>0.45845272206303728</c:v>
                </c:pt>
                <c:pt idx="274">
                  <c:v>0.46418338108882523</c:v>
                </c:pt>
                <c:pt idx="275">
                  <c:v>0.47220630372492839</c:v>
                </c:pt>
                <c:pt idx="276">
                  <c:v>0.4859598853868195</c:v>
                </c:pt>
                <c:pt idx="277">
                  <c:v>0.50429799426934097</c:v>
                </c:pt>
                <c:pt idx="278">
                  <c:v>0.52662037037037035</c:v>
                </c:pt>
                <c:pt idx="279">
                  <c:v>0.5567251461988304</c:v>
                </c:pt>
                <c:pt idx="280">
                  <c:v>0.5832349468713105</c:v>
                </c:pt>
                <c:pt idx="281">
                  <c:v>0.59681227863046049</c:v>
                </c:pt>
                <c:pt idx="282">
                  <c:v>0.60861865407319948</c:v>
                </c:pt>
                <c:pt idx="283">
                  <c:v>0.61629279811097992</c:v>
                </c:pt>
                <c:pt idx="284">
                  <c:v>0.60877192982456141</c:v>
                </c:pt>
                <c:pt idx="285">
                  <c:v>0.61228070175438598</c:v>
                </c:pt>
                <c:pt idx="286">
                  <c:v>0.61695906432748537</c:v>
                </c:pt>
                <c:pt idx="287">
                  <c:v>0.61988304093567248</c:v>
                </c:pt>
                <c:pt idx="288">
                  <c:v>0.61812865497076019</c:v>
                </c:pt>
                <c:pt idx="289">
                  <c:v>0.61520467836257309</c:v>
                </c:pt>
                <c:pt idx="290">
                  <c:v>0.60116959064327491</c:v>
                </c:pt>
                <c:pt idx="291">
                  <c:v>0.58888888888888891</c:v>
                </c:pt>
                <c:pt idx="292">
                  <c:v>0.58421052631578951</c:v>
                </c:pt>
                <c:pt idx="293">
                  <c:v>0.58070175438596494</c:v>
                </c:pt>
                <c:pt idx="294">
                  <c:v>0.58736717827626916</c:v>
                </c:pt>
                <c:pt idx="295">
                  <c:v>0.58913813459268005</c:v>
                </c:pt>
                <c:pt idx="296">
                  <c:v>0.58736717827626916</c:v>
                </c:pt>
                <c:pt idx="297">
                  <c:v>0.58735837805605251</c:v>
                </c:pt>
                <c:pt idx="298">
                  <c:v>0.5825879546809779</c:v>
                </c:pt>
                <c:pt idx="299">
                  <c:v>0.58437686344663087</c:v>
                </c:pt>
                <c:pt idx="300">
                  <c:v>0.58146399055489961</c:v>
                </c:pt>
                <c:pt idx="301">
                  <c:v>0.61552795031055896</c:v>
                </c:pt>
                <c:pt idx="302">
                  <c:v>0.61987577639751557</c:v>
                </c:pt>
                <c:pt idx="303">
                  <c:v>0.61552795031055896</c:v>
                </c:pt>
                <c:pt idx="304">
                  <c:v>0.60993788819875772</c:v>
                </c:pt>
                <c:pt idx="305">
                  <c:v>0.61746231155778897</c:v>
                </c:pt>
                <c:pt idx="306">
                  <c:v>0.6149068322981367</c:v>
                </c:pt>
                <c:pt idx="307">
                  <c:v>0.61304347826086958</c:v>
                </c:pt>
                <c:pt idx="308">
                  <c:v>0.60993788819875772</c:v>
                </c:pt>
                <c:pt idx="309">
                  <c:v>0.59901599015990159</c:v>
                </c:pt>
                <c:pt idx="310">
                  <c:v>0.58003651856360317</c:v>
                </c:pt>
                <c:pt idx="311">
                  <c:v>0.56542909312233713</c:v>
                </c:pt>
                <c:pt idx="312">
                  <c:v>0.54852320675105481</c:v>
                </c:pt>
                <c:pt idx="313">
                  <c:v>0.54008438818565396</c:v>
                </c:pt>
                <c:pt idx="314">
                  <c:v>0.54972875226039786</c:v>
                </c:pt>
                <c:pt idx="315">
                  <c:v>0.55937311633514164</c:v>
                </c:pt>
                <c:pt idx="316">
                  <c:v>0.56479807112718505</c:v>
                </c:pt>
                <c:pt idx="317">
                  <c:v>0.56529516994633278</c:v>
                </c:pt>
                <c:pt idx="318">
                  <c:v>0.56257378984651707</c:v>
                </c:pt>
                <c:pt idx="319">
                  <c:v>0.56374269005847955</c:v>
                </c:pt>
                <c:pt idx="320">
                  <c:v>0.56192129629629628</c:v>
                </c:pt>
                <c:pt idx="321">
                  <c:v>0.56160458452722062</c:v>
                </c:pt>
                <c:pt idx="322">
                  <c:v>0.57020057306590255</c:v>
                </c:pt>
                <c:pt idx="323">
                  <c:v>0.58217592592592593</c:v>
                </c:pt>
                <c:pt idx="324">
                  <c:v>0.5935672514619883</c:v>
                </c:pt>
                <c:pt idx="325">
                  <c:v>0.58830409356725144</c:v>
                </c:pt>
                <c:pt idx="326">
                  <c:v>0.58713450292397662</c:v>
                </c:pt>
                <c:pt idx="327">
                  <c:v>0.58245614035087723</c:v>
                </c:pt>
                <c:pt idx="328">
                  <c:v>0.57485380116959062</c:v>
                </c:pt>
                <c:pt idx="329">
                  <c:v>0.56539351851851849</c:v>
                </c:pt>
                <c:pt idx="330">
                  <c:v>0.56192129629629628</c:v>
                </c:pt>
                <c:pt idx="331">
                  <c:v>0.55439814814814814</c:v>
                </c:pt>
                <c:pt idx="332">
                  <c:v>0.55150462962962965</c:v>
                </c:pt>
                <c:pt idx="333">
                  <c:v>0.55150462962962965</c:v>
                </c:pt>
                <c:pt idx="334">
                  <c:v>0.5532407407407407</c:v>
                </c:pt>
                <c:pt idx="335">
                  <c:v>0.55847953216374269</c:v>
                </c:pt>
                <c:pt idx="336">
                  <c:v>0.55380116959064329</c:v>
                </c:pt>
                <c:pt idx="337">
                  <c:v>0.55489964580873674</c:v>
                </c:pt>
                <c:pt idx="338">
                  <c:v>0.55992844364937389</c:v>
                </c:pt>
                <c:pt idx="339">
                  <c:v>0.55694692903995224</c:v>
                </c:pt>
                <c:pt idx="340">
                  <c:v>0.56118143459915615</c:v>
                </c:pt>
                <c:pt idx="341">
                  <c:v>0.56118143459915615</c:v>
                </c:pt>
                <c:pt idx="342">
                  <c:v>0.57082579867389993</c:v>
                </c:pt>
                <c:pt idx="343">
                  <c:v>0.60216998191681737</c:v>
                </c:pt>
                <c:pt idx="344">
                  <c:v>0.60699216395418931</c:v>
                </c:pt>
                <c:pt idx="345">
                  <c:v>0.60524746571258203</c:v>
                </c:pt>
                <c:pt idx="346">
                  <c:v>0.61001788908765653</c:v>
                </c:pt>
                <c:pt idx="347">
                  <c:v>0.61955873583780563</c:v>
                </c:pt>
                <c:pt idx="348">
                  <c:v>0.62850327966607034</c:v>
                </c:pt>
                <c:pt idx="349">
                  <c:v>0.63506261180679791</c:v>
                </c:pt>
                <c:pt idx="350">
                  <c:v>0.64341085271317833</c:v>
                </c:pt>
                <c:pt idx="351">
                  <c:v>0.66003616636528029</c:v>
                </c:pt>
                <c:pt idx="352">
                  <c:v>0.66606389391199516</c:v>
                </c:pt>
                <c:pt idx="353">
                  <c:v>0.66968053044002407</c:v>
                </c:pt>
                <c:pt idx="354">
                  <c:v>0.64496684749849309</c:v>
                </c:pt>
                <c:pt idx="355">
                  <c:v>0.64496684749849309</c:v>
                </c:pt>
                <c:pt idx="356">
                  <c:v>0.6353224834237492</c:v>
                </c:pt>
                <c:pt idx="357">
                  <c:v>0.63420572124163122</c:v>
                </c:pt>
                <c:pt idx="358">
                  <c:v>0.63055386488131471</c:v>
                </c:pt>
                <c:pt idx="359">
                  <c:v>0.62568472306755929</c:v>
                </c:pt>
                <c:pt idx="360">
                  <c:v>0.62020693852708464</c:v>
                </c:pt>
                <c:pt idx="361">
                  <c:v>0.60940325497287517</c:v>
                </c:pt>
                <c:pt idx="362">
                  <c:v>0.59868813357185446</c:v>
                </c:pt>
                <c:pt idx="363">
                  <c:v>0.59093619558735833</c:v>
                </c:pt>
                <c:pt idx="364">
                  <c:v>0.58146399055489961</c:v>
                </c:pt>
                <c:pt idx="365">
                  <c:v>0.57251461988304098</c:v>
                </c:pt>
                <c:pt idx="366">
                  <c:v>0.56959064327485376</c:v>
                </c:pt>
                <c:pt idx="367">
                  <c:v>0.57076023391812869</c:v>
                </c:pt>
                <c:pt idx="368">
                  <c:v>0.57969303423848884</c:v>
                </c:pt>
                <c:pt idx="369">
                  <c:v>0.57969303423848884</c:v>
                </c:pt>
                <c:pt idx="370">
                  <c:v>0.57969303423848884</c:v>
                </c:pt>
                <c:pt idx="371">
                  <c:v>0.57615112160566706</c:v>
                </c:pt>
                <c:pt idx="372">
                  <c:v>0.57497048406139317</c:v>
                </c:pt>
                <c:pt idx="373">
                  <c:v>0.56959064327485376</c:v>
                </c:pt>
                <c:pt idx="374">
                  <c:v>0.57426900584795326</c:v>
                </c:pt>
                <c:pt idx="375">
                  <c:v>0.57953216374269001</c:v>
                </c:pt>
                <c:pt idx="376">
                  <c:v>0.57581018518518523</c:v>
                </c:pt>
                <c:pt idx="377">
                  <c:v>0.57118055555555558</c:v>
                </c:pt>
                <c:pt idx="378">
                  <c:v>0.57894736842105265</c:v>
                </c:pt>
                <c:pt idx="379">
                  <c:v>0.58362573099415205</c:v>
                </c:pt>
                <c:pt idx="380">
                  <c:v>0.58713450292397662</c:v>
                </c:pt>
                <c:pt idx="381">
                  <c:v>0.58043981481481477</c:v>
                </c:pt>
                <c:pt idx="382">
                  <c:v>0.57928240740740744</c:v>
                </c:pt>
                <c:pt idx="383">
                  <c:v>0.55705452501405284</c:v>
                </c:pt>
                <c:pt idx="384">
                  <c:v>0.54540389972144843</c:v>
                </c:pt>
                <c:pt idx="385">
                  <c:v>0.54412591343451377</c:v>
                </c:pt>
                <c:pt idx="386">
                  <c:v>0.54230550823395796</c:v>
                </c:pt>
                <c:pt idx="387">
                  <c:v>0.51422436929683302</c:v>
                </c:pt>
                <c:pt idx="388">
                  <c:v>0.53200883002207511</c:v>
                </c:pt>
                <c:pt idx="389">
                  <c:v>0.53962900505902189</c:v>
                </c:pt>
                <c:pt idx="420">
                  <c:v>0.45218352681039248</c:v>
                </c:pt>
                <c:pt idx="421">
                  <c:v>0.42703533026113671</c:v>
                </c:pt>
                <c:pt idx="422">
                  <c:v>0.45333333333333331</c:v>
                </c:pt>
                <c:pt idx="423">
                  <c:v>0.4498448810754912</c:v>
                </c:pt>
                <c:pt idx="424">
                  <c:v>0.44712990936555891</c:v>
                </c:pt>
                <c:pt idx="425">
                  <c:v>0.4726027397260274</c:v>
                </c:pt>
                <c:pt idx="426">
                  <c:v>0.46280143663417139</c:v>
                </c:pt>
                <c:pt idx="427">
                  <c:v>0.48270440251572327</c:v>
                </c:pt>
                <c:pt idx="428">
                  <c:v>0.49657353716394309</c:v>
                </c:pt>
                <c:pt idx="429">
                  <c:v>0.4897225077081192</c:v>
                </c:pt>
                <c:pt idx="430">
                  <c:v>0.49631190727081137</c:v>
                </c:pt>
                <c:pt idx="431">
                  <c:v>0.48234683281412255</c:v>
                </c:pt>
                <c:pt idx="432">
                  <c:v>0.44141559062649449</c:v>
                </c:pt>
                <c:pt idx="433">
                  <c:v>0.44812469556746226</c:v>
                </c:pt>
                <c:pt idx="434">
                  <c:v>0.44892996108949418</c:v>
                </c:pt>
                <c:pt idx="435">
                  <c:v>0.43058823529411766</c:v>
                </c:pt>
                <c:pt idx="436">
                  <c:v>0.43636363636363634</c:v>
                </c:pt>
                <c:pt idx="437">
                  <c:v>0.43578847969782813</c:v>
                </c:pt>
                <c:pt idx="438">
                  <c:v>0.41655359565807326</c:v>
                </c:pt>
                <c:pt idx="439">
                  <c:v>0.42863849765258216</c:v>
                </c:pt>
                <c:pt idx="440">
                  <c:v>0.39850615114235499</c:v>
                </c:pt>
                <c:pt idx="441">
                  <c:v>0.39681171908660062</c:v>
                </c:pt>
                <c:pt idx="442">
                  <c:v>0.40575221238938053</c:v>
                </c:pt>
                <c:pt idx="443">
                  <c:v>0.3852320675105485</c:v>
                </c:pt>
                <c:pt idx="444">
                  <c:v>0.37438625204582654</c:v>
                </c:pt>
                <c:pt idx="445">
                  <c:v>0.39508266214497667</c:v>
                </c:pt>
                <c:pt idx="446">
                  <c:v>0.40067911714770799</c:v>
                </c:pt>
                <c:pt idx="447">
                  <c:v>0.36684574059861857</c:v>
                </c:pt>
                <c:pt idx="448">
                  <c:v>0.3939269593762823</c:v>
                </c:pt>
                <c:pt idx="449">
                  <c:v>0.38308060654429371</c:v>
                </c:pt>
                <c:pt idx="450">
                  <c:v>0.38688138256087984</c:v>
                </c:pt>
                <c:pt idx="451">
                  <c:v>0.41536614645858344</c:v>
                </c:pt>
                <c:pt idx="452">
                  <c:v>0.40045248868778283</c:v>
                </c:pt>
                <c:pt idx="453">
                  <c:v>0.44055666003976141</c:v>
                </c:pt>
                <c:pt idx="454">
                  <c:v>0.43129044537495242</c:v>
                </c:pt>
                <c:pt idx="455">
                  <c:v>0.45091191307722156</c:v>
                </c:pt>
                <c:pt idx="456">
                  <c:v>0.43133606252326012</c:v>
                </c:pt>
                <c:pt idx="457">
                  <c:v>0.41713681241184769</c:v>
                </c:pt>
                <c:pt idx="458">
                  <c:v>0.40838560581049854</c:v>
                </c:pt>
                <c:pt idx="459">
                  <c:v>0.45827439886845828</c:v>
                </c:pt>
                <c:pt idx="460">
                  <c:v>0.45026525198938994</c:v>
                </c:pt>
                <c:pt idx="461">
                  <c:v>0.49184397163120569</c:v>
                </c:pt>
                <c:pt idx="462">
                  <c:v>0.45099967223861032</c:v>
                </c:pt>
                <c:pt idx="463">
                  <c:v>0.44101748807631158</c:v>
                </c:pt>
                <c:pt idx="464">
                  <c:v>0.44809088040391293</c:v>
                </c:pt>
                <c:pt idx="465">
                  <c:v>0.47147049233778937</c:v>
                </c:pt>
                <c:pt idx="466">
                  <c:v>0.47680830360038923</c:v>
                </c:pt>
                <c:pt idx="467">
                  <c:v>0.52456747404844295</c:v>
                </c:pt>
                <c:pt idx="468">
                  <c:v>0.49256093700538145</c:v>
                </c:pt>
                <c:pt idx="469">
                  <c:v>0.48749218261413385</c:v>
                </c:pt>
                <c:pt idx="470">
                  <c:v>0.52675585284280935</c:v>
                </c:pt>
                <c:pt idx="471">
                  <c:v>0.52064750578130159</c:v>
                </c:pt>
                <c:pt idx="472">
                  <c:v>0.48278985507246375</c:v>
                </c:pt>
                <c:pt idx="473">
                  <c:v>0.539490861618799</c:v>
                </c:pt>
                <c:pt idx="474">
                  <c:v>0.48923792902850494</c:v>
                </c:pt>
                <c:pt idx="475">
                  <c:v>0.47667514843087361</c:v>
                </c:pt>
                <c:pt idx="476">
                  <c:v>0.53603464274667489</c:v>
                </c:pt>
                <c:pt idx="477">
                  <c:v>0.51946902654867255</c:v>
                </c:pt>
                <c:pt idx="478">
                  <c:v>0.54005400540054005</c:v>
                </c:pt>
                <c:pt idx="479">
                  <c:v>0.58946353999357537</c:v>
                </c:pt>
                <c:pt idx="480">
                  <c:v>0.55815329979283812</c:v>
                </c:pt>
                <c:pt idx="481">
                  <c:v>0.55104375178724618</c:v>
                </c:pt>
                <c:pt idx="482">
                  <c:v>0.54236358650945982</c:v>
                </c:pt>
                <c:pt idx="483">
                  <c:v>0.55552508911434051</c:v>
                </c:pt>
                <c:pt idx="484">
                  <c:v>0.57254246727930935</c:v>
                </c:pt>
                <c:pt idx="485">
                  <c:v>0.59209778283115411</c:v>
                </c:pt>
                <c:pt idx="486">
                  <c:v>0.58637128435221542</c:v>
                </c:pt>
                <c:pt idx="487">
                  <c:v>0.58214783821478377</c:v>
                </c:pt>
                <c:pt idx="488">
                  <c:v>0.58612109482996955</c:v>
                </c:pt>
                <c:pt idx="489">
                  <c:v>0.58389624425830855</c:v>
                </c:pt>
                <c:pt idx="490">
                  <c:v>0.58199102191708474</c:v>
                </c:pt>
                <c:pt idx="491">
                  <c:v>0.5764766572091824</c:v>
                </c:pt>
                <c:pt idx="492">
                  <c:v>0.57272269753397076</c:v>
                </c:pt>
                <c:pt idx="493">
                  <c:v>0.57188814649839148</c:v>
                </c:pt>
                <c:pt idx="494">
                  <c:v>0.55900621118012417</c:v>
                </c:pt>
                <c:pt idx="495">
                  <c:v>0.57728937728937724</c:v>
                </c:pt>
                <c:pt idx="496">
                  <c:v>0.56425233644859818</c:v>
                </c:pt>
                <c:pt idx="497">
                  <c:v>0.58878060375564534</c:v>
                </c:pt>
                <c:pt idx="498">
                  <c:v>0.57876790179586268</c:v>
                </c:pt>
                <c:pt idx="499">
                  <c:v>0.56681034482758619</c:v>
                </c:pt>
                <c:pt idx="500">
                  <c:v>0.58900523560209428</c:v>
                </c:pt>
                <c:pt idx="510">
                  <c:v>0.57003808717731697</c:v>
                </c:pt>
                <c:pt idx="513">
                  <c:v>0.49900990099009901</c:v>
                </c:pt>
                <c:pt idx="520">
                  <c:v>0.58320373250388802</c:v>
                </c:pt>
                <c:pt idx="529">
                  <c:v>0.44938732019179539</c:v>
                </c:pt>
                <c:pt idx="530">
                  <c:v>0.43992248062015504</c:v>
                </c:pt>
                <c:pt idx="531">
                  <c:v>0.43045474744482298</c:v>
                </c:pt>
                <c:pt idx="532">
                  <c:v>0.41879258437648548</c:v>
                </c:pt>
                <c:pt idx="533">
                  <c:v>0.37501849933402398</c:v>
                </c:pt>
                <c:pt idx="534">
                  <c:v>0.37997605507333132</c:v>
                </c:pt>
                <c:pt idx="535">
                  <c:v>0.39091048671886997</c:v>
                </c:pt>
                <c:pt idx="536">
                  <c:v>0.38285291943828531</c:v>
                </c:pt>
                <c:pt idx="537">
                  <c:v>0.4267337807606264</c:v>
                </c:pt>
                <c:pt idx="538">
                  <c:v>0.48855176288804608</c:v>
                </c:pt>
                <c:pt idx="548">
                  <c:v>0.49121552850924771</c:v>
                </c:pt>
                <c:pt idx="549">
                  <c:v>0.46045958823656147</c:v>
                </c:pt>
                <c:pt idx="550">
                  <c:v>0.47181224292281637</c:v>
                </c:pt>
                <c:pt idx="551">
                  <c:v>0.45962090752441126</c:v>
                </c:pt>
                <c:pt idx="552">
                  <c:v>0.45303867403314918</c:v>
                </c:pt>
                <c:pt idx="553">
                  <c:v>0.4605960264900662</c:v>
                </c:pt>
                <c:pt idx="554">
                  <c:v>0.45905812473483243</c:v>
                </c:pt>
                <c:pt idx="555">
                  <c:v>0.4507640927031677</c:v>
                </c:pt>
                <c:pt idx="556">
                  <c:v>0.44415255886359212</c:v>
                </c:pt>
                <c:pt idx="557">
                  <c:v>0.4379812598571296</c:v>
                </c:pt>
                <c:pt idx="558">
                  <c:v>0.44595954973917817</c:v>
                </c:pt>
                <c:pt idx="559">
                  <c:v>0.44363538295577132</c:v>
                </c:pt>
                <c:pt idx="560">
                  <c:v>0.43461668928086838</c:v>
                </c:pt>
                <c:pt idx="561">
                  <c:v>0.44391155909608193</c:v>
                </c:pt>
                <c:pt idx="562">
                  <c:v>0.41410685123259972</c:v>
                </c:pt>
                <c:pt idx="563">
                  <c:v>0.41875468867216803</c:v>
                </c:pt>
                <c:pt idx="564">
                  <c:v>0.41068506793768228</c:v>
                </c:pt>
                <c:pt idx="565">
                  <c:v>0.4131699637209939</c:v>
                </c:pt>
                <c:pt idx="566">
                  <c:v>0.41819496483270885</c:v>
                </c:pt>
                <c:pt idx="567">
                  <c:v>0.41413373860182373</c:v>
                </c:pt>
                <c:pt idx="568">
                  <c:v>0.42047051634586008</c:v>
                </c:pt>
                <c:pt idx="569">
                  <c:v>0.38958045182111573</c:v>
                </c:pt>
                <c:pt idx="570">
                  <c:v>0.38807939737174907</c:v>
                </c:pt>
                <c:pt idx="571">
                  <c:v>0.39738361315608284</c:v>
                </c:pt>
                <c:pt idx="572">
                  <c:v>0.40851194434497928</c:v>
                </c:pt>
                <c:pt idx="573">
                  <c:v>0.41641798346460546</c:v>
                </c:pt>
                <c:pt idx="574">
                  <c:v>0.4271361592192135</c:v>
                </c:pt>
                <c:pt idx="575">
                  <c:v>0.44826417469617003</c:v>
                </c:pt>
                <c:pt idx="576">
                  <c:v>0.43778243652457488</c:v>
                </c:pt>
                <c:pt idx="577">
                  <c:v>0.42760517653424718</c:v>
                </c:pt>
                <c:pt idx="578">
                  <c:v>0.42915675389902191</c:v>
                </c:pt>
                <c:pt idx="579">
                  <c:v>0.40602760867701276</c:v>
                </c:pt>
                <c:pt idx="580">
                  <c:v>0.38870714194672218</c:v>
                </c:pt>
                <c:pt idx="581">
                  <c:v>0.36288311139294016</c:v>
                </c:pt>
                <c:pt idx="582">
                  <c:v>0.34946102819237146</c:v>
                </c:pt>
                <c:pt idx="583">
                  <c:v>0.3606584362139918</c:v>
                </c:pt>
                <c:pt idx="584">
                  <c:v>0.36730698641869569</c:v>
                </c:pt>
                <c:pt idx="585">
                  <c:v>0.3644516259341547</c:v>
                </c:pt>
                <c:pt idx="586">
                  <c:v>0.36611458911165701</c:v>
                </c:pt>
                <c:pt idx="587">
                  <c:v>0.35172387016617485</c:v>
                </c:pt>
                <c:pt idx="588">
                  <c:v>0.34480439412621905</c:v>
                </c:pt>
                <c:pt idx="589">
                  <c:v>0.32854656222802436</c:v>
                </c:pt>
                <c:pt idx="590">
                  <c:v>0.2897365707988197</c:v>
                </c:pt>
                <c:pt idx="591">
                  <c:v>0.26951903546845474</c:v>
                </c:pt>
                <c:pt idx="592">
                  <c:v>0.27512155176357478</c:v>
                </c:pt>
                <c:pt idx="593">
                  <c:v>0.29042498980434689</c:v>
                </c:pt>
                <c:pt idx="594">
                  <c:v>0.30171005298076464</c:v>
                </c:pt>
                <c:pt idx="595">
                  <c:v>0.3198041402624181</c:v>
                </c:pt>
                <c:pt idx="596">
                  <c:v>0.33851065271348901</c:v>
                </c:pt>
                <c:pt idx="597">
                  <c:v>0.3563161095513418</c:v>
                </c:pt>
                <c:pt idx="598">
                  <c:v>0.36437211026740696</c:v>
                </c:pt>
                <c:pt idx="599">
                  <c:v>0.37350363410236759</c:v>
                </c:pt>
                <c:pt idx="600">
                  <c:v>0.38109213255084207</c:v>
                </c:pt>
                <c:pt idx="601">
                  <c:v>0.38377201853720971</c:v>
                </c:pt>
                <c:pt idx="602">
                  <c:v>0.39281057390295554</c:v>
                </c:pt>
                <c:pt idx="603">
                  <c:v>0.40929733046758338</c:v>
                </c:pt>
                <c:pt idx="604">
                  <c:v>0.42474978387816653</c:v>
                </c:pt>
                <c:pt idx="605">
                  <c:v>0.43895570425141767</c:v>
                </c:pt>
                <c:pt idx="606">
                  <c:v>0.46207416367857801</c:v>
                </c:pt>
                <c:pt idx="607">
                  <c:v>0.49035397066213549</c:v>
                </c:pt>
                <c:pt idx="608">
                  <c:v>0.51715504125840339</c:v>
                </c:pt>
                <c:pt idx="609">
                  <c:v>0.55490375299083727</c:v>
                </c:pt>
                <c:pt idx="610">
                  <c:v>0.57108790478029381</c:v>
                </c:pt>
                <c:pt idx="611">
                  <c:v>0.5951595759178</c:v>
                </c:pt>
                <c:pt idx="612">
                  <c:v>0.60671023488556508</c:v>
                </c:pt>
                <c:pt idx="613">
                  <c:v>0.61449006333260536</c:v>
                </c:pt>
                <c:pt idx="614">
                  <c:v>0.63695348646206917</c:v>
                </c:pt>
                <c:pt idx="615">
                  <c:v>0.65650202297227578</c:v>
                </c:pt>
                <c:pt idx="616">
                  <c:v>0.66905505872212045</c:v>
                </c:pt>
                <c:pt idx="617">
                  <c:v>0.68772036694891869</c:v>
                </c:pt>
                <c:pt idx="618">
                  <c:v>0.71282829123164837</c:v>
                </c:pt>
              </c:numCache>
            </c:numRef>
          </c:yVal>
          <c:smooth val="0"/>
          <c:extLst>
            <c:ext xmlns:c16="http://schemas.microsoft.com/office/drawing/2014/chart" uri="{C3380CC4-5D6E-409C-BE32-E72D297353CC}">
              <c16:uniqueId val="{00000000-9F7A-426A-81A5-C6ED643C1220}"/>
            </c:ext>
          </c:extLst>
        </c:ser>
        <c:dLbls>
          <c:showLegendKey val="0"/>
          <c:showVal val="0"/>
          <c:showCatName val="0"/>
          <c:showSerName val="0"/>
          <c:showPercent val="0"/>
          <c:showBubbleSize val="0"/>
        </c:dLbls>
        <c:axId val="1760309775"/>
        <c:axId val="1760311023"/>
      </c:scatterChart>
      <c:valAx>
        <c:axId val="1760309775"/>
        <c:scaling>
          <c:orientation val="minMax"/>
          <c:max val="2020"/>
          <c:min val="1400"/>
        </c:scaling>
        <c:delete val="0"/>
        <c:axPos val="b"/>
        <c:numFmt formatCode="General" sourceLinked="1"/>
        <c:majorTickMark val="out"/>
        <c:minorTickMark val="none"/>
        <c:tickLblPos val="low"/>
        <c:spPr>
          <a:noFill/>
          <a:ln w="9525" cap="flat" cmpd="sng" algn="ctr">
            <a:solidFill>
              <a:srgbClr val="000000">
                <a:lumMod val="100000"/>
              </a:srgbClr>
            </a:solidFill>
            <a:round/>
          </a:ln>
          <a:effectLst/>
        </c:spPr>
        <c:txPr>
          <a:bodyPr rot="-60000000" spcFirstLastPara="1" vertOverflow="ellipsis" vert="horz" wrap="square" anchor="ctr" anchorCtr="1"/>
          <a:lstStyle/>
          <a:p>
            <a:pPr>
              <a:defRPr sz="1600" b="0" i="0" u="none" strike="noStrike" kern="1200" baseline="0">
                <a:solidFill>
                  <a:srgbClr val="000000"/>
                </a:solidFill>
                <a:latin typeface="Calibri" panose="020F0502020204030204" pitchFamily="34" charset="0"/>
                <a:ea typeface="+mn-ea"/>
                <a:cs typeface="+mn-cs"/>
              </a:defRPr>
            </a:pPr>
            <a:endParaRPr lang="pl-PL"/>
          </a:p>
        </c:txPr>
        <c:crossAx val="1760311023"/>
        <c:crosses val="autoZero"/>
        <c:crossBetween val="midCat"/>
      </c:valAx>
      <c:valAx>
        <c:axId val="1760311023"/>
        <c:scaling>
          <c:orientation val="minMax"/>
        </c:scaling>
        <c:delete val="0"/>
        <c:axPos val="l"/>
        <c:numFmt formatCode="0%" sourceLinked="0"/>
        <c:majorTickMark val="out"/>
        <c:minorTickMark val="none"/>
        <c:tickLblPos val="nextTo"/>
        <c:spPr>
          <a:noFill/>
          <a:ln w="9525" cap="flat" cmpd="sng" algn="ctr">
            <a:solidFill>
              <a:srgbClr val="000000">
                <a:lumMod val="100000"/>
              </a:srgbClr>
            </a:solidFill>
            <a:round/>
          </a:ln>
          <a:effectLst/>
        </c:spPr>
        <c:txPr>
          <a:bodyPr rot="-60000000" spcFirstLastPara="1" vertOverflow="ellipsis" vert="horz" wrap="square" anchor="ctr" anchorCtr="1"/>
          <a:lstStyle/>
          <a:p>
            <a:pPr>
              <a:defRPr sz="1600" b="0" i="0" u="none" strike="noStrike" kern="1200" baseline="0">
                <a:solidFill>
                  <a:srgbClr val="000000"/>
                </a:solidFill>
                <a:latin typeface="Calibri" panose="020F0502020204030204" pitchFamily="34" charset="0"/>
                <a:ea typeface="+mn-ea"/>
                <a:cs typeface="+mn-cs"/>
              </a:defRPr>
            </a:pPr>
            <a:endParaRPr lang="pl-PL"/>
          </a:p>
        </c:txPr>
        <c:crossAx val="176030977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600">
          <a:latin typeface="Calibri" panose="020F0502020204030204" pitchFamily="34" charset="0"/>
        </a:defRPr>
      </a:pPr>
      <a:endParaRPr lang="pl-P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Calibri" panose="020F0502020204030204" pitchFamily="34" charset="0"/>
                <a:ea typeface="+mn-ea"/>
                <a:cs typeface="+mn-cs"/>
              </a:defRPr>
            </a:pPr>
            <a:r>
              <a:rPr lang="pl-PL" dirty="0" err="1">
                <a:solidFill>
                  <a:schemeClr val="tx1"/>
                </a:solidFill>
              </a:rPr>
              <a:t>total</a:t>
            </a:r>
            <a:r>
              <a:rPr lang="pl-PL" dirty="0">
                <a:solidFill>
                  <a:schemeClr val="tx1"/>
                </a:solidFill>
              </a:rPr>
              <a:t> return</a:t>
            </a:r>
            <a:r>
              <a:rPr lang="pl-PL" baseline="0" dirty="0">
                <a:solidFill>
                  <a:schemeClr val="tx1"/>
                </a:solidFill>
              </a:rPr>
              <a:t> 2005 (x-</a:t>
            </a:r>
            <a:r>
              <a:rPr lang="pl-PL" baseline="0" dirty="0" err="1">
                <a:solidFill>
                  <a:schemeClr val="tx1"/>
                </a:solidFill>
              </a:rPr>
              <a:t>fold</a:t>
            </a:r>
            <a:r>
              <a:rPr lang="pl-PL" baseline="0" dirty="0">
                <a:solidFill>
                  <a:schemeClr val="tx1"/>
                </a:solidFill>
              </a:rPr>
              <a:t>)</a:t>
            </a:r>
            <a:endParaRPr lang="pl-PL" dirty="0">
              <a:solidFill>
                <a:schemeClr val="tx1"/>
              </a:solidFill>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Calibri" panose="020F0502020204030204" pitchFamily="34" charset="0"/>
              <a:ea typeface="+mn-ea"/>
              <a:cs typeface="+mn-cs"/>
            </a:defRPr>
          </a:pPr>
          <a:endParaRPr lang="pl-PL"/>
        </a:p>
      </c:txPr>
    </c:title>
    <c:autoTitleDeleted val="0"/>
    <c:plotArea>
      <c:layout/>
      <c:lineChart>
        <c:grouping val="standard"/>
        <c:varyColors val="0"/>
        <c:ser>
          <c:idx val="0"/>
          <c:order val="0"/>
          <c:tx>
            <c:strRef>
              <c:f>wig!$D$4</c:f>
              <c:strCache>
                <c:ptCount val="1"/>
                <c:pt idx="0">
                  <c:v>S&amp;P500</c:v>
                </c:pt>
              </c:strCache>
            </c:strRef>
          </c:tx>
          <c:spPr>
            <a:ln w="28575" cap="rnd">
              <a:solidFill>
                <a:srgbClr val="D71920"/>
              </a:solidFill>
              <a:round/>
            </a:ln>
            <a:effectLst/>
          </c:spPr>
          <c:marker>
            <c:symbol val="none"/>
          </c:marker>
          <c:cat>
            <c:numRef>
              <c:f>wig!$A$5:$A$8435</c:f>
              <c:numCache>
                <c:formatCode>m/d/yyyy</c:formatCode>
                <c:ptCount val="8431"/>
                <c:pt idx="0">
                  <c:v>32762</c:v>
                </c:pt>
                <c:pt idx="1">
                  <c:v>32763</c:v>
                </c:pt>
                <c:pt idx="2">
                  <c:v>32764</c:v>
                </c:pt>
                <c:pt idx="3">
                  <c:v>32765</c:v>
                </c:pt>
                <c:pt idx="4">
                  <c:v>32766</c:v>
                </c:pt>
                <c:pt idx="5">
                  <c:v>32769</c:v>
                </c:pt>
                <c:pt idx="6">
                  <c:v>32770</c:v>
                </c:pt>
                <c:pt idx="7">
                  <c:v>32771</c:v>
                </c:pt>
                <c:pt idx="8">
                  <c:v>32772</c:v>
                </c:pt>
                <c:pt idx="9">
                  <c:v>32773</c:v>
                </c:pt>
                <c:pt idx="10">
                  <c:v>32776</c:v>
                </c:pt>
                <c:pt idx="11">
                  <c:v>32777</c:v>
                </c:pt>
                <c:pt idx="12">
                  <c:v>32778</c:v>
                </c:pt>
                <c:pt idx="13">
                  <c:v>32779</c:v>
                </c:pt>
                <c:pt idx="14">
                  <c:v>32780</c:v>
                </c:pt>
                <c:pt idx="15">
                  <c:v>32783</c:v>
                </c:pt>
                <c:pt idx="16">
                  <c:v>32784</c:v>
                </c:pt>
                <c:pt idx="17">
                  <c:v>32785</c:v>
                </c:pt>
                <c:pt idx="18">
                  <c:v>32786</c:v>
                </c:pt>
                <c:pt idx="19">
                  <c:v>32787</c:v>
                </c:pt>
                <c:pt idx="20">
                  <c:v>32790</c:v>
                </c:pt>
                <c:pt idx="21">
                  <c:v>32791</c:v>
                </c:pt>
                <c:pt idx="22">
                  <c:v>32792</c:v>
                </c:pt>
                <c:pt idx="23">
                  <c:v>32793</c:v>
                </c:pt>
                <c:pt idx="24">
                  <c:v>32794</c:v>
                </c:pt>
                <c:pt idx="25">
                  <c:v>32797</c:v>
                </c:pt>
                <c:pt idx="26">
                  <c:v>32798</c:v>
                </c:pt>
                <c:pt idx="27">
                  <c:v>32799</c:v>
                </c:pt>
                <c:pt idx="28">
                  <c:v>32800</c:v>
                </c:pt>
                <c:pt idx="29">
                  <c:v>32801</c:v>
                </c:pt>
                <c:pt idx="30">
                  <c:v>32804</c:v>
                </c:pt>
                <c:pt idx="31">
                  <c:v>32805</c:v>
                </c:pt>
                <c:pt idx="32">
                  <c:v>32806</c:v>
                </c:pt>
                <c:pt idx="33">
                  <c:v>32807</c:v>
                </c:pt>
                <c:pt idx="34">
                  <c:v>32808</c:v>
                </c:pt>
                <c:pt idx="35">
                  <c:v>32811</c:v>
                </c:pt>
                <c:pt idx="36">
                  <c:v>32812</c:v>
                </c:pt>
                <c:pt idx="37">
                  <c:v>32813</c:v>
                </c:pt>
                <c:pt idx="38">
                  <c:v>32814</c:v>
                </c:pt>
                <c:pt idx="39">
                  <c:v>32815</c:v>
                </c:pt>
                <c:pt idx="40">
                  <c:v>32818</c:v>
                </c:pt>
                <c:pt idx="41">
                  <c:v>32819</c:v>
                </c:pt>
                <c:pt idx="42">
                  <c:v>32820</c:v>
                </c:pt>
                <c:pt idx="43">
                  <c:v>32821</c:v>
                </c:pt>
                <c:pt idx="44">
                  <c:v>32822</c:v>
                </c:pt>
                <c:pt idx="45">
                  <c:v>32825</c:v>
                </c:pt>
                <c:pt idx="46">
                  <c:v>32826</c:v>
                </c:pt>
                <c:pt idx="47">
                  <c:v>32827</c:v>
                </c:pt>
                <c:pt idx="48">
                  <c:v>32828</c:v>
                </c:pt>
                <c:pt idx="49">
                  <c:v>32829</c:v>
                </c:pt>
                <c:pt idx="50">
                  <c:v>32832</c:v>
                </c:pt>
                <c:pt idx="51">
                  <c:v>32833</c:v>
                </c:pt>
                <c:pt idx="52">
                  <c:v>32834</c:v>
                </c:pt>
                <c:pt idx="53">
                  <c:v>32836</c:v>
                </c:pt>
                <c:pt idx="54">
                  <c:v>32839</c:v>
                </c:pt>
                <c:pt idx="55">
                  <c:v>32840</c:v>
                </c:pt>
                <c:pt idx="56">
                  <c:v>32841</c:v>
                </c:pt>
                <c:pt idx="57">
                  <c:v>32842</c:v>
                </c:pt>
                <c:pt idx="58">
                  <c:v>32843</c:v>
                </c:pt>
                <c:pt idx="59">
                  <c:v>32846</c:v>
                </c:pt>
                <c:pt idx="60">
                  <c:v>32847</c:v>
                </c:pt>
                <c:pt idx="61">
                  <c:v>32848</c:v>
                </c:pt>
                <c:pt idx="62">
                  <c:v>32849</c:v>
                </c:pt>
                <c:pt idx="63">
                  <c:v>32850</c:v>
                </c:pt>
                <c:pt idx="64">
                  <c:v>32853</c:v>
                </c:pt>
                <c:pt idx="65">
                  <c:v>32854</c:v>
                </c:pt>
                <c:pt idx="66">
                  <c:v>32855</c:v>
                </c:pt>
                <c:pt idx="67">
                  <c:v>32856</c:v>
                </c:pt>
                <c:pt idx="68">
                  <c:v>32857</c:v>
                </c:pt>
                <c:pt idx="69">
                  <c:v>32860</c:v>
                </c:pt>
                <c:pt idx="70">
                  <c:v>32861</c:v>
                </c:pt>
                <c:pt idx="71">
                  <c:v>32862</c:v>
                </c:pt>
                <c:pt idx="72">
                  <c:v>32863</c:v>
                </c:pt>
                <c:pt idx="73">
                  <c:v>32864</c:v>
                </c:pt>
                <c:pt idx="74">
                  <c:v>32868</c:v>
                </c:pt>
                <c:pt idx="75">
                  <c:v>32869</c:v>
                </c:pt>
                <c:pt idx="76">
                  <c:v>32870</c:v>
                </c:pt>
                <c:pt idx="77">
                  <c:v>32871</c:v>
                </c:pt>
                <c:pt idx="78">
                  <c:v>32875</c:v>
                </c:pt>
                <c:pt idx="79">
                  <c:v>32876</c:v>
                </c:pt>
                <c:pt idx="80">
                  <c:v>32877</c:v>
                </c:pt>
                <c:pt idx="81">
                  <c:v>32878</c:v>
                </c:pt>
                <c:pt idx="82">
                  <c:v>32881</c:v>
                </c:pt>
                <c:pt idx="83">
                  <c:v>32882</c:v>
                </c:pt>
                <c:pt idx="84">
                  <c:v>32883</c:v>
                </c:pt>
                <c:pt idx="85">
                  <c:v>32884</c:v>
                </c:pt>
                <c:pt idx="86">
                  <c:v>32885</c:v>
                </c:pt>
                <c:pt idx="87">
                  <c:v>32888</c:v>
                </c:pt>
                <c:pt idx="88">
                  <c:v>32889</c:v>
                </c:pt>
                <c:pt idx="89">
                  <c:v>32890</c:v>
                </c:pt>
                <c:pt idx="90">
                  <c:v>32891</c:v>
                </c:pt>
                <c:pt idx="91">
                  <c:v>32892</c:v>
                </c:pt>
                <c:pt idx="92">
                  <c:v>32895</c:v>
                </c:pt>
                <c:pt idx="93">
                  <c:v>32896</c:v>
                </c:pt>
                <c:pt idx="94">
                  <c:v>32897</c:v>
                </c:pt>
                <c:pt idx="95">
                  <c:v>32898</c:v>
                </c:pt>
                <c:pt idx="96">
                  <c:v>32899</c:v>
                </c:pt>
                <c:pt idx="97">
                  <c:v>32902</c:v>
                </c:pt>
                <c:pt idx="98">
                  <c:v>32903</c:v>
                </c:pt>
                <c:pt idx="99">
                  <c:v>32904</c:v>
                </c:pt>
                <c:pt idx="100">
                  <c:v>32905</c:v>
                </c:pt>
                <c:pt idx="101">
                  <c:v>32906</c:v>
                </c:pt>
                <c:pt idx="102">
                  <c:v>32909</c:v>
                </c:pt>
                <c:pt idx="103">
                  <c:v>32910</c:v>
                </c:pt>
                <c:pt idx="104">
                  <c:v>32911</c:v>
                </c:pt>
                <c:pt idx="105">
                  <c:v>32912</c:v>
                </c:pt>
                <c:pt idx="106">
                  <c:v>32913</c:v>
                </c:pt>
                <c:pt idx="107">
                  <c:v>32916</c:v>
                </c:pt>
                <c:pt idx="108">
                  <c:v>32917</c:v>
                </c:pt>
                <c:pt idx="109">
                  <c:v>32918</c:v>
                </c:pt>
                <c:pt idx="110">
                  <c:v>32919</c:v>
                </c:pt>
                <c:pt idx="111">
                  <c:v>32920</c:v>
                </c:pt>
                <c:pt idx="112">
                  <c:v>32924</c:v>
                </c:pt>
                <c:pt idx="113">
                  <c:v>32925</c:v>
                </c:pt>
                <c:pt idx="114">
                  <c:v>32926</c:v>
                </c:pt>
                <c:pt idx="115">
                  <c:v>32927</c:v>
                </c:pt>
                <c:pt idx="116">
                  <c:v>32930</c:v>
                </c:pt>
                <c:pt idx="117">
                  <c:v>32931</c:v>
                </c:pt>
                <c:pt idx="118">
                  <c:v>32932</c:v>
                </c:pt>
                <c:pt idx="119">
                  <c:v>32933</c:v>
                </c:pt>
                <c:pt idx="120">
                  <c:v>32934</c:v>
                </c:pt>
                <c:pt idx="121">
                  <c:v>32937</c:v>
                </c:pt>
                <c:pt idx="122">
                  <c:v>32938</c:v>
                </c:pt>
                <c:pt idx="123">
                  <c:v>32939</c:v>
                </c:pt>
                <c:pt idx="124">
                  <c:v>32940</c:v>
                </c:pt>
                <c:pt idx="125">
                  <c:v>32941</c:v>
                </c:pt>
                <c:pt idx="126">
                  <c:v>32944</c:v>
                </c:pt>
                <c:pt idx="127">
                  <c:v>32945</c:v>
                </c:pt>
                <c:pt idx="128">
                  <c:v>32946</c:v>
                </c:pt>
                <c:pt idx="129">
                  <c:v>32947</c:v>
                </c:pt>
                <c:pt idx="130">
                  <c:v>32948</c:v>
                </c:pt>
                <c:pt idx="131">
                  <c:v>32951</c:v>
                </c:pt>
                <c:pt idx="132">
                  <c:v>32952</c:v>
                </c:pt>
                <c:pt idx="133">
                  <c:v>32953</c:v>
                </c:pt>
                <c:pt idx="134">
                  <c:v>32954</c:v>
                </c:pt>
                <c:pt idx="135">
                  <c:v>32955</c:v>
                </c:pt>
                <c:pt idx="136">
                  <c:v>32958</c:v>
                </c:pt>
                <c:pt idx="137">
                  <c:v>32959</c:v>
                </c:pt>
                <c:pt idx="138">
                  <c:v>32960</c:v>
                </c:pt>
                <c:pt idx="139">
                  <c:v>32961</c:v>
                </c:pt>
                <c:pt idx="140">
                  <c:v>32962</c:v>
                </c:pt>
                <c:pt idx="141">
                  <c:v>32965</c:v>
                </c:pt>
                <c:pt idx="142">
                  <c:v>32966</c:v>
                </c:pt>
                <c:pt idx="143">
                  <c:v>32967</c:v>
                </c:pt>
                <c:pt idx="144">
                  <c:v>32968</c:v>
                </c:pt>
                <c:pt idx="145">
                  <c:v>32969</c:v>
                </c:pt>
                <c:pt idx="146">
                  <c:v>32972</c:v>
                </c:pt>
                <c:pt idx="147">
                  <c:v>32973</c:v>
                </c:pt>
                <c:pt idx="148">
                  <c:v>32974</c:v>
                </c:pt>
                <c:pt idx="149">
                  <c:v>32975</c:v>
                </c:pt>
                <c:pt idx="150">
                  <c:v>32979</c:v>
                </c:pt>
                <c:pt idx="151">
                  <c:v>32980</c:v>
                </c:pt>
                <c:pt idx="152">
                  <c:v>32981</c:v>
                </c:pt>
                <c:pt idx="153">
                  <c:v>32982</c:v>
                </c:pt>
                <c:pt idx="154">
                  <c:v>32983</c:v>
                </c:pt>
                <c:pt idx="155">
                  <c:v>32986</c:v>
                </c:pt>
                <c:pt idx="156">
                  <c:v>32987</c:v>
                </c:pt>
                <c:pt idx="157">
                  <c:v>32988</c:v>
                </c:pt>
                <c:pt idx="158">
                  <c:v>32989</c:v>
                </c:pt>
                <c:pt idx="159">
                  <c:v>32990</c:v>
                </c:pt>
                <c:pt idx="160">
                  <c:v>32993</c:v>
                </c:pt>
                <c:pt idx="161">
                  <c:v>32994</c:v>
                </c:pt>
                <c:pt idx="162">
                  <c:v>32995</c:v>
                </c:pt>
                <c:pt idx="163">
                  <c:v>32996</c:v>
                </c:pt>
                <c:pt idx="164">
                  <c:v>32997</c:v>
                </c:pt>
                <c:pt idx="165">
                  <c:v>33000</c:v>
                </c:pt>
                <c:pt idx="166">
                  <c:v>33001</c:v>
                </c:pt>
                <c:pt idx="167">
                  <c:v>33002</c:v>
                </c:pt>
                <c:pt idx="168">
                  <c:v>33003</c:v>
                </c:pt>
                <c:pt idx="169">
                  <c:v>33004</c:v>
                </c:pt>
                <c:pt idx="170">
                  <c:v>33007</c:v>
                </c:pt>
                <c:pt idx="171">
                  <c:v>33008</c:v>
                </c:pt>
                <c:pt idx="172">
                  <c:v>33009</c:v>
                </c:pt>
                <c:pt idx="173">
                  <c:v>33010</c:v>
                </c:pt>
                <c:pt idx="174">
                  <c:v>33011</c:v>
                </c:pt>
                <c:pt idx="175">
                  <c:v>33014</c:v>
                </c:pt>
                <c:pt idx="176">
                  <c:v>33015</c:v>
                </c:pt>
                <c:pt idx="177">
                  <c:v>33016</c:v>
                </c:pt>
                <c:pt idx="178">
                  <c:v>33017</c:v>
                </c:pt>
                <c:pt idx="179">
                  <c:v>33018</c:v>
                </c:pt>
                <c:pt idx="180">
                  <c:v>33022</c:v>
                </c:pt>
                <c:pt idx="181">
                  <c:v>33023</c:v>
                </c:pt>
                <c:pt idx="182">
                  <c:v>33024</c:v>
                </c:pt>
                <c:pt idx="183">
                  <c:v>33025</c:v>
                </c:pt>
                <c:pt idx="184">
                  <c:v>33028</c:v>
                </c:pt>
                <c:pt idx="185">
                  <c:v>33029</c:v>
                </c:pt>
                <c:pt idx="186">
                  <c:v>33030</c:v>
                </c:pt>
                <c:pt idx="187">
                  <c:v>33031</c:v>
                </c:pt>
                <c:pt idx="188">
                  <c:v>33032</c:v>
                </c:pt>
                <c:pt idx="189">
                  <c:v>33035</c:v>
                </c:pt>
                <c:pt idx="190">
                  <c:v>33036</c:v>
                </c:pt>
                <c:pt idx="191">
                  <c:v>33037</c:v>
                </c:pt>
                <c:pt idx="192">
                  <c:v>33038</c:v>
                </c:pt>
                <c:pt idx="193">
                  <c:v>33039</c:v>
                </c:pt>
                <c:pt idx="194">
                  <c:v>33042</c:v>
                </c:pt>
                <c:pt idx="195">
                  <c:v>33043</c:v>
                </c:pt>
                <c:pt idx="196">
                  <c:v>33044</c:v>
                </c:pt>
                <c:pt idx="197">
                  <c:v>33045</c:v>
                </c:pt>
                <c:pt idx="198">
                  <c:v>33046</c:v>
                </c:pt>
                <c:pt idx="199">
                  <c:v>33049</c:v>
                </c:pt>
                <c:pt idx="200">
                  <c:v>33050</c:v>
                </c:pt>
                <c:pt idx="201">
                  <c:v>33051</c:v>
                </c:pt>
                <c:pt idx="202">
                  <c:v>33052</c:v>
                </c:pt>
                <c:pt idx="203">
                  <c:v>33053</c:v>
                </c:pt>
                <c:pt idx="204">
                  <c:v>33056</c:v>
                </c:pt>
                <c:pt idx="205">
                  <c:v>33057</c:v>
                </c:pt>
                <c:pt idx="206">
                  <c:v>33059</c:v>
                </c:pt>
                <c:pt idx="207">
                  <c:v>33060</c:v>
                </c:pt>
                <c:pt idx="208">
                  <c:v>33063</c:v>
                </c:pt>
                <c:pt idx="209">
                  <c:v>33064</c:v>
                </c:pt>
                <c:pt idx="210">
                  <c:v>33065</c:v>
                </c:pt>
                <c:pt idx="211">
                  <c:v>33066</c:v>
                </c:pt>
                <c:pt idx="212">
                  <c:v>33067</c:v>
                </c:pt>
                <c:pt idx="213">
                  <c:v>33070</c:v>
                </c:pt>
                <c:pt idx="214">
                  <c:v>33071</c:v>
                </c:pt>
                <c:pt idx="215">
                  <c:v>33072</c:v>
                </c:pt>
                <c:pt idx="216">
                  <c:v>33073</c:v>
                </c:pt>
                <c:pt idx="217">
                  <c:v>33074</c:v>
                </c:pt>
                <c:pt idx="218">
                  <c:v>33077</c:v>
                </c:pt>
                <c:pt idx="219">
                  <c:v>33078</c:v>
                </c:pt>
                <c:pt idx="220">
                  <c:v>33079</c:v>
                </c:pt>
                <c:pt idx="221">
                  <c:v>33080</c:v>
                </c:pt>
                <c:pt idx="222">
                  <c:v>33081</c:v>
                </c:pt>
                <c:pt idx="223">
                  <c:v>33084</c:v>
                </c:pt>
                <c:pt idx="224">
                  <c:v>33085</c:v>
                </c:pt>
                <c:pt idx="225">
                  <c:v>33086</c:v>
                </c:pt>
                <c:pt idx="226">
                  <c:v>33087</c:v>
                </c:pt>
                <c:pt idx="227">
                  <c:v>33088</c:v>
                </c:pt>
                <c:pt idx="228">
                  <c:v>33091</c:v>
                </c:pt>
                <c:pt idx="229">
                  <c:v>33092</c:v>
                </c:pt>
                <c:pt idx="230">
                  <c:v>33093</c:v>
                </c:pt>
                <c:pt idx="231">
                  <c:v>33094</c:v>
                </c:pt>
                <c:pt idx="232">
                  <c:v>33095</c:v>
                </c:pt>
                <c:pt idx="233">
                  <c:v>33098</c:v>
                </c:pt>
                <c:pt idx="234">
                  <c:v>33099</c:v>
                </c:pt>
                <c:pt idx="235">
                  <c:v>33100</c:v>
                </c:pt>
                <c:pt idx="236">
                  <c:v>33101</c:v>
                </c:pt>
                <c:pt idx="237">
                  <c:v>33102</c:v>
                </c:pt>
                <c:pt idx="238">
                  <c:v>33105</c:v>
                </c:pt>
                <c:pt idx="239">
                  <c:v>33106</c:v>
                </c:pt>
                <c:pt idx="240">
                  <c:v>33107</c:v>
                </c:pt>
                <c:pt idx="241">
                  <c:v>33108</c:v>
                </c:pt>
                <c:pt idx="242">
                  <c:v>33109</c:v>
                </c:pt>
                <c:pt idx="243">
                  <c:v>33112</c:v>
                </c:pt>
                <c:pt idx="244">
                  <c:v>33113</c:v>
                </c:pt>
                <c:pt idx="245">
                  <c:v>33114</c:v>
                </c:pt>
                <c:pt idx="246">
                  <c:v>33115</c:v>
                </c:pt>
                <c:pt idx="247">
                  <c:v>33116</c:v>
                </c:pt>
                <c:pt idx="248">
                  <c:v>33120</c:v>
                </c:pt>
                <c:pt idx="249">
                  <c:v>33121</c:v>
                </c:pt>
                <c:pt idx="250">
                  <c:v>33122</c:v>
                </c:pt>
                <c:pt idx="251">
                  <c:v>33123</c:v>
                </c:pt>
                <c:pt idx="252">
                  <c:v>33126</c:v>
                </c:pt>
                <c:pt idx="253">
                  <c:v>33127</c:v>
                </c:pt>
                <c:pt idx="254">
                  <c:v>33128</c:v>
                </c:pt>
                <c:pt idx="255">
                  <c:v>33129</c:v>
                </c:pt>
                <c:pt idx="256">
                  <c:v>33130</c:v>
                </c:pt>
                <c:pt idx="257">
                  <c:v>33133</c:v>
                </c:pt>
                <c:pt idx="258">
                  <c:v>33134</c:v>
                </c:pt>
                <c:pt idx="259">
                  <c:v>33135</c:v>
                </c:pt>
                <c:pt idx="260">
                  <c:v>33136</c:v>
                </c:pt>
                <c:pt idx="261">
                  <c:v>33137</c:v>
                </c:pt>
                <c:pt idx="262">
                  <c:v>33140</c:v>
                </c:pt>
                <c:pt idx="263">
                  <c:v>33141</c:v>
                </c:pt>
                <c:pt idx="264">
                  <c:v>33142</c:v>
                </c:pt>
                <c:pt idx="265">
                  <c:v>33143</c:v>
                </c:pt>
                <c:pt idx="266">
                  <c:v>33144</c:v>
                </c:pt>
                <c:pt idx="267">
                  <c:v>33147</c:v>
                </c:pt>
                <c:pt idx="268">
                  <c:v>33148</c:v>
                </c:pt>
                <c:pt idx="269">
                  <c:v>33149</c:v>
                </c:pt>
                <c:pt idx="270">
                  <c:v>33150</c:v>
                </c:pt>
                <c:pt idx="271">
                  <c:v>33151</c:v>
                </c:pt>
                <c:pt idx="272">
                  <c:v>33154</c:v>
                </c:pt>
                <c:pt idx="273">
                  <c:v>33155</c:v>
                </c:pt>
                <c:pt idx="274">
                  <c:v>33156</c:v>
                </c:pt>
                <c:pt idx="275">
                  <c:v>33157</c:v>
                </c:pt>
                <c:pt idx="276">
                  <c:v>33158</c:v>
                </c:pt>
                <c:pt idx="277">
                  <c:v>33161</c:v>
                </c:pt>
                <c:pt idx="278">
                  <c:v>33162</c:v>
                </c:pt>
                <c:pt idx="279">
                  <c:v>33163</c:v>
                </c:pt>
                <c:pt idx="280">
                  <c:v>33164</c:v>
                </c:pt>
                <c:pt idx="281">
                  <c:v>33165</c:v>
                </c:pt>
                <c:pt idx="282">
                  <c:v>33168</c:v>
                </c:pt>
                <c:pt idx="283">
                  <c:v>33169</c:v>
                </c:pt>
                <c:pt idx="284">
                  <c:v>33170</c:v>
                </c:pt>
                <c:pt idx="285">
                  <c:v>33171</c:v>
                </c:pt>
                <c:pt idx="286">
                  <c:v>33172</c:v>
                </c:pt>
                <c:pt idx="287">
                  <c:v>33175</c:v>
                </c:pt>
                <c:pt idx="288">
                  <c:v>33176</c:v>
                </c:pt>
                <c:pt idx="289">
                  <c:v>33177</c:v>
                </c:pt>
                <c:pt idx="290">
                  <c:v>33178</c:v>
                </c:pt>
                <c:pt idx="291">
                  <c:v>33179</c:v>
                </c:pt>
                <c:pt idx="292">
                  <c:v>33182</c:v>
                </c:pt>
                <c:pt idx="293">
                  <c:v>33183</c:v>
                </c:pt>
                <c:pt idx="294">
                  <c:v>33184</c:v>
                </c:pt>
                <c:pt idx="295">
                  <c:v>33185</c:v>
                </c:pt>
                <c:pt idx="296">
                  <c:v>33186</c:v>
                </c:pt>
                <c:pt idx="297">
                  <c:v>33189</c:v>
                </c:pt>
                <c:pt idx="298">
                  <c:v>33190</c:v>
                </c:pt>
                <c:pt idx="299">
                  <c:v>33191</c:v>
                </c:pt>
                <c:pt idx="300">
                  <c:v>33192</c:v>
                </c:pt>
                <c:pt idx="301">
                  <c:v>33193</c:v>
                </c:pt>
                <c:pt idx="302">
                  <c:v>33196</c:v>
                </c:pt>
                <c:pt idx="303">
                  <c:v>33197</c:v>
                </c:pt>
                <c:pt idx="304">
                  <c:v>33198</c:v>
                </c:pt>
                <c:pt idx="305">
                  <c:v>33200</c:v>
                </c:pt>
                <c:pt idx="306">
                  <c:v>33203</c:v>
                </c:pt>
                <c:pt idx="307">
                  <c:v>33204</c:v>
                </c:pt>
                <c:pt idx="308">
                  <c:v>33205</c:v>
                </c:pt>
                <c:pt idx="309">
                  <c:v>33206</c:v>
                </c:pt>
                <c:pt idx="310">
                  <c:v>33207</c:v>
                </c:pt>
                <c:pt idx="311">
                  <c:v>33210</c:v>
                </c:pt>
                <c:pt idx="312">
                  <c:v>33211</c:v>
                </c:pt>
                <c:pt idx="313">
                  <c:v>33212</c:v>
                </c:pt>
                <c:pt idx="314">
                  <c:v>33213</c:v>
                </c:pt>
                <c:pt idx="315">
                  <c:v>33214</c:v>
                </c:pt>
                <c:pt idx="316">
                  <c:v>33217</c:v>
                </c:pt>
                <c:pt idx="317">
                  <c:v>33218</c:v>
                </c:pt>
                <c:pt idx="318">
                  <c:v>33219</c:v>
                </c:pt>
                <c:pt idx="319">
                  <c:v>33220</c:v>
                </c:pt>
                <c:pt idx="320">
                  <c:v>33221</c:v>
                </c:pt>
                <c:pt idx="321">
                  <c:v>33224</c:v>
                </c:pt>
                <c:pt idx="322">
                  <c:v>33225</c:v>
                </c:pt>
                <c:pt idx="323">
                  <c:v>33226</c:v>
                </c:pt>
                <c:pt idx="324">
                  <c:v>33227</c:v>
                </c:pt>
                <c:pt idx="325">
                  <c:v>33228</c:v>
                </c:pt>
                <c:pt idx="326">
                  <c:v>33231</c:v>
                </c:pt>
                <c:pt idx="327">
                  <c:v>33233</c:v>
                </c:pt>
                <c:pt idx="328">
                  <c:v>33234</c:v>
                </c:pt>
                <c:pt idx="329">
                  <c:v>33235</c:v>
                </c:pt>
                <c:pt idx="330">
                  <c:v>33238</c:v>
                </c:pt>
                <c:pt idx="331">
                  <c:v>33240</c:v>
                </c:pt>
                <c:pt idx="332">
                  <c:v>33241</c:v>
                </c:pt>
                <c:pt idx="333">
                  <c:v>33242</c:v>
                </c:pt>
                <c:pt idx="334">
                  <c:v>33245</c:v>
                </c:pt>
                <c:pt idx="335">
                  <c:v>33246</c:v>
                </c:pt>
                <c:pt idx="336">
                  <c:v>33247</c:v>
                </c:pt>
                <c:pt idx="337">
                  <c:v>33248</c:v>
                </c:pt>
                <c:pt idx="338">
                  <c:v>33249</c:v>
                </c:pt>
                <c:pt idx="339">
                  <c:v>33252</c:v>
                </c:pt>
                <c:pt idx="340">
                  <c:v>33253</c:v>
                </c:pt>
                <c:pt idx="341">
                  <c:v>33254</c:v>
                </c:pt>
                <c:pt idx="342">
                  <c:v>33255</c:v>
                </c:pt>
                <c:pt idx="343">
                  <c:v>33256</c:v>
                </c:pt>
                <c:pt idx="344">
                  <c:v>33259</c:v>
                </c:pt>
                <c:pt idx="345">
                  <c:v>33260</c:v>
                </c:pt>
                <c:pt idx="346">
                  <c:v>33261</c:v>
                </c:pt>
                <c:pt idx="347">
                  <c:v>33262</c:v>
                </c:pt>
                <c:pt idx="348">
                  <c:v>33263</c:v>
                </c:pt>
                <c:pt idx="349">
                  <c:v>33266</c:v>
                </c:pt>
                <c:pt idx="350">
                  <c:v>33267</c:v>
                </c:pt>
                <c:pt idx="351">
                  <c:v>33268</c:v>
                </c:pt>
                <c:pt idx="352">
                  <c:v>33269</c:v>
                </c:pt>
                <c:pt idx="353">
                  <c:v>33270</c:v>
                </c:pt>
                <c:pt idx="354">
                  <c:v>33273</c:v>
                </c:pt>
                <c:pt idx="355">
                  <c:v>33274</c:v>
                </c:pt>
                <c:pt idx="356">
                  <c:v>33275</c:v>
                </c:pt>
                <c:pt idx="357">
                  <c:v>33276</c:v>
                </c:pt>
                <c:pt idx="358">
                  <c:v>33277</c:v>
                </c:pt>
                <c:pt idx="359">
                  <c:v>33280</c:v>
                </c:pt>
                <c:pt idx="360">
                  <c:v>33281</c:v>
                </c:pt>
                <c:pt idx="361">
                  <c:v>33282</c:v>
                </c:pt>
                <c:pt idx="362">
                  <c:v>33283</c:v>
                </c:pt>
                <c:pt idx="363">
                  <c:v>33284</c:v>
                </c:pt>
                <c:pt idx="364">
                  <c:v>33288</c:v>
                </c:pt>
                <c:pt idx="365">
                  <c:v>33289</c:v>
                </c:pt>
                <c:pt idx="366">
                  <c:v>33290</c:v>
                </c:pt>
                <c:pt idx="367">
                  <c:v>33291</c:v>
                </c:pt>
                <c:pt idx="368">
                  <c:v>33294</c:v>
                </c:pt>
                <c:pt idx="369">
                  <c:v>33295</c:v>
                </c:pt>
                <c:pt idx="370">
                  <c:v>33296</c:v>
                </c:pt>
                <c:pt idx="371">
                  <c:v>33297</c:v>
                </c:pt>
                <c:pt idx="372">
                  <c:v>33298</c:v>
                </c:pt>
                <c:pt idx="373">
                  <c:v>33301</c:v>
                </c:pt>
                <c:pt idx="374">
                  <c:v>33302</c:v>
                </c:pt>
                <c:pt idx="375">
                  <c:v>33303</c:v>
                </c:pt>
                <c:pt idx="376">
                  <c:v>33304</c:v>
                </c:pt>
                <c:pt idx="377">
                  <c:v>33305</c:v>
                </c:pt>
                <c:pt idx="378">
                  <c:v>33308</c:v>
                </c:pt>
                <c:pt idx="379">
                  <c:v>33309</c:v>
                </c:pt>
                <c:pt idx="380">
                  <c:v>33310</c:v>
                </c:pt>
                <c:pt idx="381">
                  <c:v>33311</c:v>
                </c:pt>
                <c:pt idx="382">
                  <c:v>33312</c:v>
                </c:pt>
                <c:pt idx="383">
                  <c:v>33315</c:v>
                </c:pt>
                <c:pt idx="384">
                  <c:v>33316</c:v>
                </c:pt>
                <c:pt idx="385">
                  <c:v>33317</c:v>
                </c:pt>
                <c:pt idx="386">
                  <c:v>33318</c:v>
                </c:pt>
                <c:pt idx="387">
                  <c:v>33319</c:v>
                </c:pt>
                <c:pt idx="388">
                  <c:v>33322</c:v>
                </c:pt>
                <c:pt idx="389">
                  <c:v>33323</c:v>
                </c:pt>
                <c:pt idx="390">
                  <c:v>33324</c:v>
                </c:pt>
                <c:pt idx="391">
                  <c:v>33325</c:v>
                </c:pt>
                <c:pt idx="392">
                  <c:v>33329</c:v>
                </c:pt>
                <c:pt idx="393">
                  <c:v>33330</c:v>
                </c:pt>
                <c:pt idx="394">
                  <c:v>33331</c:v>
                </c:pt>
                <c:pt idx="395">
                  <c:v>33332</c:v>
                </c:pt>
                <c:pt idx="396">
                  <c:v>33333</c:v>
                </c:pt>
                <c:pt idx="397">
                  <c:v>33336</c:v>
                </c:pt>
                <c:pt idx="398">
                  <c:v>33337</c:v>
                </c:pt>
                <c:pt idx="399">
                  <c:v>33338</c:v>
                </c:pt>
                <c:pt idx="400">
                  <c:v>33339</c:v>
                </c:pt>
                <c:pt idx="401">
                  <c:v>33340</c:v>
                </c:pt>
                <c:pt idx="402">
                  <c:v>33343</c:v>
                </c:pt>
                <c:pt idx="403">
                  <c:v>33344</c:v>
                </c:pt>
                <c:pt idx="404">
                  <c:v>33345</c:v>
                </c:pt>
                <c:pt idx="405">
                  <c:v>33346</c:v>
                </c:pt>
                <c:pt idx="406">
                  <c:v>33347</c:v>
                </c:pt>
                <c:pt idx="407">
                  <c:v>33350</c:v>
                </c:pt>
                <c:pt idx="408">
                  <c:v>33351</c:v>
                </c:pt>
                <c:pt idx="409">
                  <c:v>33352</c:v>
                </c:pt>
                <c:pt idx="410">
                  <c:v>33353</c:v>
                </c:pt>
                <c:pt idx="411">
                  <c:v>33354</c:v>
                </c:pt>
                <c:pt idx="412">
                  <c:v>33357</c:v>
                </c:pt>
                <c:pt idx="413">
                  <c:v>33358</c:v>
                </c:pt>
                <c:pt idx="414">
                  <c:v>33359</c:v>
                </c:pt>
                <c:pt idx="415">
                  <c:v>33360</c:v>
                </c:pt>
                <c:pt idx="416">
                  <c:v>33361</c:v>
                </c:pt>
                <c:pt idx="417">
                  <c:v>33364</c:v>
                </c:pt>
                <c:pt idx="418">
                  <c:v>33365</c:v>
                </c:pt>
                <c:pt idx="419">
                  <c:v>33366</c:v>
                </c:pt>
                <c:pt idx="420">
                  <c:v>33367</c:v>
                </c:pt>
                <c:pt idx="421">
                  <c:v>33368</c:v>
                </c:pt>
                <c:pt idx="422">
                  <c:v>33371</c:v>
                </c:pt>
                <c:pt idx="423">
                  <c:v>33372</c:v>
                </c:pt>
                <c:pt idx="424">
                  <c:v>33373</c:v>
                </c:pt>
                <c:pt idx="425">
                  <c:v>33374</c:v>
                </c:pt>
                <c:pt idx="426">
                  <c:v>33375</c:v>
                </c:pt>
                <c:pt idx="427">
                  <c:v>33378</c:v>
                </c:pt>
                <c:pt idx="428">
                  <c:v>33379</c:v>
                </c:pt>
                <c:pt idx="429">
                  <c:v>33380</c:v>
                </c:pt>
                <c:pt idx="430">
                  <c:v>33381</c:v>
                </c:pt>
                <c:pt idx="431">
                  <c:v>33382</c:v>
                </c:pt>
                <c:pt idx="432">
                  <c:v>33386</c:v>
                </c:pt>
                <c:pt idx="433">
                  <c:v>33387</c:v>
                </c:pt>
                <c:pt idx="434">
                  <c:v>33388</c:v>
                </c:pt>
                <c:pt idx="435">
                  <c:v>33389</c:v>
                </c:pt>
                <c:pt idx="436">
                  <c:v>33392</c:v>
                </c:pt>
                <c:pt idx="437">
                  <c:v>33393</c:v>
                </c:pt>
                <c:pt idx="438">
                  <c:v>33394</c:v>
                </c:pt>
                <c:pt idx="439">
                  <c:v>33395</c:v>
                </c:pt>
                <c:pt idx="440">
                  <c:v>33396</c:v>
                </c:pt>
                <c:pt idx="441">
                  <c:v>33399</c:v>
                </c:pt>
                <c:pt idx="442">
                  <c:v>33400</c:v>
                </c:pt>
                <c:pt idx="443">
                  <c:v>33401</c:v>
                </c:pt>
                <c:pt idx="444">
                  <c:v>33402</c:v>
                </c:pt>
                <c:pt idx="445">
                  <c:v>33403</c:v>
                </c:pt>
                <c:pt idx="446">
                  <c:v>33406</c:v>
                </c:pt>
                <c:pt idx="447">
                  <c:v>33407</c:v>
                </c:pt>
                <c:pt idx="448">
                  <c:v>33408</c:v>
                </c:pt>
                <c:pt idx="449">
                  <c:v>33409</c:v>
                </c:pt>
                <c:pt idx="450">
                  <c:v>33410</c:v>
                </c:pt>
                <c:pt idx="451">
                  <c:v>33413</c:v>
                </c:pt>
                <c:pt idx="452">
                  <c:v>33414</c:v>
                </c:pt>
                <c:pt idx="453">
                  <c:v>33415</c:v>
                </c:pt>
                <c:pt idx="454">
                  <c:v>33416</c:v>
                </c:pt>
                <c:pt idx="455">
                  <c:v>33417</c:v>
                </c:pt>
                <c:pt idx="456">
                  <c:v>33420</c:v>
                </c:pt>
                <c:pt idx="457">
                  <c:v>33421</c:v>
                </c:pt>
                <c:pt idx="458">
                  <c:v>33422</c:v>
                </c:pt>
                <c:pt idx="459">
                  <c:v>33424</c:v>
                </c:pt>
                <c:pt idx="460">
                  <c:v>33427</c:v>
                </c:pt>
                <c:pt idx="461">
                  <c:v>33428</c:v>
                </c:pt>
                <c:pt idx="462">
                  <c:v>33429</c:v>
                </c:pt>
                <c:pt idx="463">
                  <c:v>33430</c:v>
                </c:pt>
                <c:pt idx="464">
                  <c:v>33431</c:v>
                </c:pt>
                <c:pt idx="465">
                  <c:v>33434</c:v>
                </c:pt>
                <c:pt idx="466">
                  <c:v>33435</c:v>
                </c:pt>
                <c:pt idx="467">
                  <c:v>33436</c:v>
                </c:pt>
                <c:pt idx="468">
                  <c:v>33437</c:v>
                </c:pt>
                <c:pt idx="469">
                  <c:v>33438</c:v>
                </c:pt>
                <c:pt idx="470">
                  <c:v>33441</c:v>
                </c:pt>
                <c:pt idx="471">
                  <c:v>33442</c:v>
                </c:pt>
                <c:pt idx="472">
                  <c:v>33443</c:v>
                </c:pt>
                <c:pt idx="473">
                  <c:v>33444</c:v>
                </c:pt>
                <c:pt idx="474">
                  <c:v>33445</c:v>
                </c:pt>
                <c:pt idx="475">
                  <c:v>33448</c:v>
                </c:pt>
                <c:pt idx="476">
                  <c:v>33449</c:v>
                </c:pt>
                <c:pt idx="477">
                  <c:v>33450</c:v>
                </c:pt>
                <c:pt idx="478">
                  <c:v>33451</c:v>
                </c:pt>
                <c:pt idx="479">
                  <c:v>33452</c:v>
                </c:pt>
                <c:pt idx="480">
                  <c:v>33455</c:v>
                </c:pt>
                <c:pt idx="481">
                  <c:v>33456</c:v>
                </c:pt>
                <c:pt idx="482">
                  <c:v>33457</c:v>
                </c:pt>
                <c:pt idx="483">
                  <c:v>33458</c:v>
                </c:pt>
                <c:pt idx="484">
                  <c:v>33459</c:v>
                </c:pt>
                <c:pt idx="485">
                  <c:v>33462</c:v>
                </c:pt>
                <c:pt idx="486">
                  <c:v>33463</c:v>
                </c:pt>
                <c:pt idx="487">
                  <c:v>33464</c:v>
                </c:pt>
                <c:pt idx="488">
                  <c:v>33465</c:v>
                </c:pt>
                <c:pt idx="489">
                  <c:v>33466</c:v>
                </c:pt>
                <c:pt idx="490">
                  <c:v>33469</c:v>
                </c:pt>
                <c:pt idx="491">
                  <c:v>33470</c:v>
                </c:pt>
                <c:pt idx="492">
                  <c:v>33471</c:v>
                </c:pt>
                <c:pt idx="493">
                  <c:v>33472</c:v>
                </c:pt>
                <c:pt idx="494">
                  <c:v>33473</c:v>
                </c:pt>
                <c:pt idx="495">
                  <c:v>33476</c:v>
                </c:pt>
                <c:pt idx="496">
                  <c:v>33477</c:v>
                </c:pt>
                <c:pt idx="497">
                  <c:v>33478</c:v>
                </c:pt>
                <c:pt idx="498">
                  <c:v>33479</c:v>
                </c:pt>
                <c:pt idx="499">
                  <c:v>33480</c:v>
                </c:pt>
                <c:pt idx="500">
                  <c:v>33484</c:v>
                </c:pt>
                <c:pt idx="501">
                  <c:v>33485</c:v>
                </c:pt>
                <c:pt idx="502">
                  <c:v>33486</c:v>
                </c:pt>
                <c:pt idx="503">
                  <c:v>33487</c:v>
                </c:pt>
                <c:pt idx="504">
                  <c:v>33490</c:v>
                </c:pt>
                <c:pt idx="505">
                  <c:v>33491</c:v>
                </c:pt>
                <c:pt idx="506">
                  <c:v>33492</c:v>
                </c:pt>
                <c:pt idx="507">
                  <c:v>33493</c:v>
                </c:pt>
                <c:pt idx="508">
                  <c:v>33494</c:v>
                </c:pt>
                <c:pt idx="509">
                  <c:v>33497</c:v>
                </c:pt>
                <c:pt idx="510">
                  <c:v>33498</c:v>
                </c:pt>
                <c:pt idx="511">
                  <c:v>33499</c:v>
                </c:pt>
                <c:pt idx="512">
                  <c:v>33500</c:v>
                </c:pt>
                <c:pt idx="513">
                  <c:v>33501</c:v>
                </c:pt>
                <c:pt idx="514">
                  <c:v>33504</c:v>
                </c:pt>
                <c:pt idx="515">
                  <c:v>33505</c:v>
                </c:pt>
                <c:pt idx="516">
                  <c:v>33506</c:v>
                </c:pt>
                <c:pt idx="517">
                  <c:v>33507</c:v>
                </c:pt>
                <c:pt idx="518">
                  <c:v>33508</c:v>
                </c:pt>
                <c:pt idx="519">
                  <c:v>33511</c:v>
                </c:pt>
                <c:pt idx="520">
                  <c:v>33512</c:v>
                </c:pt>
                <c:pt idx="521">
                  <c:v>33513</c:v>
                </c:pt>
                <c:pt idx="522">
                  <c:v>33514</c:v>
                </c:pt>
                <c:pt idx="523">
                  <c:v>33515</c:v>
                </c:pt>
                <c:pt idx="524">
                  <c:v>33518</c:v>
                </c:pt>
                <c:pt idx="525">
                  <c:v>33519</c:v>
                </c:pt>
                <c:pt idx="526">
                  <c:v>33520</c:v>
                </c:pt>
                <c:pt idx="527">
                  <c:v>33521</c:v>
                </c:pt>
                <c:pt idx="528">
                  <c:v>33522</c:v>
                </c:pt>
                <c:pt idx="529">
                  <c:v>33525</c:v>
                </c:pt>
                <c:pt idx="530">
                  <c:v>33526</c:v>
                </c:pt>
                <c:pt idx="531">
                  <c:v>33527</c:v>
                </c:pt>
                <c:pt idx="532">
                  <c:v>33528</c:v>
                </c:pt>
                <c:pt idx="533">
                  <c:v>33529</c:v>
                </c:pt>
                <c:pt idx="534">
                  <c:v>33532</c:v>
                </c:pt>
                <c:pt idx="535">
                  <c:v>33533</c:v>
                </c:pt>
                <c:pt idx="536">
                  <c:v>33534</c:v>
                </c:pt>
                <c:pt idx="537">
                  <c:v>33535</c:v>
                </c:pt>
                <c:pt idx="538">
                  <c:v>33536</c:v>
                </c:pt>
                <c:pt idx="539">
                  <c:v>33539</c:v>
                </c:pt>
                <c:pt idx="540">
                  <c:v>33540</c:v>
                </c:pt>
                <c:pt idx="541">
                  <c:v>33541</c:v>
                </c:pt>
                <c:pt idx="542">
                  <c:v>33542</c:v>
                </c:pt>
                <c:pt idx="543">
                  <c:v>33543</c:v>
                </c:pt>
                <c:pt idx="544">
                  <c:v>33546</c:v>
                </c:pt>
                <c:pt idx="545">
                  <c:v>33547</c:v>
                </c:pt>
                <c:pt idx="546">
                  <c:v>33548</c:v>
                </c:pt>
                <c:pt idx="547">
                  <c:v>33549</c:v>
                </c:pt>
                <c:pt idx="548">
                  <c:v>33550</c:v>
                </c:pt>
                <c:pt idx="549">
                  <c:v>33553</c:v>
                </c:pt>
                <c:pt idx="550">
                  <c:v>33554</c:v>
                </c:pt>
                <c:pt idx="551">
                  <c:v>33555</c:v>
                </c:pt>
                <c:pt idx="552">
                  <c:v>33556</c:v>
                </c:pt>
                <c:pt idx="553">
                  <c:v>33557</c:v>
                </c:pt>
                <c:pt idx="554">
                  <c:v>33560</c:v>
                </c:pt>
                <c:pt idx="555">
                  <c:v>33561</c:v>
                </c:pt>
                <c:pt idx="556">
                  <c:v>33562</c:v>
                </c:pt>
                <c:pt idx="557">
                  <c:v>33563</c:v>
                </c:pt>
                <c:pt idx="558">
                  <c:v>33564</c:v>
                </c:pt>
                <c:pt idx="559">
                  <c:v>33567</c:v>
                </c:pt>
                <c:pt idx="560">
                  <c:v>33568</c:v>
                </c:pt>
                <c:pt idx="561">
                  <c:v>33569</c:v>
                </c:pt>
                <c:pt idx="562">
                  <c:v>33571</c:v>
                </c:pt>
                <c:pt idx="563">
                  <c:v>33574</c:v>
                </c:pt>
                <c:pt idx="564">
                  <c:v>33575</c:v>
                </c:pt>
                <c:pt idx="565">
                  <c:v>33576</c:v>
                </c:pt>
                <c:pt idx="566">
                  <c:v>33577</c:v>
                </c:pt>
                <c:pt idx="567">
                  <c:v>33578</c:v>
                </c:pt>
                <c:pt idx="568">
                  <c:v>33581</c:v>
                </c:pt>
                <c:pt idx="569">
                  <c:v>33582</c:v>
                </c:pt>
                <c:pt idx="570">
                  <c:v>33583</c:v>
                </c:pt>
                <c:pt idx="571">
                  <c:v>33584</c:v>
                </c:pt>
                <c:pt idx="572">
                  <c:v>33585</c:v>
                </c:pt>
                <c:pt idx="573">
                  <c:v>33588</c:v>
                </c:pt>
                <c:pt idx="574">
                  <c:v>33589</c:v>
                </c:pt>
                <c:pt idx="575">
                  <c:v>33590</c:v>
                </c:pt>
                <c:pt idx="576">
                  <c:v>33591</c:v>
                </c:pt>
                <c:pt idx="577">
                  <c:v>33592</c:v>
                </c:pt>
                <c:pt idx="578">
                  <c:v>33595</c:v>
                </c:pt>
                <c:pt idx="579">
                  <c:v>33596</c:v>
                </c:pt>
                <c:pt idx="580">
                  <c:v>33598</c:v>
                </c:pt>
                <c:pt idx="581">
                  <c:v>33599</c:v>
                </c:pt>
                <c:pt idx="582">
                  <c:v>33602</c:v>
                </c:pt>
                <c:pt idx="583">
                  <c:v>33603</c:v>
                </c:pt>
                <c:pt idx="584">
                  <c:v>33605</c:v>
                </c:pt>
                <c:pt idx="585">
                  <c:v>33606</c:v>
                </c:pt>
                <c:pt idx="586">
                  <c:v>33609</c:v>
                </c:pt>
                <c:pt idx="587">
                  <c:v>33610</c:v>
                </c:pt>
                <c:pt idx="588">
                  <c:v>33611</c:v>
                </c:pt>
                <c:pt idx="589">
                  <c:v>33612</c:v>
                </c:pt>
                <c:pt idx="590">
                  <c:v>33613</c:v>
                </c:pt>
                <c:pt idx="591">
                  <c:v>33616</c:v>
                </c:pt>
                <c:pt idx="592">
                  <c:v>33617</c:v>
                </c:pt>
                <c:pt idx="593">
                  <c:v>33618</c:v>
                </c:pt>
                <c:pt idx="594">
                  <c:v>33619</c:v>
                </c:pt>
                <c:pt idx="595">
                  <c:v>33620</c:v>
                </c:pt>
                <c:pt idx="596">
                  <c:v>33623</c:v>
                </c:pt>
                <c:pt idx="597">
                  <c:v>33624</c:v>
                </c:pt>
                <c:pt idx="598">
                  <c:v>33625</c:v>
                </c:pt>
                <c:pt idx="599">
                  <c:v>33626</c:v>
                </c:pt>
                <c:pt idx="600">
                  <c:v>33627</c:v>
                </c:pt>
                <c:pt idx="601">
                  <c:v>33630</c:v>
                </c:pt>
                <c:pt idx="602">
                  <c:v>33631</c:v>
                </c:pt>
                <c:pt idx="603">
                  <c:v>33632</c:v>
                </c:pt>
                <c:pt idx="604">
                  <c:v>33633</c:v>
                </c:pt>
                <c:pt idx="605">
                  <c:v>33634</c:v>
                </c:pt>
                <c:pt idx="606">
                  <c:v>33637</c:v>
                </c:pt>
                <c:pt idx="607">
                  <c:v>33638</c:v>
                </c:pt>
                <c:pt idx="608">
                  <c:v>33639</c:v>
                </c:pt>
                <c:pt idx="609">
                  <c:v>33640</c:v>
                </c:pt>
                <c:pt idx="610">
                  <c:v>33641</c:v>
                </c:pt>
                <c:pt idx="611">
                  <c:v>33644</c:v>
                </c:pt>
                <c:pt idx="612">
                  <c:v>33645</c:v>
                </c:pt>
                <c:pt idx="613">
                  <c:v>33646</c:v>
                </c:pt>
                <c:pt idx="614">
                  <c:v>33647</c:v>
                </c:pt>
                <c:pt idx="615">
                  <c:v>33648</c:v>
                </c:pt>
                <c:pt idx="616">
                  <c:v>33652</c:v>
                </c:pt>
                <c:pt idx="617">
                  <c:v>33653</c:v>
                </c:pt>
                <c:pt idx="618">
                  <c:v>33654</c:v>
                </c:pt>
                <c:pt idx="619">
                  <c:v>33655</c:v>
                </c:pt>
                <c:pt idx="620">
                  <c:v>33658</c:v>
                </c:pt>
                <c:pt idx="621">
                  <c:v>33659</c:v>
                </c:pt>
                <c:pt idx="622">
                  <c:v>33660</c:v>
                </c:pt>
                <c:pt idx="623">
                  <c:v>33661</c:v>
                </c:pt>
                <c:pt idx="624">
                  <c:v>33662</c:v>
                </c:pt>
                <c:pt idx="625">
                  <c:v>33665</c:v>
                </c:pt>
                <c:pt idx="626">
                  <c:v>33666</c:v>
                </c:pt>
                <c:pt idx="627">
                  <c:v>33667</c:v>
                </c:pt>
                <c:pt idx="628">
                  <c:v>33668</c:v>
                </c:pt>
                <c:pt idx="629">
                  <c:v>33669</c:v>
                </c:pt>
                <c:pt idx="630">
                  <c:v>33672</c:v>
                </c:pt>
                <c:pt idx="631">
                  <c:v>33673</c:v>
                </c:pt>
                <c:pt idx="632">
                  <c:v>33674</c:v>
                </c:pt>
                <c:pt idx="633">
                  <c:v>33675</c:v>
                </c:pt>
                <c:pt idx="634">
                  <c:v>33676</c:v>
                </c:pt>
                <c:pt idx="635">
                  <c:v>33679</c:v>
                </c:pt>
                <c:pt idx="636">
                  <c:v>33680</c:v>
                </c:pt>
                <c:pt idx="637">
                  <c:v>33681</c:v>
                </c:pt>
                <c:pt idx="638">
                  <c:v>33682</c:v>
                </c:pt>
                <c:pt idx="639">
                  <c:v>33683</c:v>
                </c:pt>
                <c:pt idx="640">
                  <c:v>33686</c:v>
                </c:pt>
                <c:pt idx="641">
                  <c:v>33687</c:v>
                </c:pt>
                <c:pt idx="642">
                  <c:v>33688</c:v>
                </c:pt>
                <c:pt idx="643">
                  <c:v>33689</c:v>
                </c:pt>
                <c:pt idx="644">
                  <c:v>33690</c:v>
                </c:pt>
                <c:pt idx="645">
                  <c:v>33693</c:v>
                </c:pt>
                <c:pt idx="646">
                  <c:v>33694</c:v>
                </c:pt>
                <c:pt idx="647">
                  <c:v>33695</c:v>
                </c:pt>
                <c:pt idx="648">
                  <c:v>33696</c:v>
                </c:pt>
                <c:pt idx="649">
                  <c:v>33697</c:v>
                </c:pt>
                <c:pt idx="650">
                  <c:v>33700</c:v>
                </c:pt>
                <c:pt idx="651">
                  <c:v>33701</c:v>
                </c:pt>
                <c:pt idx="652">
                  <c:v>33702</c:v>
                </c:pt>
                <c:pt idx="653">
                  <c:v>33703</c:v>
                </c:pt>
                <c:pt idx="654">
                  <c:v>33704</c:v>
                </c:pt>
                <c:pt idx="655">
                  <c:v>33707</c:v>
                </c:pt>
                <c:pt idx="656">
                  <c:v>33708</c:v>
                </c:pt>
                <c:pt idx="657">
                  <c:v>33709</c:v>
                </c:pt>
                <c:pt idx="658">
                  <c:v>33710</c:v>
                </c:pt>
                <c:pt idx="659">
                  <c:v>33714</c:v>
                </c:pt>
                <c:pt idx="660">
                  <c:v>33715</c:v>
                </c:pt>
                <c:pt idx="661">
                  <c:v>33716</c:v>
                </c:pt>
                <c:pt idx="662">
                  <c:v>33717</c:v>
                </c:pt>
                <c:pt idx="663">
                  <c:v>33718</c:v>
                </c:pt>
                <c:pt idx="664">
                  <c:v>33721</c:v>
                </c:pt>
                <c:pt idx="665">
                  <c:v>33722</c:v>
                </c:pt>
                <c:pt idx="666">
                  <c:v>33723</c:v>
                </c:pt>
                <c:pt idx="667">
                  <c:v>33724</c:v>
                </c:pt>
                <c:pt idx="668">
                  <c:v>33725</c:v>
                </c:pt>
                <c:pt idx="669">
                  <c:v>33728</c:v>
                </c:pt>
                <c:pt idx="670">
                  <c:v>33729</c:v>
                </c:pt>
                <c:pt idx="671">
                  <c:v>33730</c:v>
                </c:pt>
                <c:pt idx="672">
                  <c:v>33731</c:v>
                </c:pt>
                <c:pt idx="673">
                  <c:v>33732</c:v>
                </c:pt>
                <c:pt idx="674">
                  <c:v>33735</c:v>
                </c:pt>
                <c:pt idx="675">
                  <c:v>33736</c:v>
                </c:pt>
                <c:pt idx="676">
                  <c:v>33737</c:v>
                </c:pt>
                <c:pt idx="677">
                  <c:v>33738</c:v>
                </c:pt>
                <c:pt idx="678">
                  <c:v>33739</c:v>
                </c:pt>
                <c:pt idx="679">
                  <c:v>33742</c:v>
                </c:pt>
                <c:pt idx="680">
                  <c:v>33743</c:v>
                </c:pt>
                <c:pt idx="681">
                  <c:v>33744</c:v>
                </c:pt>
                <c:pt idx="682">
                  <c:v>33745</c:v>
                </c:pt>
                <c:pt idx="683">
                  <c:v>33746</c:v>
                </c:pt>
                <c:pt idx="684">
                  <c:v>33750</c:v>
                </c:pt>
                <c:pt idx="685">
                  <c:v>33751</c:v>
                </c:pt>
                <c:pt idx="686">
                  <c:v>33752</c:v>
                </c:pt>
                <c:pt idx="687">
                  <c:v>33753</c:v>
                </c:pt>
                <c:pt idx="688">
                  <c:v>33756</c:v>
                </c:pt>
                <c:pt idx="689">
                  <c:v>33757</c:v>
                </c:pt>
                <c:pt idx="690">
                  <c:v>33758</c:v>
                </c:pt>
                <c:pt idx="691">
                  <c:v>33759</c:v>
                </c:pt>
                <c:pt idx="692">
                  <c:v>33760</c:v>
                </c:pt>
                <c:pt idx="693">
                  <c:v>33763</c:v>
                </c:pt>
                <c:pt idx="694">
                  <c:v>33764</c:v>
                </c:pt>
                <c:pt idx="695">
                  <c:v>33765</c:v>
                </c:pt>
                <c:pt idx="696">
                  <c:v>33766</c:v>
                </c:pt>
                <c:pt idx="697">
                  <c:v>33767</c:v>
                </c:pt>
                <c:pt idx="698">
                  <c:v>33770</c:v>
                </c:pt>
                <c:pt idx="699">
                  <c:v>33771</c:v>
                </c:pt>
                <c:pt idx="700">
                  <c:v>33772</c:v>
                </c:pt>
                <c:pt idx="701">
                  <c:v>33773</c:v>
                </c:pt>
                <c:pt idx="702">
                  <c:v>33774</c:v>
                </c:pt>
                <c:pt idx="703">
                  <c:v>33777</c:v>
                </c:pt>
                <c:pt idx="704">
                  <c:v>33778</c:v>
                </c:pt>
                <c:pt idx="705">
                  <c:v>33779</c:v>
                </c:pt>
                <c:pt idx="706">
                  <c:v>33780</c:v>
                </c:pt>
                <c:pt idx="707">
                  <c:v>33781</c:v>
                </c:pt>
                <c:pt idx="708">
                  <c:v>33784</c:v>
                </c:pt>
                <c:pt idx="709">
                  <c:v>33785</c:v>
                </c:pt>
                <c:pt idx="710">
                  <c:v>33786</c:v>
                </c:pt>
                <c:pt idx="711">
                  <c:v>33787</c:v>
                </c:pt>
                <c:pt idx="712">
                  <c:v>33791</c:v>
                </c:pt>
                <c:pt idx="713">
                  <c:v>33792</c:v>
                </c:pt>
                <c:pt idx="714">
                  <c:v>33793</c:v>
                </c:pt>
                <c:pt idx="715">
                  <c:v>33794</c:v>
                </c:pt>
                <c:pt idx="716">
                  <c:v>33795</c:v>
                </c:pt>
                <c:pt idx="717">
                  <c:v>33798</c:v>
                </c:pt>
                <c:pt idx="718">
                  <c:v>33799</c:v>
                </c:pt>
                <c:pt idx="719">
                  <c:v>33800</c:v>
                </c:pt>
                <c:pt idx="720">
                  <c:v>33801</c:v>
                </c:pt>
                <c:pt idx="721">
                  <c:v>33802</c:v>
                </c:pt>
                <c:pt idx="722">
                  <c:v>33805</c:v>
                </c:pt>
                <c:pt idx="723">
                  <c:v>33806</c:v>
                </c:pt>
                <c:pt idx="724">
                  <c:v>33807</c:v>
                </c:pt>
                <c:pt idx="725">
                  <c:v>33808</c:v>
                </c:pt>
                <c:pt idx="726">
                  <c:v>33809</c:v>
                </c:pt>
                <c:pt idx="727">
                  <c:v>33812</c:v>
                </c:pt>
                <c:pt idx="728">
                  <c:v>33813</c:v>
                </c:pt>
                <c:pt idx="729">
                  <c:v>33814</c:v>
                </c:pt>
                <c:pt idx="730">
                  <c:v>33815</c:v>
                </c:pt>
                <c:pt idx="731">
                  <c:v>33816</c:v>
                </c:pt>
                <c:pt idx="732">
                  <c:v>33819</c:v>
                </c:pt>
                <c:pt idx="733">
                  <c:v>33820</c:v>
                </c:pt>
                <c:pt idx="734">
                  <c:v>33821</c:v>
                </c:pt>
                <c:pt idx="735">
                  <c:v>33822</c:v>
                </c:pt>
                <c:pt idx="736">
                  <c:v>33823</c:v>
                </c:pt>
                <c:pt idx="737">
                  <c:v>33826</c:v>
                </c:pt>
                <c:pt idx="738">
                  <c:v>33827</c:v>
                </c:pt>
                <c:pt idx="739">
                  <c:v>33828</c:v>
                </c:pt>
                <c:pt idx="740">
                  <c:v>33829</c:v>
                </c:pt>
                <c:pt idx="741">
                  <c:v>33830</c:v>
                </c:pt>
                <c:pt idx="742">
                  <c:v>33833</c:v>
                </c:pt>
                <c:pt idx="743">
                  <c:v>33834</c:v>
                </c:pt>
                <c:pt idx="744">
                  <c:v>33835</c:v>
                </c:pt>
                <c:pt idx="745">
                  <c:v>33836</c:v>
                </c:pt>
                <c:pt idx="746">
                  <c:v>33837</c:v>
                </c:pt>
                <c:pt idx="747">
                  <c:v>33840</c:v>
                </c:pt>
                <c:pt idx="748">
                  <c:v>33841</c:v>
                </c:pt>
                <c:pt idx="749">
                  <c:v>33842</c:v>
                </c:pt>
                <c:pt idx="750">
                  <c:v>33843</c:v>
                </c:pt>
                <c:pt idx="751">
                  <c:v>33844</c:v>
                </c:pt>
                <c:pt idx="752">
                  <c:v>33847</c:v>
                </c:pt>
                <c:pt idx="753">
                  <c:v>33848</c:v>
                </c:pt>
                <c:pt idx="754">
                  <c:v>33849</c:v>
                </c:pt>
                <c:pt idx="755">
                  <c:v>33850</c:v>
                </c:pt>
                <c:pt idx="756">
                  <c:v>33851</c:v>
                </c:pt>
                <c:pt idx="757">
                  <c:v>33855</c:v>
                </c:pt>
                <c:pt idx="758">
                  <c:v>33856</c:v>
                </c:pt>
                <c:pt idx="759">
                  <c:v>33857</c:v>
                </c:pt>
                <c:pt idx="760">
                  <c:v>33858</c:v>
                </c:pt>
                <c:pt idx="761">
                  <c:v>33861</c:v>
                </c:pt>
                <c:pt idx="762">
                  <c:v>33862</c:v>
                </c:pt>
                <c:pt idx="763">
                  <c:v>33863</c:v>
                </c:pt>
                <c:pt idx="764">
                  <c:v>33864</c:v>
                </c:pt>
                <c:pt idx="765">
                  <c:v>33865</c:v>
                </c:pt>
                <c:pt idx="766">
                  <c:v>33868</c:v>
                </c:pt>
                <c:pt idx="767">
                  <c:v>33869</c:v>
                </c:pt>
                <c:pt idx="768">
                  <c:v>33870</c:v>
                </c:pt>
                <c:pt idx="769">
                  <c:v>33871</c:v>
                </c:pt>
                <c:pt idx="770">
                  <c:v>33872</c:v>
                </c:pt>
                <c:pt idx="771">
                  <c:v>33875</c:v>
                </c:pt>
                <c:pt idx="772">
                  <c:v>33876</c:v>
                </c:pt>
                <c:pt idx="773">
                  <c:v>33877</c:v>
                </c:pt>
                <c:pt idx="774">
                  <c:v>33878</c:v>
                </c:pt>
                <c:pt idx="775">
                  <c:v>33879</c:v>
                </c:pt>
                <c:pt idx="776">
                  <c:v>33882</c:v>
                </c:pt>
                <c:pt idx="777">
                  <c:v>33883</c:v>
                </c:pt>
                <c:pt idx="778">
                  <c:v>33884</c:v>
                </c:pt>
                <c:pt idx="779">
                  <c:v>33885</c:v>
                </c:pt>
                <c:pt idx="780">
                  <c:v>33886</c:v>
                </c:pt>
                <c:pt idx="781">
                  <c:v>33889</c:v>
                </c:pt>
                <c:pt idx="782">
                  <c:v>33890</c:v>
                </c:pt>
                <c:pt idx="783">
                  <c:v>33891</c:v>
                </c:pt>
                <c:pt idx="784">
                  <c:v>33892</c:v>
                </c:pt>
                <c:pt idx="785">
                  <c:v>33893</c:v>
                </c:pt>
                <c:pt idx="786">
                  <c:v>33896</c:v>
                </c:pt>
                <c:pt idx="787">
                  <c:v>33897</c:v>
                </c:pt>
                <c:pt idx="788">
                  <c:v>33898</c:v>
                </c:pt>
                <c:pt idx="789">
                  <c:v>33899</c:v>
                </c:pt>
                <c:pt idx="790">
                  <c:v>33900</c:v>
                </c:pt>
                <c:pt idx="791">
                  <c:v>33903</c:v>
                </c:pt>
                <c:pt idx="792">
                  <c:v>33904</c:v>
                </c:pt>
                <c:pt idx="793">
                  <c:v>33905</c:v>
                </c:pt>
                <c:pt idx="794">
                  <c:v>33906</c:v>
                </c:pt>
                <c:pt idx="795">
                  <c:v>33907</c:v>
                </c:pt>
                <c:pt idx="796">
                  <c:v>33910</c:v>
                </c:pt>
                <c:pt idx="797">
                  <c:v>33911</c:v>
                </c:pt>
                <c:pt idx="798">
                  <c:v>33912</c:v>
                </c:pt>
                <c:pt idx="799">
                  <c:v>33913</c:v>
                </c:pt>
                <c:pt idx="800">
                  <c:v>33914</c:v>
                </c:pt>
                <c:pt idx="801">
                  <c:v>33917</c:v>
                </c:pt>
                <c:pt idx="802">
                  <c:v>33918</c:v>
                </c:pt>
                <c:pt idx="803">
                  <c:v>33919</c:v>
                </c:pt>
                <c:pt idx="804">
                  <c:v>33920</c:v>
                </c:pt>
                <c:pt idx="805">
                  <c:v>33921</c:v>
                </c:pt>
                <c:pt idx="806">
                  <c:v>33924</c:v>
                </c:pt>
                <c:pt idx="807">
                  <c:v>33925</c:v>
                </c:pt>
                <c:pt idx="808">
                  <c:v>33926</c:v>
                </c:pt>
                <c:pt idx="809">
                  <c:v>33927</c:v>
                </c:pt>
                <c:pt idx="810">
                  <c:v>33928</c:v>
                </c:pt>
                <c:pt idx="811">
                  <c:v>33931</c:v>
                </c:pt>
                <c:pt idx="812">
                  <c:v>33932</c:v>
                </c:pt>
                <c:pt idx="813">
                  <c:v>33933</c:v>
                </c:pt>
                <c:pt idx="814">
                  <c:v>33935</c:v>
                </c:pt>
                <c:pt idx="815">
                  <c:v>33938</c:v>
                </c:pt>
                <c:pt idx="816">
                  <c:v>33939</c:v>
                </c:pt>
                <c:pt idx="817">
                  <c:v>33940</c:v>
                </c:pt>
                <c:pt idx="818">
                  <c:v>33941</c:v>
                </c:pt>
                <c:pt idx="819">
                  <c:v>33942</c:v>
                </c:pt>
                <c:pt idx="820">
                  <c:v>33945</c:v>
                </c:pt>
                <c:pt idx="821">
                  <c:v>33946</c:v>
                </c:pt>
                <c:pt idx="822">
                  <c:v>33947</c:v>
                </c:pt>
                <c:pt idx="823">
                  <c:v>33948</c:v>
                </c:pt>
                <c:pt idx="824">
                  <c:v>33949</c:v>
                </c:pt>
                <c:pt idx="825">
                  <c:v>33952</c:v>
                </c:pt>
                <c:pt idx="826">
                  <c:v>33953</c:v>
                </c:pt>
                <c:pt idx="827">
                  <c:v>33954</c:v>
                </c:pt>
                <c:pt idx="828">
                  <c:v>33955</c:v>
                </c:pt>
                <c:pt idx="829">
                  <c:v>33956</c:v>
                </c:pt>
                <c:pt idx="830">
                  <c:v>33959</c:v>
                </c:pt>
                <c:pt idx="831">
                  <c:v>33960</c:v>
                </c:pt>
                <c:pt idx="832">
                  <c:v>33961</c:v>
                </c:pt>
                <c:pt idx="833">
                  <c:v>33962</c:v>
                </c:pt>
                <c:pt idx="834">
                  <c:v>33966</c:v>
                </c:pt>
                <c:pt idx="835">
                  <c:v>33967</c:v>
                </c:pt>
                <c:pt idx="836">
                  <c:v>33968</c:v>
                </c:pt>
                <c:pt idx="837">
                  <c:v>33969</c:v>
                </c:pt>
                <c:pt idx="838">
                  <c:v>33973</c:v>
                </c:pt>
                <c:pt idx="839">
                  <c:v>33974</c:v>
                </c:pt>
                <c:pt idx="840">
                  <c:v>33975</c:v>
                </c:pt>
                <c:pt idx="841">
                  <c:v>33976</c:v>
                </c:pt>
                <c:pt idx="842">
                  <c:v>33977</c:v>
                </c:pt>
                <c:pt idx="843">
                  <c:v>33980</c:v>
                </c:pt>
                <c:pt idx="844">
                  <c:v>33981</c:v>
                </c:pt>
                <c:pt idx="845">
                  <c:v>33982</c:v>
                </c:pt>
                <c:pt idx="846">
                  <c:v>33983</c:v>
                </c:pt>
                <c:pt idx="847">
                  <c:v>33984</c:v>
                </c:pt>
                <c:pt idx="848">
                  <c:v>33987</c:v>
                </c:pt>
                <c:pt idx="849">
                  <c:v>33988</c:v>
                </c:pt>
                <c:pt idx="850">
                  <c:v>33989</c:v>
                </c:pt>
                <c:pt idx="851">
                  <c:v>33990</c:v>
                </c:pt>
                <c:pt idx="852">
                  <c:v>33991</c:v>
                </c:pt>
                <c:pt idx="853">
                  <c:v>33994</c:v>
                </c:pt>
                <c:pt idx="854">
                  <c:v>33995</c:v>
                </c:pt>
                <c:pt idx="855">
                  <c:v>33996</c:v>
                </c:pt>
                <c:pt idx="856">
                  <c:v>33997</c:v>
                </c:pt>
                <c:pt idx="857">
                  <c:v>33998</c:v>
                </c:pt>
                <c:pt idx="858">
                  <c:v>34001</c:v>
                </c:pt>
                <c:pt idx="859">
                  <c:v>34002</c:v>
                </c:pt>
                <c:pt idx="860">
                  <c:v>34003</c:v>
                </c:pt>
                <c:pt idx="861">
                  <c:v>34004</c:v>
                </c:pt>
                <c:pt idx="862">
                  <c:v>34005</c:v>
                </c:pt>
                <c:pt idx="863">
                  <c:v>34008</c:v>
                </c:pt>
                <c:pt idx="864">
                  <c:v>34009</c:v>
                </c:pt>
                <c:pt idx="865">
                  <c:v>34010</c:v>
                </c:pt>
                <c:pt idx="866">
                  <c:v>34011</c:v>
                </c:pt>
                <c:pt idx="867">
                  <c:v>34012</c:v>
                </c:pt>
                <c:pt idx="868">
                  <c:v>34016</c:v>
                </c:pt>
                <c:pt idx="869">
                  <c:v>34017</c:v>
                </c:pt>
                <c:pt idx="870">
                  <c:v>34018</c:v>
                </c:pt>
                <c:pt idx="871">
                  <c:v>34019</c:v>
                </c:pt>
                <c:pt idx="872">
                  <c:v>34022</c:v>
                </c:pt>
                <c:pt idx="873">
                  <c:v>34023</c:v>
                </c:pt>
                <c:pt idx="874">
                  <c:v>34024</c:v>
                </c:pt>
                <c:pt idx="875">
                  <c:v>34025</c:v>
                </c:pt>
                <c:pt idx="876">
                  <c:v>34026</c:v>
                </c:pt>
                <c:pt idx="877">
                  <c:v>34029</c:v>
                </c:pt>
                <c:pt idx="878">
                  <c:v>34030</c:v>
                </c:pt>
                <c:pt idx="879">
                  <c:v>34031</c:v>
                </c:pt>
                <c:pt idx="880">
                  <c:v>34032</c:v>
                </c:pt>
                <c:pt idx="881">
                  <c:v>34033</c:v>
                </c:pt>
                <c:pt idx="882">
                  <c:v>34036</c:v>
                </c:pt>
                <c:pt idx="883">
                  <c:v>34037</c:v>
                </c:pt>
                <c:pt idx="884">
                  <c:v>34038</c:v>
                </c:pt>
                <c:pt idx="885">
                  <c:v>34039</c:v>
                </c:pt>
                <c:pt idx="886">
                  <c:v>34040</c:v>
                </c:pt>
                <c:pt idx="887">
                  <c:v>34043</c:v>
                </c:pt>
                <c:pt idx="888">
                  <c:v>34044</c:v>
                </c:pt>
                <c:pt idx="889">
                  <c:v>34045</c:v>
                </c:pt>
                <c:pt idx="890">
                  <c:v>34046</c:v>
                </c:pt>
                <c:pt idx="891">
                  <c:v>34047</c:v>
                </c:pt>
                <c:pt idx="892">
                  <c:v>34050</c:v>
                </c:pt>
                <c:pt idx="893">
                  <c:v>34051</c:v>
                </c:pt>
                <c:pt idx="894">
                  <c:v>34052</c:v>
                </c:pt>
                <c:pt idx="895">
                  <c:v>34053</c:v>
                </c:pt>
                <c:pt idx="896">
                  <c:v>34054</c:v>
                </c:pt>
                <c:pt idx="897">
                  <c:v>34057</c:v>
                </c:pt>
                <c:pt idx="898">
                  <c:v>34058</c:v>
                </c:pt>
                <c:pt idx="899">
                  <c:v>34059</c:v>
                </c:pt>
                <c:pt idx="900">
                  <c:v>34060</c:v>
                </c:pt>
                <c:pt idx="901">
                  <c:v>34061</c:v>
                </c:pt>
                <c:pt idx="902">
                  <c:v>34064</c:v>
                </c:pt>
                <c:pt idx="903">
                  <c:v>34065</c:v>
                </c:pt>
                <c:pt idx="904">
                  <c:v>34066</c:v>
                </c:pt>
                <c:pt idx="905">
                  <c:v>34067</c:v>
                </c:pt>
                <c:pt idx="906">
                  <c:v>34071</c:v>
                </c:pt>
                <c:pt idx="907">
                  <c:v>34072</c:v>
                </c:pt>
                <c:pt idx="908">
                  <c:v>34073</c:v>
                </c:pt>
                <c:pt idx="909">
                  <c:v>34074</c:v>
                </c:pt>
                <c:pt idx="910">
                  <c:v>34075</c:v>
                </c:pt>
                <c:pt idx="911">
                  <c:v>34078</c:v>
                </c:pt>
                <c:pt idx="912">
                  <c:v>34079</c:v>
                </c:pt>
                <c:pt idx="913">
                  <c:v>34080</c:v>
                </c:pt>
                <c:pt idx="914">
                  <c:v>34081</c:v>
                </c:pt>
                <c:pt idx="915">
                  <c:v>34082</c:v>
                </c:pt>
                <c:pt idx="916">
                  <c:v>34085</c:v>
                </c:pt>
                <c:pt idx="917">
                  <c:v>34086</c:v>
                </c:pt>
                <c:pt idx="918">
                  <c:v>34087</c:v>
                </c:pt>
                <c:pt idx="919">
                  <c:v>34088</c:v>
                </c:pt>
                <c:pt idx="920">
                  <c:v>34089</c:v>
                </c:pt>
                <c:pt idx="921">
                  <c:v>34092</c:v>
                </c:pt>
                <c:pt idx="922">
                  <c:v>34093</c:v>
                </c:pt>
                <c:pt idx="923">
                  <c:v>34094</c:v>
                </c:pt>
                <c:pt idx="924">
                  <c:v>34095</c:v>
                </c:pt>
                <c:pt idx="925">
                  <c:v>34096</c:v>
                </c:pt>
                <c:pt idx="926">
                  <c:v>34099</c:v>
                </c:pt>
                <c:pt idx="927">
                  <c:v>34100</c:v>
                </c:pt>
                <c:pt idx="928">
                  <c:v>34101</c:v>
                </c:pt>
                <c:pt idx="929">
                  <c:v>34102</c:v>
                </c:pt>
                <c:pt idx="930">
                  <c:v>34103</c:v>
                </c:pt>
                <c:pt idx="931">
                  <c:v>34106</c:v>
                </c:pt>
                <c:pt idx="932">
                  <c:v>34107</c:v>
                </c:pt>
                <c:pt idx="933">
                  <c:v>34108</c:v>
                </c:pt>
                <c:pt idx="934">
                  <c:v>34109</c:v>
                </c:pt>
                <c:pt idx="935">
                  <c:v>34110</c:v>
                </c:pt>
                <c:pt idx="936">
                  <c:v>34113</c:v>
                </c:pt>
                <c:pt idx="937">
                  <c:v>34114</c:v>
                </c:pt>
                <c:pt idx="938">
                  <c:v>34115</c:v>
                </c:pt>
                <c:pt idx="939">
                  <c:v>34116</c:v>
                </c:pt>
                <c:pt idx="940">
                  <c:v>34117</c:v>
                </c:pt>
                <c:pt idx="941">
                  <c:v>34121</c:v>
                </c:pt>
                <c:pt idx="942">
                  <c:v>34122</c:v>
                </c:pt>
                <c:pt idx="943">
                  <c:v>34123</c:v>
                </c:pt>
                <c:pt idx="944">
                  <c:v>34124</c:v>
                </c:pt>
                <c:pt idx="945">
                  <c:v>34127</c:v>
                </c:pt>
                <c:pt idx="946">
                  <c:v>34128</c:v>
                </c:pt>
                <c:pt idx="947">
                  <c:v>34129</c:v>
                </c:pt>
                <c:pt idx="948">
                  <c:v>34130</c:v>
                </c:pt>
                <c:pt idx="949">
                  <c:v>34131</c:v>
                </c:pt>
                <c:pt idx="950">
                  <c:v>34134</c:v>
                </c:pt>
                <c:pt idx="951">
                  <c:v>34135</c:v>
                </c:pt>
                <c:pt idx="952">
                  <c:v>34136</c:v>
                </c:pt>
                <c:pt idx="953">
                  <c:v>34137</c:v>
                </c:pt>
                <c:pt idx="954">
                  <c:v>34138</c:v>
                </c:pt>
                <c:pt idx="955">
                  <c:v>34141</c:v>
                </c:pt>
                <c:pt idx="956">
                  <c:v>34142</c:v>
                </c:pt>
                <c:pt idx="957">
                  <c:v>34143</c:v>
                </c:pt>
                <c:pt idx="958">
                  <c:v>34144</c:v>
                </c:pt>
                <c:pt idx="959">
                  <c:v>34145</c:v>
                </c:pt>
                <c:pt idx="960">
                  <c:v>34148</c:v>
                </c:pt>
                <c:pt idx="961">
                  <c:v>34149</c:v>
                </c:pt>
                <c:pt idx="962">
                  <c:v>34150</c:v>
                </c:pt>
                <c:pt idx="963">
                  <c:v>34151</c:v>
                </c:pt>
                <c:pt idx="964">
                  <c:v>34152</c:v>
                </c:pt>
                <c:pt idx="965">
                  <c:v>34156</c:v>
                </c:pt>
                <c:pt idx="966">
                  <c:v>34157</c:v>
                </c:pt>
                <c:pt idx="967">
                  <c:v>34158</c:v>
                </c:pt>
                <c:pt idx="968">
                  <c:v>34159</c:v>
                </c:pt>
                <c:pt idx="969">
                  <c:v>34162</c:v>
                </c:pt>
                <c:pt idx="970">
                  <c:v>34163</c:v>
                </c:pt>
                <c:pt idx="971">
                  <c:v>34164</c:v>
                </c:pt>
                <c:pt idx="972">
                  <c:v>34165</c:v>
                </c:pt>
                <c:pt idx="973">
                  <c:v>34166</c:v>
                </c:pt>
                <c:pt idx="974">
                  <c:v>34169</c:v>
                </c:pt>
                <c:pt idx="975">
                  <c:v>34170</c:v>
                </c:pt>
                <c:pt idx="976">
                  <c:v>34171</c:v>
                </c:pt>
                <c:pt idx="977">
                  <c:v>34172</c:v>
                </c:pt>
                <c:pt idx="978">
                  <c:v>34173</c:v>
                </c:pt>
                <c:pt idx="979">
                  <c:v>34176</c:v>
                </c:pt>
                <c:pt idx="980">
                  <c:v>34177</c:v>
                </c:pt>
                <c:pt idx="981">
                  <c:v>34178</c:v>
                </c:pt>
                <c:pt idx="982">
                  <c:v>34179</c:v>
                </c:pt>
                <c:pt idx="983">
                  <c:v>34180</c:v>
                </c:pt>
                <c:pt idx="984">
                  <c:v>34183</c:v>
                </c:pt>
                <c:pt idx="985">
                  <c:v>34184</c:v>
                </c:pt>
                <c:pt idx="986">
                  <c:v>34185</c:v>
                </c:pt>
                <c:pt idx="987">
                  <c:v>34186</c:v>
                </c:pt>
                <c:pt idx="988">
                  <c:v>34187</c:v>
                </c:pt>
                <c:pt idx="989">
                  <c:v>34190</c:v>
                </c:pt>
                <c:pt idx="990">
                  <c:v>34191</c:v>
                </c:pt>
                <c:pt idx="991">
                  <c:v>34192</c:v>
                </c:pt>
                <c:pt idx="992">
                  <c:v>34193</c:v>
                </c:pt>
                <c:pt idx="993">
                  <c:v>34194</c:v>
                </c:pt>
                <c:pt idx="994">
                  <c:v>34197</c:v>
                </c:pt>
                <c:pt idx="995">
                  <c:v>34198</c:v>
                </c:pt>
                <c:pt idx="996">
                  <c:v>34199</c:v>
                </c:pt>
                <c:pt idx="997">
                  <c:v>34200</c:v>
                </c:pt>
                <c:pt idx="998">
                  <c:v>34201</c:v>
                </c:pt>
                <c:pt idx="999">
                  <c:v>34204</c:v>
                </c:pt>
                <c:pt idx="1000">
                  <c:v>34205</c:v>
                </c:pt>
                <c:pt idx="1001">
                  <c:v>34206</c:v>
                </c:pt>
                <c:pt idx="1002">
                  <c:v>34207</c:v>
                </c:pt>
                <c:pt idx="1003">
                  <c:v>34208</c:v>
                </c:pt>
                <c:pt idx="1004">
                  <c:v>34211</c:v>
                </c:pt>
                <c:pt idx="1005">
                  <c:v>34212</c:v>
                </c:pt>
                <c:pt idx="1006">
                  <c:v>34213</c:v>
                </c:pt>
                <c:pt idx="1007">
                  <c:v>34214</c:v>
                </c:pt>
                <c:pt idx="1008">
                  <c:v>34215</c:v>
                </c:pt>
                <c:pt idx="1009">
                  <c:v>34219</c:v>
                </c:pt>
                <c:pt idx="1010">
                  <c:v>34220</c:v>
                </c:pt>
                <c:pt idx="1011">
                  <c:v>34221</c:v>
                </c:pt>
                <c:pt idx="1012">
                  <c:v>34222</c:v>
                </c:pt>
                <c:pt idx="1013">
                  <c:v>34225</c:v>
                </c:pt>
                <c:pt idx="1014">
                  <c:v>34226</c:v>
                </c:pt>
                <c:pt idx="1015">
                  <c:v>34227</c:v>
                </c:pt>
                <c:pt idx="1016">
                  <c:v>34228</c:v>
                </c:pt>
                <c:pt idx="1017">
                  <c:v>34229</c:v>
                </c:pt>
                <c:pt idx="1018">
                  <c:v>34232</c:v>
                </c:pt>
                <c:pt idx="1019">
                  <c:v>34233</c:v>
                </c:pt>
                <c:pt idx="1020">
                  <c:v>34234</c:v>
                </c:pt>
                <c:pt idx="1021">
                  <c:v>34235</c:v>
                </c:pt>
                <c:pt idx="1022">
                  <c:v>34236</c:v>
                </c:pt>
                <c:pt idx="1023">
                  <c:v>34239</c:v>
                </c:pt>
                <c:pt idx="1024">
                  <c:v>34240</c:v>
                </c:pt>
                <c:pt idx="1025">
                  <c:v>34241</c:v>
                </c:pt>
                <c:pt idx="1026">
                  <c:v>34242</c:v>
                </c:pt>
                <c:pt idx="1027">
                  <c:v>34243</c:v>
                </c:pt>
                <c:pt idx="1028">
                  <c:v>34246</c:v>
                </c:pt>
                <c:pt idx="1029">
                  <c:v>34247</c:v>
                </c:pt>
                <c:pt idx="1030">
                  <c:v>34248</c:v>
                </c:pt>
                <c:pt idx="1031">
                  <c:v>34249</c:v>
                </c:pt>
                <c:pt idx="1032">
                  <c:v>34250</c:v>
                </c:pt>
                <c:pt idx="1033">
                  <c:v>34253</c:v>
                </c:pt>
                <c:pt idx="1034">
                  <c:v>34254</c:v>
                </c:pt>
                <c:pt idx="1035">
                  <c:v>34255</c:v>
                </c:pt>
                <c:pt idx="1036">
                  <c:v>34256</c:v>
                </c:pt>
                <c:pt idx="1037">
                  <c:v>34257</c:v>
                </c:pt>
                <c:pt idx="1038">
                  <c:v>34260</c:v>
                </c:pt>
                <c:pt idx="1039">
                  <c:v>34261</c:v>
                </c:pt>
                <c:pt idx="1040">
                  <c:v>34262</c:v>
                </c:pt>
                <c:pt idx="1041">
                  <c:v>34263</c:v>
                </c:pt>
                <c:pt idx="1042">
                  <c:v>34264</c:v>
                </c:pt>
                <c:pt idx="1043">
                  <c:v>34267</c:v>
                </c:pt>
                <c:pt idx="1044">
                  <c:v>34268</c:v>
                </c:pt>
                <c:pt idx="1045">
                  <c:v>34269</c:v>
                </c:pt>
                <c:pt idx="1046">
                  <c:v>34270</c:v>
                </c:pt>
                <c:pt idx="1047">
                  <c:v>34271</c:v>
                </c:pt>
                <c:pt idx="1048">
                  <c:v>34274</c:v>
                </c:pt>
                <c:pt idx="1049">
                  <c:v>34275</c:v>
                </c:pt>
                <c:pt idx="1050">
                  <c:v>34276</c:v>
                </c:pt>
                <c:pt idx="1051">
                  <c:v>34277</c:v>
                </c:pt>
                <c:pt idx="1052">
                  <c:v>34278</c:v>
                </c:pt>
                <c:pt idx="1053">
                  <c:v>34281</c:v>
                </c:pt>
                <c:pt idx="1054">
                  <c:v>34282</c:v>
                </c:pt>
                <c:pt idx="1055">
                  <c:v>34283</c:v>
                </c:pt>
                <c:pt idx="1056">
                  <c:v>34284</c:v>
                </c:pt>
                <c:pt idx="1057">
                  <c:v>34285</c:v>
                </c:pt>
                <c:pt idx="1058">
                  <c:v>34288</c:v>
                </c:pt>
                <c:pt idx="1059">
                  <c:v>34289</c:v>
                </c:pt>
                <c:pt idx="1060">
                  <c:v>34290</c:v>
                </c:pt>
                <c:pt idx="1061">
                  <c:v>34291</c:v>
                </c:pt>
                <c:pt idx="1062">
                  <c:v>34292</c:v>
                </c:pt>
                <c:pt idx="1063">
                  <c:v>34295</c:v>
                </c:pt>
                <c:pt idx="1064">
                  <c:v>34296</c:v>
                </c:pt>
                <c:pt idx="1065">
                  <c:v>34297</c:v>
                </c:pt>
                <c:pt idx="1066">
                  <c:v>34299</c:v>
                </c:pt>
                <c:pt idx="1067">
                  <c:v>34302</c:v>
                </c:pt>
                <c:pt idx="1068">
                  <c:v>34303</c:v>
                </c:pt>
                <c:pt idx="1069">
                  <c:v>34304</c:v>
                </c:pt>
                <c:pt idx="1070">
                  <c:v>34305</c:v>
                </c:pt>
                <c:pt idx="1071">
                  <c:v>34306</c:v>
                </c:pt>
                <c:pt idx="1072">
                  <c:v>34309</c:v>
                </c:pt>
                <c:pt idx="1073">
                  <c:v>34310</c:v>
                </c:pt>
                <c:pt idx="1074">
                  <c:v>34311</c:v>
                </c:pt>
                <c:pt idx="1075">
                  <c:v>34312</c:v>
                </c:pt>
                <c:pt idx="1076">
                  <c:v>34313</c:v>
                </c:pt>
                <c:pt idx="1077">
                  <c:v>34316</c:v>
                </c:pt>
                <c:pt idx="1078">
                  <c:v>34317</c:v>
                </c:pt>
                <c:pt idx="1079">
                  <c:v>34318</c:v>
                </c:pt>
                <c:pt idx="1080">
                  <c:v>34319</c:v>
                </c:pt>
                <c:pt idx="1081">
                  <c:v>34320</c:v>
                </c:pt>
                <c:pt idx="1082">
                  <c:v>34323</c:v>
                </c:pt>
                <c:pt idx="1083">
                  <c:v>34324</c:v>
                </c:pt>
                <c:pt idx="1084">
                  <c:v>34325</c:v>
                </c:pt>
                <c:pt idx="1085">
                  <c:v>34326</c:v>
                </c:pt>
                <c:pt idx="1086">
                  <c:v>34330</c:v>
                </c:pt>
                <c:pt idx="1087">
                  <c:v>34331</c:v>
                </c:pt>
                <c:pt idx="1088">
                  <c:v>34332</c:v>
                </c:pt>
                <c:pt idx="1089">
                  <c:v>34333</c:v>
                </c:pt>
                <c:pt idx="1090">
                  <c:v>34334</c:v>
                </c:pt>
                <c:pt idx="1091">
                  <c:v>34337</c:v>
                </c:pt>
                <c:pt idx="1092">
                  <c:v>34338</c:v>
                </c:pt>
                <c:pt idx="1093">
                  <c:v>34339</c:v>
                </c:pt>
                <c:pt idx="1094">
                  <c:v>34340</c:v>
                </c:pt>
                <c:pt idx="1095">
                  <c:v>34341</c:v>
                </c:pt>
                <c:pt idx="1096">
                  <c:v>34344</c:v>
                </c:pt>
                <c:pt idx="1097">
                  <c:v>34345</c:v>
                </c:pt>
                <c:pt idx="1098">
                  <c:v>34346</c:v>
                </c:pt>
                <c:pt idx="1099">
                  <c:v>34347</c:v>
                </c:pt>
                <c:pt idx="1100">
                  <c:v>34348</c:v>
                </c:pt>
                <c:pt idx="1101">
                  <c:v>34351</c:v>
                </c:pt>
                <c:pt idx="1102">
                  <c:v>34352</c:v>
                </c:pt>
                <c:pt idx="1103">
                  <c:v>34353</c:v>
                </c:pt>
                <c:pt idx="1104">
                  <c:v>34354</c:v>
                </c:pt>
                <c:pt idx="1105">
                  <c:v>34355</c:v>
                </c:pt>
                <c:pt idx="1106">
                  <c:v>34358</c:v>
                </c:pt>
                <c:pt idx="1107">
                  <c:v>34359</c:v>
                </c:pt>
                <c:pt idx="1108">
                  <c:v>34360</c:v>
                </c:pt>
                <c:pt idx="1109">
                  <c:v>34361</c:v>
                </c:pt>
                <c:pt idx="1110">
                  <c:v>34362</c:v>
                </c:pt>
                <c:pt idx="1111">
                  <c:v>34365</c:v>
                </c:pt>
                <c:pt idx="1112">
                  <c:v>34366</c:v>
                </c:pt>
                <c:pt idx="1113">
                  <c:v>34367</c:v>
                </c:pt>
                <c:pt idx="1114">
                  <c:v>34368</c:v>
                </c:pt>
                <c:pt idx="1115">
                  <c:v>34369</c:v>
                </c:pt>
                <c:pt idx="1116">
                  <c:v>34372</c:v>
                </c:pt>
                <c:pt idx="1117">
                  <c:v>34373</c:v>
                </c:pt>
                <c:pt idx="1118">
                  <c:v>34374</c:v>
                </c:pt>
                <c:pt idx="1119">
                  <c:v>34375</c:v>
                </c:pt>
                <c:pt idx="1120">
                  <c:v>34376</c:v>
                </c:pt>
                <c:pt idx="1121">
                  <c:v>34379</c:v>
                </c:pt>
                <c:pt idx="1122">
                  <c:v>34380</c:v>
                </c:pt>
                <c:pt idx="1123">
                  <c:v>34381</c:v>
                </c:pt>
                <c:pt idx="1124">
                  <c:v>34382</c:v>
                </c:pt>
                <c:pt idx="1125">
                  <c:v>34383</c:v>
                </c:pt>
                <c:pt idx="1126">
                  <c:v>34387</c:v>
                </c:pt>
                <c:pt idx="1127">
                  <c:v>34388</c:v>
                </c:pt>
                <c:pt idx="1128">
                  <c:v>34389</c:v>
                </c:pt>
                <c:pt idx="1129">
                  <c:v>34390</c:v>
                </c:pt>
                <c:pt idx="1130">
                  <c:v>34393</c:v>
                </c:pt>
                <c:pt idx="1131">
                  <c:v>34394</c:v>
                </c:pt>
                <c:pt idx="1132">
                  <c:v>34395</c:v>
                </c:pt>
                <c:pt idx="1133">
                  <c:v>34396</c:v>
                </c:pt>
                <c:pt idx="1134">
                  <c:v>34397</c:v>
                </c:pt>
                <c:pt idx="1135">
                  <c:v>34400</c:v>
                </c:pt>
                <c:pt idx="1136">
                  <c:v>34401</c:v>
                </c:pt>
                <c:pt idx="1137">
                  <c:v>34402</c:v>
                </c:pt>
                <c:pt idx="1138">
                  <c:v>34403</c:v>
                </c:pt>
                <c:pt idx="1139">
                  <c:v>34404</c:v>
                </c:pt>
                <c:pt idx="1140">
                  <c:v>34407</c:v>
                </c:pt>
                <c:pt idx="1141">
                  <c:v>34408</c:v>
                </c:pt>
                <c:pt idx="1142">
                  <c:v>34409</c:v>
                </c:pt>
                <c:pt idx="1143">
                  <c:v>34410</c:v>
                </c:pt>
                <c:pt idx="1144">
                  <c:v>34411</c:v>
                </c:pt>
                <c:pt idx="1145">
                  <c:v>34414</c:v>
                </c:pt>
                <c:pt idx="1146">
                  <c:v>34415</c:v>
                </c:pt>
                <c:pt idx="1147">
                  <c:v>34416</c:v>
                </c:pt>
                <c:pt idx="1148">
                  <c:v>34417</c:v>
                </c:pt>
                <c:pt idx="1149">
                  <c:v>34418</c:v>
                </c:pt>
                <c:pt idx="1150">
                  <c:v>34421</c:v>
                </c:pt>
                <c:pt idx="1151">
                  <c:v>34422</c:v>
                </c:pt>
                <c:pt idx="1152">
                  <c:v>34423</c:v>
                </c:pt>
                <c:pt idx="1153">
                  <c:v>34424</c:v>
                </c:pt>
                <c:pt idx="1154">
                  <c:v>34428</c:v>
                </c:pt>
                <c:pt idx="1155">
                  <c:v>34429</c:v>
                </c:pt>
                <c:pt idx="1156">
                  <c:v>34430</c:v>
                </c:pt>
                <c:pt idx="1157">
                  <c:v>34431</c:v>
                </c:pt>
                <c:pt idx="1158">
                  <c:v>34432</c:v>
                </c:pt>
                <c:pt idx="1159">
                  <c:v>34435</c:v>
                </c:pt>
                <c:pt idx="1160">
                  <c:v>34436</c:v>
                </c:pt>
                <c:pt idx="1161">
                  <c:v>34437</c:v>
                </c:pt>
                <c:pt idx="1162">
                  <c:v>34438</c:v>
                </c:pt>
                <c:pt idx="1163">
                  <c:v>34439</c:v>
                </c:pt>
                <c:pt idx="1164">
                  <c:v>34442</c:v>
                </c:pt>
                <c:pt idx="1165">
                  <c:v>34443</c:v>
                </c:pt>
                <c:pt idx="1166">
                  <c:v>34444</c:v>
                </c:pt>
                <c:pt idx="1167">
                  <c:v>34445</c:v>
                </c:pt>
                <c:pt idx="1168">
                  <c:v>34446</c:v>
                </c:pt>
                <c:pt idx="1169">
                  <c:v>34449</c:v>
                </c:pt>
                <c:pt idx="1170">
                  <c:v>34450</c:v>
                </c:pt>
                <c:pt idx="1171">
                  <c:v>34452</c:v>
                </c:pt>
                <c:pt idx="1172">
                  <c:v>34453</c:v>
                </c:pt>
                <c:pt idx="1173">
                  <c:v>34456</c:v>
                </c:pt>
                <c:pt idx="1174">
                  <c:v>34457</c:v>
                </c:pt>
                <c:pt idx="1175">
                  <c:v>34458</c:v>
                </c:pt>
                <c:pt idx="1176">
                  <c:v>34459</c:v>
                </c:pt>
                <c:pt idx="1177">
                  <c:v>34460</c:v>
                </c:pt>
                <c:pt idx="1178">
                  <c:v>34463</c:v>
                </c:pt>
                <c:pt idx="1179">
                  <c:v>34464</c:v>
                </c:pt>
                <c:pt idx="1180">
                  <c:v>34465</c:v>
                </c:pt>
                <c:pt idx="1181">
                  <c:v>34466</c:v>
                </c:pt>
                <c:pt idx="1182">
                  <c:v>34467</c:v>
                </c:pt>
                <c:pt idx="1183">
                  <c:v>34470</c:v>
                </c:pt>
                <c:pt idx="1184">
                  <c:v>34471</c:v>
                </c:pt>
                <c:pt idx="1185">
                  <c:v>34472</c:v>
                </c:pt>
                <c:pt idx="1186">
                  <c:v>34473</c:v>
                </c:pt>
                <c:pt idx="1187">
                  <c:v>34474</c:v>
                </c:pt>
                <c:pt idx="1188">
                  <c:v>34477</c:v>
                </c:pt>
                <c:pt idx="1189">
                  <c:v>34478</c:v>
                </c:pt>
                <c:pt idx="1190">
                  <c:v>34479</c:v>
                </c:pt>
                <c:pt idx="1191">
                  <c:v>34480</c:v>
                </c:pt>
                <c:pt idx="1192">
                  <c:v>34481</c:v>
                </c:pt>
                <c:pt idx="1193">
                  <c:v>34485</c:v>
                </c:pt>
                <c:pt idx="1194">
                  <c:v>34486</c:v>
                </c:pt>
                <c:pt idx="1195">
                  <c:v>34487</c:v>
                </c:pt>
                <c:pt idx="1196">
                  <c:v>34488</c:v>
                </c:pt>
                <c:pt idx="1197">
                  <c:v>34491</c:v>
                </c:pt>
                <c:pt idx="1198">
                  <c:v>34492</c:v>
                </c:pt>
                <c:pt idx="1199">
                  <c:v>34493</c:v>
                </c:pt>
                <c:pt idx="1200">
                  <c:v>34494</c:v>
                </c:pt>
                <c:pt idx="1201">
                  <c:v>34495</c:v>
                </c:pt>
                <c:pt idx="1202">
                  <c:v>34498</c:v>
                </c:pt>
                <c:pt idx="1203">
                  <c:v>34499</c:v>
                </c:pt>
                <c:pt idx="1204">
                  <c:v>34500</c:v>
                </c:pt>
                <c:pt idx="1205">
                  <c:v>34501</c:v>
                </c:pt>
                <c:pt idx="1206">
                  <c:v>34502</c:v>
                </c:pt>
                <c:pt idx="1207">
                  <c:v>34505</c:v>
                </c:pt>
                <c:pt idx="1208">
                  <c:v>34506</c:v>
                </c:pt>
                <c:pt idx="1209">
                  <c:v>34507</c:v>
                </c:pt>
                <c:pt idx="1210">
                  <c:v>34508</c:v>
                </c:pt>
                <c:pt idx="1211">
                  <c:v>34509</c:v>
                </c:pt>
                <c:pt idx="1212">
                  <c:v>34512</c:v>
                </c:pt>
                <c:pt idx="1213">
                  <c:v>34513</c:v>
                </c:pt>
                <c:pt idx="1214">
                  <c:v>34514</c:v>
                </c:pt>
                <c:pt idx="1215">
                  <c:v>34515</c:v>
                </c:pt>
                <c:pt idx="1216">
                  <c:v>34516</c:v>
                </c:pt>
                <c:pt idx="1217">
                  <c:v>34520</c:v>
                </c:pt>
                <c:pt idx="1218">
                  <c:v>34521</c:v>
                </c:pt>
                <c:pt idx="1219">
                  <c:v>34522</c:v>
                </c:pt>
                <c:pt idx="1220">
                  <c:v>34523</c:v>
                </c:pt>
                <c:pt idx="1221">
                  <c:v>34526</c:v>
                </c:pt>
                <c:pt idx="1222">
                  <c:v>34527</c:v>
                </c:pt>
                <c:pt idx="1223">
                  <c:v>34528</c:v>
                </c:pt>
                <c:pt idx="1224">
                  <c:v>34529</c:v>
                </c:pt>
                <c:pt idx="1225">
                  <c:v>34530</c:v>
                </c:pt>
                <c:pt idx="1226">
                  <c:v>34533</c:v>
                </c:pt>
                <c:pt idx="1227">
                  <c:v>34534</c:v>
                </c:pt>
                <c:pt idx="1228">
                  <c:v>34535</c:v>
                </c:pt>
                <c:pt idx="1229">
                  <c:v>34536</c:v>
                </c:pt>
                <c:pt idx="1230">
                  <c:v>34537</c:v>
                </c:pt>
                <c:pt idx="1231">
                  <c:v>34540</c:v>
                </c:pt>
                <c:pt idx="1232">
                  <c:v>34541</c:v>
                </c:pt>
                <c:pt idx="1233">
                  <c:v>34542</c:v>
                </c:pt>
                <c:pt idx="1234">
                  <c:v>34543</c:v>
                </c:pt>
                <c:pt idx="1235">
                  <c:v>34544</c:v>
                </c:pt>
                <c:pt idx="1236">
                  <c:v>34547</c:v>
                </c:pt>
                <c:pt idx="1237">
                  <c:v>34548</c:v>
                </c:pt>
                <c:pt idx="1238">
                  <c:v>34549</c:v>
                </c:pt>
                <c:pt idx="1239">
                  <c:v>34550</c:v>
                </c:pt>
                <c:pt idx="1240">
                  <c:v>34551</c:v>
                </c:pt>
                <c:pt idx="1241">
                  <c:v>34554</c:v>
                </c:pt>
                <c:pt idx="1242">
                  <c:v>34555</c:v>
                </c:pt>
                <c:pt idx="1243">
                  <c:v>34556</c:v>
                </c:pt>
                <c:pt idx="1244">
                  <c:v>34557</c:v>
                </c:pt>
                <c:pt idx="1245">
                  <c:v>34558</c:v>
                </c:pt>
                <c:pt idx="1246">
                  <c:v>34561</c:v>
                </c:pt>
                <c:pt idx="1247">
                  <c:v>34562</c:v>
                </c:pt>
                <c:pt idx="1248">
                  <c:v>34563</c:v>
                </c:pt>
                <c:pt idx="1249">
                  <c:v>34564</c:v>
                </c:pt>
                <c:pt idx="1250">
                  <c:v>34565</c:v>
                </c:pt>
                <c:pt idx="1251">
                  <c:v>34568</c:v>
                </c:pt>
                <c:pt idx="1252">
                  <c:v>34569</c:v>
                </c:pt>
                <c:pt idx="1253">
                  <c:v>34570</c:v>
                </c:pt>
                <c:pt idx="1254">
                  <c:v>34571</c:v>
                </c:pt>
                <c:pt idx="1255">
                  <c:v>34572</c:v>
                </c:pt>
                <c:pt idx="1256">
                  <c:v>34575</c:v>
                </c:pt>
                <c:pt idx="1257">
                  <c:v>34576</c:v>
                </c:pt>
                <c:pt idx="1258">
                  <c:v>34577</c:v>
                </c:pt>
                <c:pt idx="1259">
                  <c:v>34578</c:v>
                </c:pt>
                <c:pt idx="1260">
                  <c:v>34579</c:v>
                </c:pt>
                <c:pt idx="1261">
                  <c:v>34583</c:v>
                </c:pt>
                <c:pt idx="1262">
                  <c:v>34584</c:v>
                </c:pt>
                <c:pt idx="1263">
                  <c:v>34585</c:v>
                </c:pt>
                <c:pt idx="1264">
                  <c:v>34586</c:v>
                </c:pt>
                <c:pt idx="1265">
                  <c:v>34589</c:v>
                </c:pt>
                <c:pt idx="1266">
                  <c:v>34590</c:v>
                </c:pt>
                <c:pt idx="1267">
                  <c:v>34591</c:v>
                </c:pt>
                <c:pt idx="1268">
                  <c:v>34592</c:v>
                </c:pt>
                <c:pt idx="1269">
                  <c:v>34593</c:v>
                </c:pt>
                <c:pt idx="1270">
                  <c:v>34596</c:v>
                </c:pt>
                <c:pt idx="1271">
                  <c:v>34597</c:v>
                </c:pt>
                <c:pt idx="1272">
                  <c:v>34598</c:v>
                </c:pt>
                <c:pt idx="1273">
                  <c:v>34599</c:v>
                </c:pt>
                <c:pt idx="1274">
                  <c:v>34600</c:v>
                </c:pt>
                <c:pt idx="1275">
                  <c:v>34603</c:v>
                </c:pt>
                <c:pt idx="1276">
                  <c:v>34604</c:v>
                </c:pt>
                <c:pt idx="1277">
                  <c:v>34605</c:v>
                </c:pt>
                <c:pt idx="1278">
                  <c:v>34606</c:v>
                </c:pt>
                <c:pt idx="1279">
                  <c:v>34607</c:v>
                </c:pt>
                <c:pt idx="1280">
                  <c:v>34610</c:v>
                </c:pt>
                <c:pt idx="1281">
                  <c:v>34611</c:v>
                </c:pt>
                <c:pt idx="1282">
                  <c:v>34612</c:v>
                </c:pt>
                <c:pt idx="1283">
                  <c:v>34613</c:v>
                </c:pt>
                <c:pt idx="1284">
                  <c:v>34614</c:v>
                </c:pt>
                <c:pt idx="1285">
                  <c:v>34617</c:v>
                </c:pt>
                <c:pt idx="1286">
                  <c:v>34618</c:v>
                </c:pt>
                <c:pt idx="1287">
                  <c:v>34619</c:v>
                </c:pt>
                <c:pt idx="1288">
                  <c:v>34620</c:v>
                </c:pt>
                <c:pt idx="1289">
                  <c:v>34621</c:v>
                </c:pt>
                <c:pt idx="1290">
                  <c:v>34624</c:v>
                </c:pt>
                <c:pt idx="1291">
                  <c:v>34625</c:v>
                </c:pt>
                <c:pt idx="1292">
                  <c:v>34626</c:v>
                </c:pt>
                <c:pt idx="1293">
                  <c:v>34627</c:v>
                </c:pt>
                <c:pt idx="1294">
                  <c:v>34628</c:v>
                </c:pt>
                <c:pt idx="1295">
                  <c:v>34631</c:v>
                </c:pt>
                <c:pt idx="1296">
                  <c:v>34632</c:v>
                </c:pt>
                <c:pt idx="1297">
                  <c:v>34633</c:v>
                </c:pt>
                <c:pt idx="1298">
                  <c:v>34634</c:v>
                </c:pt>
                <c:pt idx="1299">
                  <c:v>34635</c:v>
                </c:pt>
                <c:pt idx="1300">
                  <c:v>34638</c:v>
                </c:pt>
                <c:pt idx="1301">
                  <c:v>34639</c:v>
                </c:pt>
                <c:pt idx="1302">
                  <c:v>34640</c:v>
                </c:pt>
                <c:pt idx="1303">
                  <c:v>34641</c:v>
                </c:pt>
                <c:pt idx="1304">
                  <c:v>34642</c:v>
                </c:pt>
                <c:pt idx="1305">
                  <c:v>34645</c:v>
                </c:pt>
                <c:pt idx="1306">
                  <c:v>34646</c:v>
                </c:pt>
                <c:pt idx="1307">
                  <c:v>34647</c:v>
                </c:pt>
                <c:pt idx="1308">
                  <c:v>34648</c:v>
                </c:pt>
                <c:pt idx="1309">
                  <c:v>34649</c:v>
                </c:pt>
                <c:pt idx="1310">
                  <c:v>34652</c:v>
                </c:pt>
                <c:pt idx="1311">
                  <c:v>34653</c:v>
                </c:pt>
                <c:pt idx="1312">
                  <c:v>34654</c:v>
                </c:pt>
                <c:pt idx="1313">
                  <c:v>34655</c:v>
                </c:pt>
                <c:pt idx="1314">
                  <c:v>34656</c:v>
                </c:pt>
                <c:pt idx="1315">
                  <c:v>34659</c:v>
                </c:pt>
                <c:pt idx="1316">
                  <c:v>34660</c:v>
                </c:pt>
                <c:pt idx="1317">
                  <c:v>34661</c:v>
                </c:pt>
                <c:pt idx="1318">
                  <c:v>34663</c:v>
                </c:pt>
                <c:pt idx="1319">
                  <c:v>34666</c:v>
                </c:pt>
                <c:pt idx="1320">
                  <c:v>34667</c:v>
                </c:pt>
                <c:pt idx="1321">
                  <c:v>34668</c:v>
                </c:pt>
                <c:pt idx="1322">
                  <c:v>34669</c:v>
                </c:pt>
                <c:pt idx="1323">
                  <c:v>34670</c:v>
                </c:pt>
                <c:pt idx="1324">
                  <c:v>34673</c:v>
                </c:pt>
                <c:pt idx="1325">
                  <c:v>34674</c:v>
                </c:pt>
                <c:pt idx="1326">
                  <c:v>34675</c:v>
                </c:pt>
                <c:pt idx="1327">
                  <c:v>34676</c:v>
                </c:pt>
                <c:pt idx="1328">
                  <c:v>34677</c:v>
                </c:pt>
                <c:pt idx="1329">
                  <c:v>34680</c:v>
                </c:pt>
                <c:pt idx="1330">
                  <c:v>34681</c:v>
                </c:pt>
                <c:pt idx="1331">
                  <c:v>34682</c:v>
                </c:pt>
                <c:pt idx="1332">
                  <c:v>34683</c:v>
                </c:pt>
                <c:pt idx="1333">
                  <c:v>34684</c:v>
                </c:pt>
                <c:pt idx="1334">
                  <c:v>34687</c:v>
                </c:pt>
                <c:pt idx="1335">
                  <c:v>34688</c:v>
                </c:pt>
                <c:pt idx="1336">
                  <c:v>34689</c:v>
                </c:pt>
                <c:pt idx="1337">
                  <c:v>34690</c:v>
                </c:pt>
                <c:pt idx="1338">
                  <c:v>34691</c:v>
                </c:pt>
                <c:pt idx="1339">
                  <c:v>34695</c:v>
                </c:pt>
                <c:pt idx="1340">
                  <c:v>34696</c:v>
                </c:pt>
                <c:pt idx="1341">
                  <c:v>34697</c:v>
                </c:pt>
                <c:pt idx="1342">
                  <c:v>34698</c:v>
                </c:pt>
                <c:pt idx="1343">
                  <c:v>34702</c:v>
                </c:pt>
                <c:pt idx="1344">
                  <c:v>34703</c:v>
                </c:pt>
                <c:pt idx="1345">
                  <c:v>34704</c:v>
                </c:pt>
                <c:pt idx="1346">
                  <c:v>34705</c:v>
                </c:pt>
                <c:pt idx="1347">
                  <c:v>34708</c:v>
                </c:pt>
                <c:pt idx="1348">
                  <c:v>34709</c:v>
                </c:pt>
                <c:pt idx="1349">
                  <c:v>34710</c:v>
                </c:pt>
                <c:pt idx="1350">
                  <c:v>34711</c:v>
                </c:pt>
                <c:pt idx="1351">
                  <c:v>34712</c:v>
                </c:pt>
                <c:pt idx="1352">
                  <c:v>34715</c:v>
                </c:pt>
                <c:pt idx="1353">
                  <c:v>34716</c:v>
                </c:pt>
                <c:pt idx="1354">
                  <c:v>34717</c:v>
                </c:pt>
                <c:pt idx="1355">
                  <c:v>34718</c:v>
                </c:pt>
                <c:pt idx="1356">
                  <c:v>34719</c:v>
                </c:pt>
                <c:pt idx="1357">
                  <c:v>34722</c:v>
                </c:pt>
                <c:pt idx="1358">
                  <c:v>34723</c:v>
                </c:pt>
                <c:pt idx="1359">
                  <c:v>34724</c:v>
                </c:pt>
                <c:pt idx="1360">
                  <c:v>34725</c:v>
                </c:pt>
                <c:pt idx="1361">
                  <c:v>34726</c:v>
                </c:pt>
                <c:pt idx="1362">
                  <c:v>34729</c:v>
                </c:pt>
                <c:pt idx="1363">
                  <c:v>34730</c:v>
                </c:pt>
                <c:pt idx="1364">
                  <c:v>34731</c:v>
                </c:pt>
                <c:pt idx="1365">
                  <c:v>34732</c:v>
                </c:pt>
                <c:pt idx="1366">
                  <c:v>34733</c:v>
                </c:pt>
                <c:pt idx="1367">
                  <c:v>34736</c:v>
                </c:pt>
                <c:pt idx="1368">
                  <c:v>34737</c:v>
                </c:pt>
                <c:pt idx="1369">
                  <c:v>34738</c:v>
                </c:pt>
                <c:pt idx="1370">
                  <c:v>34739</c:v>
                </c:pt>
                <c:pt idx="1371">
                  <c:v>34740</c:v>
                </c:pt>
                <c:pt idx="1372">
                  <c:v>34743</c:v>
                </c:pt>
                <c:pt idx="1373">
                  <c:v>34744</c:v>
                </c:pt>
                <c:pt idx="1374">
                  <c:v>34745</c:v>
                </c:pt>
                <c:pt idx="1375">
                  <c:v>34746</c:v>
                </c:pt>
                <c:pt idx="1376">
                  <c:v>34747</c:v>
                </c:pt>
                <c:pt idx="1377">
                  <c:v>34751</c:v>
                </c:pt>
                <c:pt idx="1378">
                  <c:v>34752</c:v>
                </c:pt>
                <c:pt idx="1379">
                  <c:v>34753</c:v>
                </c:pt>
                <c:pt idx="1380">
                  <c:v>34754</c:v>
                </c:pt>
                <c:pt idx="1381">
                  <c:v>34757</c:v>
                </c:pt>
                <c:pt idx="1382">
                  <c:v>34758</c:v>
                </c:pt>
                <c:pt idx="1383">
                  <c:v>34759</c:v>
                </c:pt>
                <c:pt idx="1384">
                  <c:v>34760</c:v>
                </c:pt>
                <c:pt idx="1385">
                  <c:v>34761</c:v>
                </c:pt>
                <c:pt idx="1386">
                  <c:v>34764</c:v>
                </c:pt>
                <c:pt idx="1387">
                  <c:v>34765</c:v>
                </c:pt>
                <c:pt idx="1388">
                  <c:v>34766</c:v>
                </c:pt>
                <c:pt idx="1389">
                  <c:v>34767</c:v>
                </c:pt>
                <c:pt idx="1390">
                  <c:v>34768</c:v>
                </c:pt>
                <c:pt idx="1391">
                  <c:v>34771</c:v>
                </c:pt>
                <c:pt idx="1392">
                  <c:v>34772</c:v>
                </c:pt>
                <c:pt idx="1393">
                  <c:v>34773</c:v>
                </c:pt>
                <c:pt idx="1394">
                  <c:v>34774</c:v>
                </c:pt>
                <c:pt idx="1395">
                  <c:v>34775</c:v>
                </c:pt>
                <c:pt idx="1396">
                  <c:v>34778</c:v>
                </c:pt>
                <c:pt idx="1397">
                  <c:v>34779</c:v>
                </c:pt>
                <c:pt idx="1398">
                  <c:v>34780</c:v>
                </c:pt>
                <c:pt idx="1399">
                  <c:v>34781</c:v>
                </c:pt>
                <c:pt idx="1400">
                  <c:v>34782</c:v>
                </c:pt>
                <c:pt idx="1401">
                  <c:v>34785</c:v>
                </c:pt>
                <c:pt idx="1402">
                  <c:v>34786</c:v>
                </c:pt>
                <c:pt idx="1403">
                  <c:v>34787</c:v>
                </c:pt>
                <c:pt idx="1404">
                  <c:v>34788</c:v>
                </c:pt>
                <c:pt idx="1405">
                  <c:v>34789</c:v>
                </c:pt>
                <c:pt idx="1406">
                  <c:v>34792</c:v>
                </c:pt>
                <c:pt idx="1407">
                  <c:v>34793</c:v>
                </c:pt>
                <c:pt idx="1408">
                  <c:v>34794</c:v>
                </c:pt>
                <c:pt idx="1409">
                  <c:v>34795</c:v>
                </c:pt>
                <c:pt idx="1410">
                  <c:v>34796</c:v>
                </c:pt>
                <c:pt idx="1411">
                  <c:v>34799</c:v>
                </c:pt>
                <c:pt idx="1412">
                  <c:v>34800</c:v>
                </c:pt>
                <c:pt idx="1413">
                  <c:v>34801</c:v>
                </c:pt>
                <c:pt idx="1414">
                  <c:v>34802</c:v>
                </c:pt>
                <c:pt idx="1415">
                  <c:v>34806</c:v>
                </c:pt>
                <c:pt idx="1416">
                  <c:v>34807</c:v>
                </c:pt>
                <c:pt idx="1417">
                  <c:v>34808</c:v>
                </c:pt>
                <c:pt idx="1418">
                  <c:v>34809</c:v>
                </c:pt>
                <c:pt idx="1419">
                  <c:v>34810</c:v>
                </c:pt>
                <c:pt idx="1420">
                  <c:v>34813</c:v>
                </c:pt>
                <c:pt idx="1421">
                  <c:v>34814</c:v>
                </c:pt>
                <c:pt idx="1422">
                  <c:v>34815</c:v>
                </c:pt>
                <c:pt idx="1423">
                  <c:v>34816</c:v>
                </c:pt>
                <c:pt idx="1424">
                  <c:v>34817</c:v>
                </c:pt>
                <c:pt idx="1425">
                  <c:v>34820</c:v>
                </c:pt>
                <c:pt idx="1426">
                  <c:v>34821</c:v>
                </c:pt>
                <c:pt idx="1427">
                  <c:v>34822</c:v>
                </c:pt>
                <c:pt idx="1428">
                  <c:v>34823</c:v>
                </c:pt>
                <c:pt idx="1429">
                  <c:v>34824</c:v>
                </c:pt>
                <c:pt idx="1430">
                  <c:v>34827</c:v>
                </c:pt>
                <c:pt idx="1431">
                  <c:v>34828</c:v>
                </c:pt>
                <c:pt idx="1432">
                  <c:v>34829</c:v>
                </c:pt>
                <c:pt idx="1433">
                  <c:v>34830</c:v>
                </c:pt>
                <c:pt idx="1434">
                  <c:v>34831</c:v>
                </c:pt>
                <c:pt idx="1435">
                  <c:v>34834</c:v>
                </c:pt>
                <c:pt idx="1436">
                  <c:v>34835</c:v>
                </c:pt>
                <c:pt idx="1437">
                  <c:v>34836</c:v>
                </c:pt>
                <c:pt idx="1438">
                  <c:v>34837</c:v>
                </c:pt>
                <c:pt idx="1439">
                  <c:v>34838</c:v>
                </c:pt>
                <c:pt idx="1440">
                  <c:v>34841</c:v>
                </c:pt>
                <c:pt idx="1441">
                  <c:v>34842</c:v>
                </c:pt>
                <c:pt idx="1442">
                  <c:v>34843</c:v>
                </c:pt>
                <c:pt idx="1443">
                  <c:v>34844</c:v>
                </c:pt>
                <c:pt idx="1444">
                  <c:v>34845</c:v>
                </c:pt>
                <c:pt idx="1445">
                  <c:v>34849</c:v>
                </c:pt>
                <c:pt idx="1446">
                  <c:v>34850</c:v>
                </c:pt>
                <c:pt idx="1447">
                  <c:v>34851</c:v>
                </c:pt>
                <c:pt idx="1448">
                  <c:v>34852</c:v>
                </c:pt>
                <c:pt idx="1449">
                  <c:v>34855</c:v>
                </c:pt>
                <c:pt idx="1450">
                  <c:v>34856</c:v>
                </c:pt>
                <c:pt idx="1451">
                  <c:v>34857</c:v>
                </c:pt>
                <c:pt idx="1452">
                  <c:v>34858</c:v>
                </c:pt>
                <c:pt idx="1453">
                  <c:v>34859</c:v>
                </c:pt>
                <c:pt idx="1454">
                  <c:v>34862</c:v>
                </c:pt>
                <c:pt idx="1455">
                  <c:v>34863</c:v>
                </c:pt>
                <c:pt idx="1456">
                  <c:v>34864</c:v>
                </c:pt>
                <c:pt idx="1457">
                  <c:v>34865</c:v>
                </c:pt>
                <c:pt idx="1458">
                  <c:v>34866</c:v>
                </c:pt>
                <c:pt idx="1459">
                  <c:v>34869</c:v>
                </c:pt>
                <c:pt idx="1460">
                  <c:v>34870</c:v>
                </c:pt>
                <c:pt idx="1461">
                  <c:v>34871</c:v>
                </c:pt>
                <c:pt idx="1462">
                  <c:v>34872</c:v>
                </c:pt>
                <c:pt idx="1463">
                  <c:v>34873</c:v>
                </c:pt>
                <c:pt idx="1464">
                  <c:v>34876</c:v>
                </c:pt>
                <c:pt idx="1465">
                  <c:v>34877</c:v>
                </c:pt>
                <c:pt idx="1466">
                  <c:v>34878</c:v>
                </c:pt>
                <c:pt idx="1467">
                  <c:v>34879</c:v>
                </c:pt>
                <c:pt idx="1468">
                  <c:v>34880</c:v>
                </c:pt>
                <c:pt idx="1469">
                  <c:v>34883</c:v>
                </c:pt>
                <c:pt idx="1470">
                  <c:v>34885</c:v>
                </c:pt>
                <c:pt idx="1471">
                  <c:v>34886</c:v>
                </c:pt>
                <c:pt idx="1472">
                  <c:v>34887</c:v>
                </c:pt>
                <c:pt idx="1473">
                  <c:v>34890</c:v>
                </c:pt>
                <c:pt idx="1474">
                  <c:v>34891</c:v>
                </c:pt>
                <c:pt idx="1475">
                  <c:v>34892</c:v>
                </c:pt>
                <c:pt idx="1476">
                  <c:v>34893</c:v>
                </c:pt>
                <c:pt idx="1477">
                  <c:v>34894</c:v>
                </c:pt>
                <c:pt idx="1478">
                  <c:v>34897</c:v>
                </c:pt>
                <c:pt idx="1479">
                  <c:v>34898</c:v>
                </c:pt>
                <c:pt idx="1480">
                  <c:v>34899</c:v>
                </c:pt>
                <c:pt idx="1481">
                  <c:v>34900</c:v>
                </c:pt>
                <c:pt idx="1482">
                  <c:v>34901</c:v>
                </c:pt>
                <c:pt idx="1483">
                  <c:v>34904</c:v>
                </c:pt>
                <c:pt idx="1484">
                  <c:v>34905</c:v>
                </c:pt>
                <c:pt idx="1485">
                  <c:v>34906</c:v>
                </c:pt>
                <c:pt idx="1486">
                  <c:v>34907</c:v>
                </c:pt>
                <c:pt idx="1487">
                  <c:v>34908</c:v>
                </c:pt>
                <c:pt idx="1488">
                  <c:v>34911</c:v>
                </c:pt>
                <c:pt idx="1489">
                  <c:v>34912</c:v>
                </c:pt>
                <c:pt idx="1490">
                  <c:v>34913</c:v>
                </c:pt>
                <c:pt idx="1491">
                  <c:v>34914</c:v>
                </c:pt>
                <c:pt idx="1492">
                  <c:v>34915</c:v>
                </c:pt>
                <c:pt idx="1493">
                  <c:v>34918</c:v>
                </c:pt>
                <c:pt idx="1494">
                  <c:v>34919</c:v>
                </c:pt>
                <c:pt idx="1495">
                  <c:v>34920</c:v>
                </c:pt>
                <c:pt idx="1496">
                  <c:v>34921</c:v>
                </c:pt>
                <c:pt idx="1497">
                  <c:v>34922</c:v>
                </c:pt>
                <c:pt idx="1498">
                  <c:v>34925</c:v>
                </c:pt>
                <c:pt idx="1499">
                  <c:v>34926</c:v>
                </c:pt>
                <c:pt idx="1500">
                  <c:v>34927</c:v>
                </c:pt>
                <c:pt idx="1501">
                  <c:v>34928</c:v>
                </c:pt>
                <c:pt idx="1502">
                  <c:v>34929</c:v>
                </c:pt>
                <c:pt idx="1503">
                  <c:v>34932</c:v>
                </c:pt>
                <c:pt idx="1504">
                  <c:v>34933</c:v>
                </c:pt>
                <c:pt idx="1505">
                  <c:v>34934</c:v>
                </c:pt>
                <c:pt idx="1506">
                  <c:v>34935</c:v>
                </c:pt>
                <c:pt idx="1507">
                  <c:v>34936</c:v>
                </c:pt>
                <c:pt idx="1508">
                  <c:v>34939</c:v>
                </c:pt>
                <c:pt idx="1509">
                  <c:v>34940</c:v>
                </c:pt>
                <c:pt idx="1510">
                  <c:v>34941</c:v>
                </c:pt>
                <c:pt idx="1511">
                  <c:v>34942</c:v>
                </c:pt>
                <c:pt idx="1512">
                  <c:v>34943</c:v>
                </c:pt>
                <c:pt idx="1513">
                  <c:v>34947</c:v>
                </c:pt>
                <c:pt idx="1514">
                  <c:v>34948</c:v>
                </c:pt>
                <c:pt idx="1515">
                  <c:v>34949</c:v>
                </c:pt>
                <c:pt idx="1516">
                  <c:v>34950</c:v>
                </c:pt>
                <c:pt idx="1517">
                  <c:v>34953</c:v>
                </c:pt>
                <c:pt idx="1518">
                  <c:v>34954</c:v>
                </c:pt>
                <c:pt idx="1519">
                  <c:v>34955</c:v>
                </c:pt>
                <c:pt idx="1520">
                  <c:v>34956</c:v>
                </c:pt>
                <c:pt idx="1521">
                  <c:v>34957</c:v>
                </c:pt>
                <c:pt idx="1522">
                  <c:v>34960</c:v>
                </c:pt>
                <c:pt idx="1523">
                  <c:v>34961</c:v>
                </c:pt>
                <c:pt idx="1524">
                  <c:v>34962</c:v>
                </c:pt>
                <c:pt idx="1525">
                  <c:v>34963</c:v>
                </c:pt>
                <c:pt idx="1526">
                  <c:v>34964</c:v>
                </c:pt>
                <c:pt idx="1527">
                  <c:v>34967</c:v>
                </c:pt>
                <c:pt idx="1528">
                  <c:v>34968</c:v>
                </c:pt>
                <c:pt idx="1529">
                  <c:v>34969</c:v>
                </c:pt>
                <c:pt idx="1530">
                  <c:v>34970</c:v>
                </c:pt>
                <c:pt idx="1531">
                  <c:v>34971</c:v>
                </c:pt>
                <c:pt idx="1532">
                  <c:v>34974</c:v>
                </c:pt>
                <c:pt idx="1533">
                  <c:v>34975</c:v>
                </c:pt>
                <c:pt idx="1534">
                  <c:v>34976</c:v>
                </c:pt>
                <c:pt idx="1535">
                  <c:v>34977</c:v>
                </c:pt>
                <c:pt idx="1536">
                  <c:v>34978</c:v>
                </c:pt>
                <c:pt idx="1537">
                  <c:v>34981</c:v>
                </c:pt>
                <c:pt idx="1538">
                  <c:v>34982</c:v>
                </c:pt>
                <c:pt idx="1539">
                  <c:v>34983</c:v>
                </c:pt>
                <c:pt idx="1540">
                  <c:v>34984</c:v>
                </c:pt>
                <c:pt idx="1541">
                  <c:v>34985</c:v>
                </c:pt>
                <c:pt idx="1542">
                  <c:v>34988</c:v>
                </c:pt>
                <c:pt idx="1543">
                  <c:v>34989</c:v>
                </c:pt>
                <c:pt idx="1544">
                  <c:v>34990</c:v>
                </c:pt>
                <c:pt idx="1545">
                  <c:v>34991</c:v>
                </c:pt>
                <c:pt idx="1546">
                  <c:v>34992</c:v>
                </c:pt>
                <c:pt idx="1547">
                  <c:v>34995</c:v>
                </c:pt>
                <c:pt idx="1548">
                  <c:v>34996</c:v>
                </c:pt>
                <c:pt idx="1549">
                  <c:v>34997</c:v>
                </c:pt>
                <c:pt idx="1550">
                  <c:v>34998</c:v>
                </c:pt>
                <c:pt idx="1551">
                  <c:v>34999</c:v>
                </c:pt>
                <c:pt idx="1552">
                  <c:v>35002</c:v>
                </c:pt>
                <c:pt idx="1553">
                  <c:v>35003</c:v>
                </c:pt>
                <c:pt idx="1554">
                  <c:v>35004</c:v>
                </c:pt>
                <c:pt idx="1555">
                  <c:v>35005</c:v>
                </c:pt>
                <c:pt idx="1556">
                  <c:v>35006</c:v>
                </c:pt>
                <c:pt idx="1557">
                  <c:v>35009</c:v>
                </c:pt>
                <c:pt idx="1558">
                  <c:v>35010</c:v>
                </c:pt>
                <c:pt idx="1559">
                  <c:v>35011</c:v>
                </c:pt>
                <c:pt idx="1560">
                  <c:v>35012</c:v>
                </c:pt>
                <c:pt idx="1561">
                  <c:v>35013</c:v>
                </c:pt>
                <c:pt idx="1562">
                  <c:v>35016</c:v>
                </c:pt>
                <c:pt idx="1563">
                  <c:v>35017</c:v>
                </c:pt>
                <c:pt idx="1564">
                  <c:v>35018</c:v>
                </c:pt>
                <c:pt idx="1565">
                  <c:v>35019</c:v>
                </c:pt>
                <c:pt idx="1566">
                  <c:v>35020</c:v>
                </c:pt>
                <c:pt idx="1567">
                  <c:v>35023</c:v>
                </c:pt>
                <c:pt idx="1568">
                  <c:v>35024</c:v>
                </c:pt>
                <c:pt idx="1569">
                  <c:v>35025</c:v>
                </c:pt>
                <c:pt idx="1570">
                  <c:v>35027</c:v>
                </c:pt>
                <c:pt idx="1571">
                  <c:v>35030</c:v>
                </c:pt>
                <c:pt idx="1572">
                  <c:v>35031</c:v>
                </c:pt>
                <c:pt idx="1573">
                  <c:v>35032</c:v>
                </c:pt>
                <c:pt idx="1574">
                  <c:v>35033</c:v>
                </c:pt>
                <c:pt idx="1575">
                  <c:v>35034</c:v>
                </c:pt>
                <c:pt idx="1576">
                  <c:v>35037</c:v>
                </c:pt>
                <c:pt idx="1577">
                  <c:v>35038</c:v>
                </c:pt>
                <c:pt idx="1578">
                  <c:v>35039</c:v>
                </c:pt>
                <c:pt idx="1579">
                  <c:v>35040</c:v>
                </c:pt>
                <c:pt idx="1580">
                  <c:v>35041</c:v>
                </c:pt>
                <c:pt idx="1581">
                  <c:v>35044</c:v>
                </c:pt>
                <c:pt idx="1582">
                  <c:v>35045</c:v>
                </c:pt>
                <c:pt idx="1583">
                  <c:v>35046</c:v>
                </c:pt>
                <c:pt idx="1584">
                  <c:v>35047</c:v>
                </c:pt>
                <c:pt idx="1585">
                  <c:v>35048</c:v>
                </c:pt>
                <c:pt idx="1586">
                  <c:v>35051</c:v>
                </c:pt>
                <c:pt idx="1587">
                  <c:v>35052</c:v>
                </c:pt>
                <c:pt idx="1588">
                  <c:v>35053</c:v>
                </c:pt>
                <c:pt idx="1589">
                  <c:v>35054</c:v>
                </c:pt>
                <c:pt idx="1590">
                  <c:v>35055</c:v>
                </c:pt>
                <c:pt idx="1591">
                  <c:v>35059</c:v>
                </c:pt>
                <c:pt idx="1592">
                  <c:v>35060</c:v>
                </c:pt>
                <c:pt idx="1593">
                  <c:v>35061</c:v>
                </c:pt>
                <c:pt idx="1594">
                  <c:v>35062</c:v>
                </c:pt>
                <c:pt idx="1595">
                  <c:v>35066</c:v>
                </c:pt>
                <c:pt idx="1596">
                  <c:v>35067</c:v>
                </c:pt>
                <c:pt idx="1597">
                  <c:v>35068</c:v>
                </c:pt>
                <c:pt idx="1598">
                  <c:v>35069</c:v>
                </c:pt>
                <c:pt idx="1599">
                  <c:v>35072</c:v>
                </c:pt>
                <c:pt idx="1600">
                  <c:v>35073</c:v>
                </c:pt>
                <c:pt idx="1601">
                  <c:v>35074</c:v>
                </c:pt>
                <c:pt idx="1602">
                  <c:v>35075</c:v>
                </c:pt>
                <c:pt idx="1603">
                  <c:v>35076</c:v>
                </c:pt>
                <c:pt idx="1604">
                  <c:v>35079</c:v>
                </c:pt>
                <c:pt idx="1605">
                  <c:v>35080</c:v>
                </c:pt>
                <c:pt idx="1606">
                  <c:v>35081</c:v>
                </c:pt>
                <c:pt idx="1607">
                  <c:v>35082</c:v>
                </c:pt>
                <c:pt idx="1608">
                  <c:v>35083</c:v>
                </c:pt>
                <c:pt idx="1609">
                  <c:v>35086</c:v>
                </c:pt>
                <c:pt idx="1610">
                  <c:v>35087</c:v>
                </c:pt>
                <c:pt idx="1611">
                  <c:v>35088</c:v>
                </c:pt>
                <c:pt idx="1612">
                  <c:v>35089</c:v>
                </c:pt>
                <c:pt idx="1613">
                  <c:v>35090</c:v>
                </c:pt>
                <c:pt idx="1614">
                  <c:v>35093</c:v>
                </c:pt>
                <c:pt idx="1615">
                  <c:v>35094</c:v>
                </c:pt>
                <c:pt idx="1616">
                  <c:v>35095</c:v>
                </c:pt>
                <c:pt idx="1617">
                  <c:v>35096</c:v>
                </c:pt>
                <c:pt idx="1618">
                  <c:v>35097</c:v>
                </c:pt>
                <c:pt idx="1619">
                  <c:v>35100</c:v>
                </c:pt>
                <c:pt idx="1620">
                  <c:v>35101</c:v>
                </c:pt>
                <c:pt idx="1621">
                  <c:v>35102</c:v>
                </c:pt>
                <c:pt idx="1622">
                  <c:v>35103</c:v>
                </c:pt>
                <c:pt idx="1623">
                  <c:v>35104</c:v>
                </c:pt>
                <c:pt idx="1624">
                  <c:v>35107</c:v>
                </c:pt>
                <c:pt idx="1625">
                  <c:v>35108</c:v>
                </c:pt>
                <c:pt idx="1626">
                  <c:v>35109</c:v>
                </c:pt>
                <c:pt idx="1627">
                  <c:v>35110</c:v>
                </c:pt>
                <c:pt idx="1628">
                  <c:v>35111</c:v>
                </c:pt>
                <c:pt idx="1629">
                  <c:v>35115</c:v>
                </c:pt>
                <c:pt idx="1630">
                  <c:v>35116</c:v>
                </c:pt>
                <c:pt idx="1631">
                  <c:v>35117</c:v>
                </c:pt>
                <c:pt idx="1632">
                  <c:v>35118</c:v>
                </c:pt>
                <c:pt idx="1633">
                  <c:v>35121</c:v>
                </c:pt>
                <c:pt idx="1634">
                  <c:v>35122</c:v>
                </c:pt>
                <c:pt idx="1635">
                  <c:v>35123</c:v>
                </c:pt>
                <c:pt idx="1636">
                  <c:v>35124</c:v>
                </c:pt>
                <c:pt idx="1637">
                  <c:v>35125</c:v>
                </c:pt>
                <c:pt idx="1638">
                  <c:v>35128</c:v>
                </c:pt>
                <c:pt idx="1639">
                  <c:v>35129</c:v>
                </c:pt>
                <c:pt idx="1640">
                  <c:v>35130</c:v>
                </c:pt>
                <c:pt idx="1641">
                  <c:v>35131</c:v>
                </c:pt>
                <c:pt idx="1642">
                  <c:v>35132</c:v>
                </c:pt>
                <c:pt idx="1643">
                  <c:v>35135</c:v>
                </c:pt>
                <c:pt idx="1644">
                  <c:v>35136</c:v>
                </c:pt>
                <c:pt idx="1645">
                  <c:v>35137</c:v>
                </c:pt>
                <c:pt idx="1646">
                  <c:v>35138</c:v>
                </c:pt>
                <c:pt idx="1647">
                  <c:v>35139</c:v>
                </c:pt>
                <c:pt idx="1648">
                  <c:v>35142</c:v>
                </c:pt>
                <c:pt idx="1649">
                  <c:v>35143</c:v>
                </c:pt>
                <c:pt idx="1650">
                  <c:v>35144</c:v>
                </c:pt>
                <c:pt idx="1651">
                  <c:v>35145</c:v>
                </c:pt>
                <c:pt idx="1652">
                  <c:v>35146</c:v>
                </c:pt>
                <c:pt idx="1653">
                  <c:v>35149</c:v>
                </c:pt>
                <c:pt idx="1654">
                  <c:v>35150</c:v>
                </c:pt>
                <c:pt idx="1655">
                  <c:v>35151</c:v>
                </c:pt>
                <c:pt idx="1656">
                  <c:v>35152</c:v>
                </c:pt>
                <c:pt idx="1657">
                  <c:v>35153</c:v>
                </c:pt>
                <c:pt idx="1658">
                  <c:v>35156</c:v>
                </c:pt>
                <c:pt idx="1659">
                  <c:v>35157</c:v>
                </c:pt>
                <c:pt idx="1660">
                  <c:v>35158</c:v>
                </c:pt>
                <c:pt idx="1661">
                  <c:v>35159</c:v>
                </c:pt>
                <c:pt idx="1662">
                  <c:v>35163</c:v>
                </c:pt>
                <c:pt idx="1663">
                  <c:v>35164</c:v>
                </c:pt>
                <c:pt idx="1664">
                  <c:v>35165</c:v>
                </c:pt>
                <c:pt idx="1665">
                  <c:v>35166</c:v>
                </c:pt>
                <c:pt idx="1666">
                  <c:v>35167</c:v>
                </c:pt>
                <c:pt idx="1667">
                  <c:v>35170</c:v>
                </c:pt>
                <c:pt idx="1668">
                  <c:v>35171</c:v>
                </c:pt>
                <c:pt idx="1669">
                  <c:v>35172</c:v>
                </c:pt>
                <c:pt idx="1670">
                  <c:v>35173</c:v>
                </c:pt>
                <c:pt idx="1671">
                  <c:v>35174</c:v>
                </c:pt>
                <c:pt idx="1672">
                  <c:v>35177</c:v>
                </c:pt>
                <c:pt idx="1673">
                  <c:v>35178</c:v>
                </c:pt>
                <c:pt idx="1674">
                  <c:v>35179</c:v>
                </c:pt>
                <c:pt idx="1675">
                  <c:v>35180</c:v>
                </c:pt>
                <c:pt idx="1676">
                  <c:v>35181</c:v>
                </c:pt>
                <c:pt idx="1677">
                  <c:v>35184</c:v>
                </c:pt>
                <c:pt idx="1678">
                  <c:v>35185</c:v>
                </c:pt>
                <c:pt idx="1679">
                  <c:v>35186</c:v>
                </c:pt>
                <c:pt idx="1680">
                  <c:v>35187</c:v>
                </c:pt>
                <c:pt idx="1681">
                  <c:v>35188</c:v>
                </c:pt>
                <c:pt idx="1682">
                  <c:v>35191</c:v>
                </c:pt>
                <c:pt idx="1683">
                  <c:v>35192</c:v>
                </c:pt>
                <c:pt idx="1684">
                  <c:v>35193</c:v>
                </c:pt>
                <c:pt idx="1685">
                  <c:v>35194</c:v>
                </c:pt>
                <c:pt idx="1686">
                  <c:v>35195</c:v>
                </c:pt>
                <c:pt idx="1687">
                  <c:v>35198</c:v>
                </c:pt>
                <c:pt idx="1688">
                  <c:v>35199</c:v>
                </c:pt>
                <c:pt idx="1689">
                  <c:v>35200</c:v>
                </c:pt>
                <c:pt idx="1690">
                  <c:v>35201</c:v>
                </c:pt>
                <c:pt idx="1691">
                  <c:v>35202</c:v>
                </c:pt>
                <c:pt idx="1692">
                  <c:v>35205</c:v>
                </c:pt>
                <c:pt idx="1693">
                  <c:v>35206</c:v>
                </c:pt>
                <c:pt idx="1694">
                  <c:v>35207</c:v>
                </c:pt>
                <c:pt idx="1695">
                  <c:v>35208</c:v>
                </c:pt>
                <c:pt idx="1696">
                  <c:v>35209</c:v>
                </c:pt>
                <c:pt idx="1697">
                  <c:v>35213</c:v>
                </c:pt>
                <c:pt idx="1698">
                  <c:v>35214</c:v>
                </c:pt>
                <c:pt idx="1699">
                  <c:v>35215</c:v>
                </c:pt>
                <c:pt idx="1700">
                  <c:v>35216</c:v>
                </c:pt>
                <c:pt idx="1701">
                  <c:v>35219</c:v>
                </c:pt>
                <c:pt idx="1702">
                  <c:v>35220</c:v>
                </c:pt>
                <c:pt idx="1703">
                  <c:v>35221</c:v>
                </c:pt>
                <c:pt idx="1704">
                  <c:v>35222</c:v>
                </c:pt>
                <c:pt idx="1705">
                  <c:v>35223</c:v>
                </c:pt>
                <c:pt idx="1706">
                  <c:v>35226</c:v>
                </c:pt>
                <c:pt idx="1707">
                  <c:v>35227</c:v>
                </c:pt>
                <c:pt idx="1708">
                  <c:v>35228</c:v>
                </c:pt>
                <c:pt idx="1709">
                  <c:v>35229</c:v>
                </c:pt>
                <c:pt idx="1710">
                  <c:v>35230</c:v>
                </c:pt>
                <c:pt idx="1711">
                  <c:v>35233</c:v>
                </c:pt>
                <c:pt idx="1712">
                  <c:v>35234</c:v>
                </c:pt>
                <c:pt idx="1713">
                  <c:v>35235</c:v>
                </c:pt>
                <c:pt idx="1714">
                  <c:v>35236</c:v>
                </c:pt>
                <c:pt idx="1715">
                  <c:v>35237</c:v>
                </c:pt>
                <c:pt idx="1716">
                  <c:v>35240</c:v>
                </c:pt>
                <c:pt idx="1717">
                  <c:v>35241</c:v>
                </c:pt>
                <c:pt idx="1718">
                  <c:v>35242</c:v>
                </c:pt>
                <c:pt idx="1719">
                  <c:v>35243</c:v>
                </c:pt>
                <c:pt idx="1720">
                  <c:v>35244</c:v>
                </c:pt>
                <c:pt idx="1721">
                  <c:v>35247</c:v>
                </c:pt>
                <c:pt idx="1722">
                  <c:v>35248</c:v>
                </c:pt>
                <c:pt idx="1723">
                  <c:v>35249</c:v>
                </c:pt>
                <c:pt idx="1724">
                  <c:v>35251</c:v>
                </c:pt>
                <c:pt idx="1725">
                  <c:v>35254</c:v>
                </c:pt>
                <c:pt idx="1726">
                  <c:v>35255</c:v>
                </c:pt>
                <c:pt idx="1727">
                  <c:v>35256</c:v>
                </c:pt>
                <c:pt idx="1728">
                  <c:v>35257</c:v>
                </c:pt>
                <c:pt idx="1729">
                  <c:v>35258</c:v>
                </c:pt>
                <c:pt idx="1730">
                  <c:v>35261</c:v>
                </c:pt>
                <c:pt idx="1731">
                  <c:v>35262</c:v>
                </c:pt>
                <c:pt idx="1732">
                  <c:v>35263</c:v>
                </c:pt>
                <c:pt idx="1733">
                  <c:v>35264</c:v>
                </c:pt>
                <c:pt idx="1734">
                  <c:v>35265</c:v>
                </c:pt>
                <c:pt idx="1735">
                  <c:v>35268</c:v>
                </c:pt>
                <c:pt idx="1736">
                  <c:v>35269</c:v>
                </c:pt>
                <c:pt idx="1737">
                  <c:v>35270</c:v>
                </c:pt>
                <c:pt idx="1738">
                  <c:v>35271</c:v>
                </c:pt>
                <c:pt idx="1739">
                  <c:v>35272</c:v>
                </c:pt>
                <c:pt idx="1740">
                  <c:v>35275</c:v>
                </c:pt>
                <c:pt idx="1741">
                  <c:v>35276</c:v>
                </c:pt>
                <c:pt idx="1742">
                  <c:v>35277</c:v>
                </c:pt>
                <c:pt idx="1743">
                  <c:v>35278</c:v>
                </c:pt>
                <c:pt idx="1744">
                  <c:v>35279</c:v>
                </c:pt>
                <c:pt idx="1745">
                  <c:v>35282</c:v>
                </c:pt>
                <c:pt idx="1746">
                  <c:v>35283</c:v>
                </c:pt>
                <c:pt idx="1747">
                  <c:v>35284</c:v>
                </c:pt>
                <c:pt idx="1748">
                  <c:v>35285</c:v>
                </c:pt>
                <c:pt idx="1749">
                  <c:v>35286</c:v>
                </c:pt>
                <c:pt idx="1750">
                  <c:v>35289</c:v>
                </c:pt>
                <c:pt idx="1751">
                  <c:v>35290</c:v>
                </c:pt>
                <c:pt idx="1752">
                  <c:v>35291</c:v>
                </c:pt>
                <c:pt idx="1753">
                  <c:v>35292</c:v>
                </c:pt>
                <c:pt idx="1754">
                  <c:v>35293</c:v>
                </c:pt>
                <c:pt idx="1755">
                  <c:v>35296</c:v>
                </c:pt>
                <c:pt idx="1756">
                  <c:v>35297</c:v>
                </c:pt>
                <c:pt idx="1757">
                  <c:v>35298</c:v>
                </c:pt>
                <c:pt idx="1758">
                  <c:v>35299</c:v>
                </c:pt>
                <c:pt idx="1759">
                  <c:v>35300</c:v>
                </c:pt>
                <c:pt idx="1760">
                  <c:v>35303</c:v>
                </c:pt>
                <c:pt idx="1761">
                  <c:v>35304</c:v>
                </c:pt>
                <c:pt idx="1762">
                  <c:v>35305</c:v>
                </c:pt>
                <c:pt idx="1763">
                  <c:v>35306</c:v>
                </c:pt>
                <c:pt idx="1764">
                  <c:v>35307</c:v>
                </c:pt>
                <c:pt idx="1765">
                  <c:v>35311</c:v>
                </c:pt>
                <c:pt idx="1766">
                  <c:v>35312</c:v>
                </c:pt>
                <c:pt idx="1767">
                  <c:v>35313</c:v>
                </c:pt>
                <c:pt idx="1768">
                  <c:v>35314</c:v>
                </c:pt>
                <c:pt idx="1769">
                  <c:v>35317</c:v>
                </c:pt>
                <c:pt idx="1770">
                  <c:v>35318</c:v>
                </c:pt>
                <c:pt idx="1771">
                  <c:v>35319</c:v>
                </c:pt>
                <c:pt idx="1772">
                  <c:v>35320</c:v>
                </c:pt>
                <c:pt idx="1773">
                  <c:v>35321</c:v>
                </c:pt>
                <c:pt idx="1774">
                  <c:v>35324</c:v>
                </c:pt>
                <c:pt idx="1775">
                  <c:v>35325</c:v>
                </c:pt>
                <c:pt idx="1776">
                  <c:v>35326</c:v>
                </c:pt>
                <c:pt idx="1777">
                  <c:v>35327</c:v>
                </c:pt>
                <c:pt idx="1778">
                  <c:v>35328</c:v>
                </c:pt>
                <c:pt idx="1779">
                  <c:v>35331</c:v>
                </c:pt>
                <c:pt idx="1780">
                  <c:v>35332</c:v>
                </c:pt>
                <c:pt idx="1781">
                  <c:v>35333</c:v>
                </c:pt>
                <c:pt idx="1782">
                  <c:v>35334</c:v>
                </c:pt>
                <c:pt idx="1783">
                  <c:v>35335</c:v>
                </c:pt>
                <c:pt idx="1784">
                  <c:v>35338</c:v>
                </c:pt>
                <c:pt idx="1785">
                  <c:v>35339</c:v>
                </c:pt>
                <c:pt idx="1786">
                  <c:v>35340</c:v>
                </c:pt>
                <c:pt idx="1787">
                  <c:v>35341</c:v>
                </c:pt>
                <c:pt idx="1788">
                  <c:v>35342</c:v>
                </c:pt>
                <c:pt idx="1789">
                  <c:v>35345</c:v>
                </c:pt>
                <c:pt idx="1790">
                  <c:v>35346</c:v>
                </c:pt>
                <c:pt idx="1791">
                  <c:v>35347</c:v>
                </c:pt>
                <c:pt idx="1792">
                  <c:v>35348</c:v>
                </c:pt>
                <c:pt idx="1793">
                  <c:v>35349</c:v>
                </c:pt>
                <c:pt idx="1794">
                  <c:v>35352</c:v>
                </c:pt>
                <c:pt idx="1795">
                  <c:v>35353</c:v>
                </c:pt>
                <c:pt idx="1796">
                  <c:v>35354</c:v>
                </c:pt>
                <c:pt idx="1797">
                  <c:v>35355</c:v>
                </c:pt>
                <c:pt idx="1798">
                  <c:v>35356</c:v>
                </c:pt>
                <c:pt idx="1799">
                  <c:v>35359</c:v>
                </c:pt>
                <c:pt idx="1800">
                  <c:v>35360</c:v>
                </c:pt>
                <c:pt idx="1801">
                  <c:v>35361</c:v>
                </c:pt>
                <c:pt idx="1802">
                  <c:v>35362</c:v>
                </c:pt>
                <c:pt idx="1803">
                  <c:v>35363</c:v>
                </c:pt>
                <c:pt idx="1804">
                  <c:v>35366</c:v>
                </c:pt>
                <c:pt idx="1805">
                  <c:v>35367</c:v>
                </c:pt>
                <c:pt idx="1806">
                  <c:v>35368</c:v>
                </c:pt>
                <c:pt idx="1807">
                  <c:v>35369</c:v>
                </c:pt>
                <c:pt idx="1808">
                  <c:v>35370</c:v>
                </c:pt>
                <c:pt idx="1809">
                  <c:v>35373</c:v>
                </c:pt>
                <c:pt idx="1810">
                  <c:v>35374</c:v>
                </c:pt>
                <c:pt idx="1811">
                  <c:v>35375</c:v>
                </c:pt>
                <c:pt idx="1812">
                  <c:v>35376</c:v>
                </c:pt>
                <c:pt idx="1813">
                  <c:v>35377</c:v>
                </c:pt>
                <c:pt idx="1814">
                  <c:v>35380</c:v>
                </c:pt>
                <c:pt idx="1815">
                  <c:v>35381</c:v>
                </c:pt>
                <c:pt idx="1816">
                  <c:v>35382</c:v>
                </c:pt>
                <c:pt idx="1817">
                  <c:v>35383</c:v>
                </c:pt>
                <c:pt idx="1818">
                  <c:v>35384</c:v>
                </c:pt>
                <c:pt idx="1819">
                  <c:v>35387</c:v>
                </c:pt>
                <c:pt idx="1820">
                  <c:v>35388</c:v>
                </c:pt>
                <c:pt idx="1821">
                  <c:v>35389</c:v>
                </c:pt>
                <c:pt idx="1822">
                  <c:v>35390</c:v>
                </c:pt>
                <c:pt idx="1823">
                  <c:v>35391</c:v>
                </c:pt>
                <c:pt idx="1824">
                  <c:v>35394</c:v>
                </c:pt>
                <c:pt idx="1825">
                  <c:v>35395</c:v>
                </c:pt>
                <c:pt idx="1826">
                  <c:v>35396</c:v>
                </c:pt>
                <c:pt idx="1827">
                  <c:v>35398</c:v>
                </c:pt>
                <c:pt idx="1828">
                  <c:v>35401</c:v>
                </c:pt>
                <c:pt idx="1829">
                  <c:v>35402</c:v>
                </c:pt>
                <c:pt idx="1830">
                  <c:v>35403</c:v>
                </c:pt>
                <c:pt idx="1831">
                  <c:v>35404</c:v>
                </c:pt>
                <c:pt idx="1832">
                  <c:v>35405</c:v>
                </c:pt>
                <c:pt idx="1833">
                  <c:v>35408</c:v>
                </c:pt>
                <c:pt idx="1834">
                  <c:v>35409</c:v>
                </c:pt>
                <c:pt idx="1835">
                  <c:v>35410</c:v>
                </c:pt>
                <c:pt idx="1836">
                  <c:v>35411</c:v>
                </c:pt>
                <c:pt idx="1837">
                  <c:v>35412</c:v>
                </c:pt>
                <c:pt idx="1838">
                  <c:v>35415</c:v>
                </c:pt>
                <c:pt idx="1839">
                  <c:v>35416</c:v>
                </c:pt>
                <c:pt idx="1840">
                  <c:v>35417</c:v>
                </c:pt>
                <c:pt idx="1841">
                  <c:v>35418</c:v>
                </c:pt>
                <c:pt idx="1842">
                  <c:v>35419</c:v>
                </c:pt>
                <c:pt idx="1843">
                  <c:v>35422</c:v>
                </c:pt>
                <c:pt idx="1844">
                  <c:v>35423</c:v>
                </c:pt>
                <c:pt idx="1845">
                  <c:v>35425</c:v>
                </c:pt>
                <c:pt idx="1846">
                  <c:v>35426</c:v>
                </c:pt>
                <c:pt idx="1847">
                  <c:v>35429</c:v>
                </c:pt>
                <c:pt idx="1848">
                  <c:v>35430</c:v>
                </c:pt>
                <c:pt idx="1849">
                  <c:v>35432</c:v>
                </c:pt>
                <c:pt idx="1850">
                  <c:v>35433</c:v>
                </c:pt>
                <c:pt idx="1851">
                  <c:v>35436</c:v>
                </c:pt>
                <c:pt idx="1852">
                  <c:v>35437</c:v>
                </c:pt>
                <c:pt idx="1853">
                  <c:v>35438</c:v>
                </c:pt>
                <c:pt idx="1854">
                  <c:v>35439</c:v>
                </c:pt>
                <c:pt idx="1855">
                  <c:v>35440</c:v>
                </c:pt>
                <c:pt idx="1856">
                  <c:v>35443</c:v>
                </c:pt>
                <c:pt idx="1857">
                  <c:v>35444</c:v>
                </c:pt>
                <c:pt idx="1858">
                  <c:v>35445</c:v>
                </c:pt>
                <c:pt idx="1859">
                  <c:v>35446</c:v>
                </c:pt>
                <c:pt idx="1860">
                  <c:v>35447</c:v>
                </c:pt>
                <c:pt idx="1861">
                  <c:v>35450</c:v>
                </c:pt>
                <c:pt idx="1862">
                  <c:v>35451</c:v>
                </c:pt>
                <c:pt idx="1863">
                  <c:v>35452</c:v>
                </c:pt>
                <c:pt idx="1864">
                  <c:v>35453</c:v>
                </c:pt>
                <c:pt idx="1865">
                  <c:v>35454</c:v>
                </c:pt>
                <c:pt idx="1866">
                  <c:v>35457</c:v>
                </c:pt>
                <c:pt idx="1867">
                  <c:v>35458</c:v>
                </c:pt>
                <c:pt idx="1868">
                  <c:v>35459</c:v>
                </c:pt>
                <c:pt idx="1869">
                  <c:v>35460</c:v>
                </c:pt>
                <c:pt idx="1870">
                  <c:v>35461</c:v>
                </c:pt>
                <c:pt idx="1871">
                  <c:v>35464</c:v>
                </c:pt>
                <c:pt idx="1872">
                  <c:v>35465</c:v>
                </c:pt>
                <c:pt idx="1873">
                  <c:v>35466</c:v>
                </c:pt>
                <c:pt idx="1874">
                  <c:v>35467</c:v>
                </c:pt>
                <c:pt idx="1875">
                  <c:v>35468</c:v>
                </c:pt>
                <c:pt idx="1876">
                  <c:v>35471</c:v>
                </c:pt>
                <c:pt idx="1877">
                  <c:v>35472</c:v>
                </c:pt>
                <c:pt idx="1878">
                  <c:v>35473</c:v>
                </c:pt>
                <c:pt idx="1879">
                  <c:v>35474</c:v>
                </c:pt>
                <c:pt idx="1880">
                  <c:v>35475</c:v>
                </c:pt>
                <c:pt idx="1881">
                  <c:v>35479</c:v>
                </c:pt>
                <c:pt idx="1882">
                  <c:v>35480</c:v>
                </c:pt>
                <c:pt idx="1883">
                  <c:v>35481</c:v>
                </c:pt>
                <c:pt idx="1884">
                  <c:v>35482</c:v>
                </c:pt>
                <c:pt idx="1885">
                  <c:v>35485</c:v>
                </c:pt>
                <c:pt idx="1886">
                  <c:v>35486</c:v>
                </c:pt>
                <c:pt idx="1887">
                  <c:v>35487</c:v>
                </c:pt>
                <c:pt idx="1888">
                  <c:v>35488</c:v>
                </c:pt>
                <c:pt idx="1889">
                  <c:v>35489</c:v>
                </c:pt>
                <c:pt idx="1890">
                  <c:v>35492</c:v>
                </c:pt>
                <c:pt idx="1891">
                  <c:v>35493</c:v>
                </c:pt>
                <c:pt idx="1892">
                  <c:v>35494</c:v>
                </c:pt>
                <c:pt idx="1893">
                  <c:v>35495</c:v>
                </c:pt>
                <c:pt idx="1894">
                  <c:v>35496</c:v>
                </c:pt>
                <c:pt idx="1895">
                  <c:v>35499</c:v>
                </c:pt>
                <c:pt idx="1896">
                  <c:v>35500</c:v>
                </c:pt>
                <c:pt idx="1897">
                  <c:v>35501</c:v>
                </c:pt>
                <c:pt idx="1898">
                  <c:v>35502</c:v>
                </c:pt>
                <c:pt idx="1899">
                  <c:v>35503</c:v>
                </c:pt>
                <c:pt idx="1900">
                  <c:v>35506</c:v>
                </c:pt>
                <c:pt idx="1901">
                  <c:v>35507</c:v>
                </c:pt>
                <c:pt idx="1902">
                  <c:v>35508</c:v>
                </c:pt>
                <c:pt idx="1903">
                  <c:v>35509</c:v>
                </c:pt>
                <c:pt idx="1904">
                  <c:v>35510</c:v>
                </c:pt>
                <c:pt idx="1905">
                  <c:v>35513</c:v>
                </c:pt>
                <c:pt idx="1906">
                  <c:v>35514</c:v>
                </c:pt>
                <c:pt idx="1907">
                  <c:v>35515</c:v>
                </c:pt>
                <c:pt idx="1908">
                  <c:v>35516</c:v>
                </c:pt>
                <c:pt idx="1909">
                  <c:v>35520</c:v>
                </c:pt>
                <c:pt idx="1910">
                  <c:v>35521</c:v>
                </c:pt>
                <c:pt idx="1911">
                  <c:v>35522</c:v>
                </c:pt>
                <c:pt idx="1912">
                  <c:v>35523</c:v>
                </c:pt>
                <c:pt idx="1913">
                  <c:v>35524</c:v>
                </c:pt>
                <c:pt idx="1914">
                  <c:v>35527</c:v>
                </c:pt>
                <c:pt idx="1915">
                  <c:v>35528</c:v>
                </c:pt>
                <c:pt idx="1916">
                  <c:v>35529</c:v>
                </c:pt>
                <c:pt idx="1917">
                  <c:v>35530</c:v>
                </c:pt>
                <c:pt idx="1918">
                  <c:v>35531</c:v>
                </c:pt>
                <c:pt idx="1919">
                  <c:v>35534</c:v>
                </c:pt>
                <c:pt idx="1920">
                  <c:v>35535</c:v>
                </c:pt>
                <c:pt idx="1921">
                  <c:v>35536</c:v>
                </c:pt>
                <c:pt idx="1922">
                  <c:v>35537</c:v>
                </c:pt>
                <c:pt idx="1923">
                  <c:v>35538</c:v>
                </c:pt>
                <c:pt idx="1924">
                  <c:v>35541</c:v>
                </c:pt>
                <c:pt idx="1925">
                  <c:v>35542</c:v>
                </c:pt>
                <c:pt idx="1926">
                  <c:v>35543</c:v>
                </c:pt>
                <c:pt idx="1927">
                  <c:v>35544</c:v>
                </c:pt>
                <c:pt idx="1928">
                  <c:v>35545</c:v>
                </c:pt>
                <c:pt idx="1929">
                  <c:v>35548</c:v>
                </c:pt>
                <c:pt idx="1930">
                  <c:v>35549</c:v>
                </c:pt>
                <c:pt idx="1931">
                  <c:v>35550</c:v>
                </c:pt>
                <c:pt idx="1932">
                  <c:v>35551</c:v>
                </c:pt>
                <c:pt idx="1933">
                  <c:v>35552</c:v>
                </c:pt>
                <c:pt idx="1934">
                  <c:v>35555</c:v>
                </c:pt>
                <c:pt idx="1935">
                  <c:v>35556</c:v>
                </c:pt>
                <c:pt idx="1936">
                  <c:v>35557</c:v>
                </c:pt>
                <c:pt idx="1937">
                  <c:v>35558</c:v>
                </c:pt>
                <c:pt idx="1938">
                  <c:v>35559</c:v>
                </c:pt>
                <c:pt idx="1939">
                  <c:v>35562</c:v>
                </c:pt>
                <c:pt idx="1940">
                  <c:v>35563</c:v>
                </c:pt>
                <c:pt idx="1941">
                  <c:v>35564</c:v>
                </c:pt>
                <c:pt idx="1942">
                  <c:v>35565</c:v>
                </c:pt>
                <c:pt idx="1943">
                  <c:v>35566</c:v>
                </c:pt>
                <c:pt idx="1944">
                  <c:v>35569</c:v>
                </c:pt>
                <c:pt idx="1945">
                  <c:v>35570</c:v>
                </c:pt>
                <c:pt idx="1946">
                  <c:v>35571</c:v>
                </c:pt>
                <c:pt idx="1947">
                  <c:v>35572</c:v>
                </c:pt>
                <c:pt idx="1948">
                  <c:v>35573</c:v>
                </c:pt>
                <c:pt idx="1949">
                  <c:v>35577</c:v>
                </c:pt>
                <c:pt idx="1950">
                  <c:v>35578</c:v>
                </c:pt>
                <c:pt idx="1951">
                  <c:v>35579</c:v>
                </c:pt>
                <c:pt idx="1952">
                  <c:v>35580</c:v>
                </c:pt>
                <c:pt idx="1953">
                  <c:v>35583</c:v>
                </c:pt>
                <c:pt idx="1954">
                  <c:v>35584</c:v>
                </c:pt>
                <c:pt idx="1955">
                  <c:v>35585</c:v>
                </c:pt>
                <c:pt idx="1956">
                  <c:v>35586</c:v>
                </c:pt>
                <c:pt idx="1957">
                  <c:v>35587</c:v>
                </c:pt>
                <c:pt idx="1958">
                  <c:v>35590</c:v>
                </c:pt>
                <c:pt idx="1959">
                  <c:v>35591</c:v>
                </c:pt>
                <c:pt idx="1960">
                  <c:v>35592</c:v>
                </c:pt>
                <c:pt idx="1961">
                  <c:v>35593</c:v>
                </c:pt>
                <c:pt idx="1962">
                  <c:v>35594</c:v>
                </c:pt>
                <c:pt idx="1963">
                  <c:v>35597</c:v>
                </c:pt>
                <c:pt idx="1964">
                  <c:v>35598</c:v>
                </c:pt>
                <c:pt idx="1965">
                  <c:v>35599</c:v>
                </c:pt>
                <c:pt idx="1966">
                  <c:v>35600</c:v>
                </c:pt>
                <c:pt idx="1967">
                  <c:v>35601</c:v>
                </c:pt>
                <c:pt idx="1968">
                  <c:v>35604</c:v>
                </c:pt>
                <c:pt idx="1969">
                  <c:v>35605</c:v>
                </c:pt>
                <c:pt idx="1970">
                  <c:v>35606</c:v>
                </c:pt>
                <c:pt idx="1971">
                  <c:v>35607</c:v>
                </c:pt>
                <c:pt idx="1972">
                  <c:v>35608</c:v>
                </c:pt>
                <c:pt idx="1973">
                  <c:v>35611</c:v>
                </c:pt>
                <c:pt idx="1974">
                  <c:v>35612</c:v>
                </c:pt>
                <c:pt idx="1975">
                  <c:v>35613</c:v>
                </c:pt>
                <c:pt idx="1976">
                  <c:v>35614</c:v>
                </c:pt>
                <c:pt idx="1977">
                  <c:v>35618</c:v>
                </c:pt>
                <c:pt idx="1978">
                  <c:v>35619</c:v>
                </c:pt>
                <c:pt idx="1979">
                  <c:v>35620</c:v>
                </c:pt>
                <c:pt idx="1980">
                  <c:v>35621</c:v>
                </c:pt>
                <c:pt idx="1981">
                  <c:v>35622</c:v>
                </c:pt>
                <c:pt idx="1982">
                  <c:v>35625</c:v>
                </c:pt>
                <c:pt idx="1983">
                  <c:v>35626</c:v>
                </c:pt>
                <c:pt idx="1984">
                  <c:v>35627</c:v>
                </c:pt>
                <c:pt idx="1985">
                  <c:v>35628</c:v>
                </c:pt>
                <c:pt idx="1986">
                  <c:v>35629</c:v>
                </c:pt>
                <c:pt idx="1987">
                  <c:v>35632</c:v>
                </c:pt>
                <c:pt idx="1988">
                  <c:v>35633</c:v>
                </c:pt>
                <c:pt idx="1989">
                  <c:v>35634</c:v>
                </c:pt>
                <c:pt idx="1990">
                  <c:v>35635</c:v>
                </c:pt>
                <c:pt idx="1991">
                  <c:v>35636</c:v>
                </c:pt>
                <c:pt idx="1992">
                  <c:v>35639</c:v>
                </c:pt>
                <c:pt idx="1993">
                  <c:v>35640</c:v>
                </c:pt>
                <c:pt idx="1994">
                  <c:v>35641</c:v>
                </c:pt>
                <c:pt idx="1995">
                  <c:v>35642</c:v>
                </c:pt>
                <c:pt idx="1996">
                  <c:v>35643</c:v>
                </c:pt>
                <c:pt idx="1997">
                  <c:v>35646</c:v>
                </c:pt>
                <c:pt idx="1998">
                  <c:v>35647</c:v>
                </c:pt>
                <c:pt idx="1999">
                  <c:v>35648</c:v>
                </c:pt>
                <c:pt idx="2000">
                  <c:v>35649</c:v>
                </c:pt>
                <c:pt idx="2001">
                  <c:v>35650</c:v>
                </c:pt>
                <c:pt idx="2002">
                  <c:v>35653</c:v>
                </c:pt>
                <c:pt idx="2003">
                  <c:v>35654</c:v>
                </c:pt>
                <c:pt idx="2004">
                  <c:v>35655</c:v>
                </c:pt>
                <c:pt idx="2005">
                  <c:v>35656</c:v>
                </c:pt>
                <c:pt idx="2006">
                  <c:v>35657</c:v>
                </c:pt>
                <c:pt idx="2007">
                  <c:v>35660</c:v>
                </c:pt>
                <c:pt idx="2008">
                  <c:v>35661</c:v>
                </c:pt>
                <c:pt idx="2009">
                  <c:v>35662</c:v>
                </c:pt>
                <c:pt idx="2010">
                  <c:v>35663</c:v>
                </c:pt>
                <c:pt idx="2011">
                  <c:v>35664</c:v>
                </c:pt>
                <c:pt idx="2012">
                  <c:v>35667</c:v>
                </c:pt>
                <c:pt idx="2013">
                  <c:v>35668</c:v>
                </c:pt>
                <c:pt idx="2014">
                  <c:v>35669</c:v>
                </c:pt>
                <c:pt idx="2015">
                  <c:v>35670</c:v>
                </c:pt>
                <c:pt idx="2016">
                  <c:v>35671</c:v>
                </c:pt>
                <c:pt idx="2017">
                  <c:v>35675</c:v>
                </c:pt>
                <c:pt idx="2018">
                  <c:v>35676</c:v>
                </c:pt>
                <c:pt idx="2019">
                  <c:v>35677</c:v>
                </c:pt>
                <c:pt idx="2020">
                  <c:v>35678</c:v>
                </c:pt>
                <c:pt idx="2021">
                  <c:v>35681</c:v>
                </c:pt>
                <c:pt idx="2022">
                  <c:v>35682</c:v>
                </c:pt>
                <c:pt idx="2023">
                  <c:v>35683</c:v>
                </c:pt>
                <c:pt idx="2024">
                  <c:v>35684</c:v>
                </c:pt>
                <c:pt idx="2025">
                  <c:v>35685</c:v>
                </c:pt>
                <c:pt idx="2026">
                  <c:v>35688</c:v>
                </c:pt>
                <c:pt idx="2027">
                  <c:v>35689</c:v>
                </c:pt>
                <c:pt idx="2028">
                  <c:v>35690</c:v>
                </c:pt>
                <c:pt idx="2029">
                  <c:v>35691</c:v>
                </c:pt>
                <c:pt idx="2030">
                  <c:v>35692</c:v>
                </c:pt>
                <c:pt idx="2031">
                  <c:v>35695</c:v>
                </c:pt>
                <c:pt idx="2032">
                  <c:v>35696</c:v>
                </c:pt>
                <c:pt idx="2033">
                  <c:v>35697</c:v>
                </c:pt>
                <c:pt idx="2034">
                  <c:v>35698</c:v>
                </c:pt>
                <c:pt idx="2035">
                  <c:v>35699</c:v>
                </c:pt>
                <c:pt idx="2036">
                  <c:v>35702</c:v>
                </c:pt>
                <c:pt idx="2037">
                  <c:v>35703</c:v>
                </c:pt>
                <c:pt idx="2038">
                  <c:v>35704</c:v>
                </c:pt>
                <c:pt idx="2039">
                  <c:v>35705</c:v>
                </c:pt>
                <c:pt idx="2040">
                  <c:v>35706</c:v>
                </c:pt>
                <c:pt idx="2041">
                  <c:v>35709</c:v>
                </c:pt>
                <c:pt idx="2042">
                  <c:v>35710</c:v>
                </c:pt>
                <c:pt idx="2043">
                  <c:v>35711</c:v>
                </c:pt>
                <c:pt idx="2044">
                  <c:v>35712</c:v>
                </c:pt>
                <c:pt idx="2045">
                  <c:v>35713</c:v>
                </c:pt>
                <c:pt idx="2046">
                  <c:v>35716</c:v>
                </c:pt>
                <c:pt idx="2047">
                  <c:v>35717</c:v>
                </c:pt>
                <c:pt idx="2048">
                  <c:v>35718</c:v>
                </c:pt>
                <c:pt idx="2049">
                  <c:v>35719</c:v>
                </c:pt>
                <c:pt idx="2050">
                  <c:v>35720</c:v>
                </c:pt>
                <c:pt idx="2051">
                  <c:v>35723</c:v>
                </c:pt>
                <c:pt idx="2052">
                  <c:v>35724</c:v>
                </c:pt>
                <c:pt idx="2053">
                  <c:v>35725</c:v>
                </c:pt>
                <c:pt idx="2054">
                  <c:v>35726</c:v>
                </c:pt>
                <c:pt idx="2055">
                  <c:v>35727</c:v>
                </c:pt>
                <c:pt idx="2056">
                  <c:v>35730</c:v>
                </c:pt>
                <c:pt idx="2057">
                  <c:v>35731</c:v>
                </c:pt>
                <c:pt idx="2058">
                  <c:v>35732</c:v>
                </c:pt>
                <c:pt idx="2059">
                  <c:v>35733</c:v>
                </c:pt>
                <c:pt idx="2060">
                  <c:v>35734</c:v>
                </c:pt>
                <c:pt idx="2061">
                  <c:v>35737</c:v>
                </c:pt>
                <c:pt idx="2062">
                  <c:v>35738</c:v>
                </c:pt>
                <c:pt idx="2063">
                  <c:v>35739</c:v>
                </c:pt>
                <c:pt idx="2064">
                  <c:v>35740</c:v>
                </c:pt>
                <c:pt idx="2065">
                  <c:v>35741</c:v>
                </c:pt>
                <c:pt idx="2066">
                  <c:v>35744</c:v>
                </c:pt>
                <c:pt idx="2067">
                  <c:v>35745</c:v>
                </c:pt>
                <c:pt idx="2068">
                  <c:v>35746</c:v>
                </c:pt>
                <c:pt idx="2069">
                  <c:v>35747</c:v>
                </c:pt>
                <c:pt idx="2070">
                  <c:v>35748</c:v>
                </c:pt>
                <c:pt idx="2071">
                  <c:v>35751</c:v>
                </c:pt>
                <c:pt idx="2072">
                  <c:v>35752</c:v>
                </c:pt>
                <c:pt idx="2073">
                  <c:v>35753</c:v>
                </c:pt>
                <c:pt idx="2074">
                  <c:v>35754</c:v>
                </c:pt>
                <c:pt idx="2075">
                  <c:v>35755</c:v>
                </c:pt>
                <c:pt idx="2076">
                  <c:v>35758</c:v>
                </c:pt>
                <c:pt idx="2077">
                  <c:v>35759</c:v>
                </c:pt>
                <c:pt idx="2078">
                  <c:v>35760</c:v>
                </c:pt>
                <c:pt idx="2079">
                  <c:v>35762</c:v>
                </c:pt>
                <c:pt idx="2080">
                  <c:v>35765</c:v>
                </c:pt>
                <c:pt idx="2081">
                  <c:v>35766</c:v>
                </c:pt>
                <c:pt idx="2082">
                  <c:v>35767</c:v>
                </c:pt>
                <c:pt idx="2083">
                  <c:v>35768</c:v>
                </c:pt>
                <c:pt idx="2084">
                  <c:v>35769</c:v>
                </c:pt>
                <c:pt idx="2085">
                  <c:v>35772</c:v>
                </c:pt>
                <c:pt idx="2086">
                  <c:v>35773</c:v>
                </c:pt>
                <c:pt idx="2087">
                  <c:v>35774</c:v>
                </c:pt>
                <c:pt idx="2088">
                  <c:v>35775</c:v>
                </c:pt>
                <c:pt idx="2089">
                  <c:v>35776</c:v>
                </c:pt>
                <c:pt idx="2090">
                  <c:v>35779</c:v>
                </c:pt>
                <c:pt idx="2091">
                  <c:v>35780</c:v>
                </c:pt>
                <c:pt idx="2092">
                  <c:v>35781</c:v>
                </c:pt>
                <c:pt idx="2093">
                  <c:v>35782</c:v>
                </c:pt>
                <c:pt idx="2094">
                  <c:v>35783</c:v>
                </c:pt>
                <c:pt idx="2095">
                  <c:v>35786</c:v>
                </c:pt>
                <c:pt idx="2096">
                  <c:v>35787</c:v>
                </c:pt>
                <c:pt idx="2097">
                  <c:v>35788</c:v>
                </c:pt>
                <c:pt idx="2098">
                  <c:v>35790</c:v>
                </c:pt>
                <c:pt idx="2099">
                  <c:v>35793</c:v>
                </c:pt>
                <c:pt idx="2100">
                  <c:v>35794</c:v>
                </c:pt>
                <c:pt idx="2101">
                  <c:v>35795</c:v>
                </c:pt>
                <c:pt idx="2102">
                  <c:v>35797</c:v>
                </c:pt>
                <c:pt idx="2103">
                  <c:v>35800</c:v>
                </c:pt>
                <c:pt idx="2104">
                  <c:v>35801</c:v>
                </c:pt>
                <c:pt idx="2105">
                  <c:v>35802</c:v>
                </c:pt>
                <c:pt idx="2106">
                  <c:v>35803</c:v>
                </c:pt>
                <c:pt idx="2107">
                  <c:v>35804</c:v>
                </c:pt>
                <c:pt idx="2108">
                  <c:v>35807</c:v>
                </c:pt>
                <c:pt idx="2109">
                  <c:v>35808</c:v>
                </c:pt>
                <c:pt idx="2110">
                  <c:v>35809</c:v>
                </c:pt>
                <c:pt idx="2111">
                  <c:v>35810</c:v>
                </c:pt>
                <c:pt idx="2112">
                  <c:v>35811</c:v>
                </c:pt>
                <c:pt idx="2113">
                  <c:v>35815</c:v>
                </c:pt>
                <c:pt idx="2114">
                  <c:v>35816</c:v>
                </c:pt>
                <c:pt idx="2115">
                  <c:v>35817</c:v>
                </c:pt>
                <c:pt idx="2116">
                  <c:v>35818</c:v>
                </c:pt>
                <c:pt idx="2117">
                  <c:v>35821</c:v>
                </c:pt>
                <c:pt idx="2118">
                  <c:v>35822</c:v>
                </c:pt>
                <c:pt idx="2119">
                  <c:v>35823</c:v>
                </c:pt>
                <c:pt idx="2120">
                  <c:v>35824</c:v>
                </c:pt>
                <c:pt idx="2121">
                  <c:v>35825</c:v>
                </c:pt>
                <c:pt idx="2122">
                  <c:v>35828</c:v>
                </c:pt>
                <c:pt idx="2123">
                  <c:v>35829</c:v>
                </c:pt>
                <c:pt idx="2124">
                  <c:v>35830</c:v>
                </c:pt>
                <c:pt idx="2125">
                  <c:v>35831</c:v>
                </c:pt>
                <c:pt idx="2126">
                  <c:v>35832</c:v>
                </c:pt>
                <c:pt idx="2127">
                  <c:v>35835</c:v>
                </c:pt>
                <c:pt idx="2128">
                  <c:v>35836</c:v>
                </c:pt>
                <c:pt idx="2129">
                  <c:v>35837</c:v>
                </c:pt>
                <c:pt idx="2130">
                  <c:v>35838</c:v>
                </c:pt>
                <c:pt idx="2131">
                  <c:v>35839</c:v>
                </c:pt>
                <c:pt idx="2132">
                  <c:v>35843</c:v>
                </c:pt>
                <c:pt idx="2133">
                  <c:v>35844</c:v>
                </c:pt>
                <c:pt idx="2134">
                  <c:v>35845</c:v>
                </c:pt>
                <c:pt idx="2135">
                  <c:v>35846</c:v>
                </c:pt>
                <c:pt idx="2136">
                  <c:v>35849</c:v>
                </c:pt>
                <c:pt idx="2137">
                  <c:v>35850</c:v>
                </c:pt>
                <c:pt idx="2138">
                  <c:v>35851</c:v>
                </c:pt>
                <c:pt idx="2139">
                  <c:v>35852</c:v>
                </c:pt>
                <c:pt idx="2140">
                  <c:v>35853</c:v>
                </c:pt>
                <c:pt idx="2141">
                  <c:v>35856</c:v>
                </c:pt>
                <c:pt idx="2142">
                  <c:v>35857</c:v>
                </c:pt>
                <c:pt idx="2143">
                  <c:v>35858</c:v>
                </c:pt>
                <c:pt idx="2144">
                  <c:v>35859</c:v>
                </c:pt>
                <c:pt idx="2145">
                  <c:v>35860</c:v>
                </c:pt>
                <c:pt idx="2146">
                  <c:v>35863</c:v>
                </c:pt>
                <c:pt idx="2147">
                  <c:v>35864</c:v>
                </c:pt>
                <c:pt idx="2148">
                  <c:v>35865</c:v>
                </c:pt>
                <c:pt idx="2149">
                  <c:v>35866</c:v>
                </c:pt>
                <c:pt idx="2150">
                  <c:v>35867</c:v>
                </c:pt>
                <c:pt idx="2151">
                  <c:v>35870</c:v>
                </c:pt>
                <c:pt idx="2152">
                  <c:v>35871</c:v>
                </c:pt>
                <c:pt idx="2153">
                  <c:v>35872</c:v>
                </c:pt>
                <c:pt idx="2154">
                  <c:v>35873</c:v>
                </c:pt>
                <c:pt idx="2155">
                  <c:v>35874</c:v>
                </c:pt>
                <c:pt idx="2156">
                  <c:v>35877</c:v>
                </c:pt>
                <c:pt idx="2157">
                  <c:v>35878</c:v>
                </c:pt>
                <c:pt idx="2158">
                  <c:v>35879</c:v>
                </c:pt>
                <c:pt idx="2159">
                  <c:v>35880</c:v>
                </c:pt>
                <c:pt idx="2160">
                  <c:v>35881</c:v>
                </c:pt>
                <c:pt idx="2161">
                  <c:v>35884</c:v>
                </c:pt>
                <c:pt idx="2162">
                  <c:v>35885</c:v>
                </c:pt>
                <c:pt idx="2163">
                  <c:v>35886</c:v>
                </c:pt>
                <c:pt idx="2164">
                  <c:v>35887</c:v>
                </c:pt>
                <c:pt idx="2165">
                  <c:v>35888</c:v>
                </c:pt>
                <c:pt idx="2166">
                  <c:v>35891</c:v>
                </c:pt>
                <c:pt idx="2167">
                  <c:v>35892</c:v>
                </c:pt>
                <c:pt idx="2168">
                  <c:v>35893</c:v>
                </c:pt>
                <c:pt idx="2169">
                  <c:v>35894</c:v>
                </c:pt>
                <c:pt idx="2170">
                  <c:v>35898</c:v>
                </c:pt>
                <c:pt idx="2171">
                  <c:v>35899</c:v>
                </c:pt>
                <c:pt idx="2172">
                  <c:v>35900</c:v>
                </c:pt>
                <c:pt idx="2173">
                  <c:v>35901</c:v>
                </c:pt>
                <c:pt idx="2174">
                  <c:v>35902</c:v>
                </c:pt>
                <c:pt idx="2175">
                  <c:v>35905</c:v>
                </c:pt>
                <c:pt idx="2176">
                  <c:v>35906</c:v>
                </c:pt>
                <c:pt idx="2177">
                  <c:v>35907</c:v>
                </c:pt>
                <c:pt idx="2178">
                  <c:v>35908</c:v>
                </c:pt>
                <c:pt idx="2179">
                  <c:v>35909</c:v>
                </c:pt>
                <c:pt idx="2180">
                  <c:v>35912</c:v>
                </c:pt>
                <c:pt idx="2181">
                  <c:v>35913</c:v>
                </c:pt>
                <c:pt idx="2182">
                  <c:v>35914</c:v>
                </c:pt>
                <c:pt idx="2183">
                  <c:v>35915</c:v>
                </c:pt>
                <c:pt idx="2184">
                  <c:v>35916</c:v>
                </c:pt>
                <c:pt idx="2185">
                  <c:v>35919</c:v>
                </c:pt>
                <c:pt idx="2186">
                  <c:v>35920</c:v>
                </c:pt>
                <c:pt idx="2187">
                  <c:v>35921</c:v>
                </c:pt>
                <c:pt idx="2188">
                  <c:v>35922</c:v>
                </c:pt>
                <c:pt idx="2189">
                  <c:v>35923</c:v>
                </c:pt>
                <c:pt idx="2190">
                  <c:v>35926</c:v>
                </c:pt>
                <c:pt idx="2191">
                  <c:v>35927</c:v>
                </c:pt>
                <c:pt idx="2192">
                  <c:v>35928</c:v>
                </c:pt>
                <c:pt idx="2193">
                  <c:v>35929</c:v>
                </c:pt>
                <c:pt idx="2194">
                  <c:v>35930</c:v>
                </c:pt>
                <c:pt idx="2195">
                  <c:v>35933</c:v>
                </c:pt>
                <c:pt idx="2196">
                  <c:v>35934</c:v>
                </c:pt>
                <c:pt idx="2197">
                  <c:v>35935</c:v>
                </c:pt>
                <c:pt idx="2198">
                  <c:v>35936</c:v>
                </c:pt>
                <c:pt idx="2199">
                  <c:v>35937</c:v>
                </c:pt>
                <c:pt idx="2200">
                  <c:v>35941</c:v>
                </c:pt>
                <c:pt idx="2201">
                  <c:v>35942</c:v>
                </c:pt>
                <c:pt idx="2202">
                  <c:v>35943</c:v>
                </c:pt>
                <c:pt idx="2203">
                  <c:v>35944</c:v>
                </c:pt>
                <c:pt idx="2204">
                  <c:v>35947</c:v>
                </c:pt>
                <c:pt idx="2205">
                  <c:v>35948</c:v>
                </c:pt>
                <c:pt idx="2206">
                  <c:v>35949</c:v>
                </c:pt>
                <c:pt idx="2207">
                  <c:v>35950</c:v>
                </c:pt>
                <c:pt idx="2208">
                  <c:v>35951</c:v>
                </c:pt>
                <c:pt idx="2209">
                  <c:v>35954</c:v>
                </c:pt>
                <c:pt idx="2210">
                  <c:v>35955</c:v>
                </c:pt>
                <c:pt idx="2211">
                  <c:v>35956</c:v>
                </c:pt>
                <c:pt idx="2212">
                  <c:v>35957</c:v>
                </c:pt>
                <c:pt idx="2213">
                  <c:v>35958</c:v>
                </c:pt>
                <c:pt idx="2214">
                  <c:v>35961</c:v>
                </c:pt>
                <c:pt idx="2215">
                  <c:v>35962</c:v>
                </c:pt>
                <c:pt idx="2216">
                  <c:v>35963</c:v>
                </c:pt>
                <c:pt idx="2217">
                  <c:v>35964</c:v>
                </c:pt>
                <c:pt idx="2218">
                  <c:v>35965</c:v>
                </c:pt>
                <c:pt idx="2219">
                  <c:v>35968</c:v>
                </c:pt>
                <c:pt idx="2220">
                  <c:v>35969</c:v>
                </c:pt>
                <c:pt idx="2221">
                  <c:v>35970</c:v>
                </c:pt>
                <c:pt idx="2222">
                  <c:v>35971</c:v>
                </c:pt>
                <c:pt idx="2223">
                  <c:v>35972</c:v>
                </c:pt>
                <c:pt idx="2224">
                  <c:v>35975</c:v>
                </c:pt>
                <c:pt idx="2225">
                  <c:v>35976</c:v>
                </c:pt>
                <c:pt idx="2226">
                  <c:v>35977</c:v>
                </c:pt>
                <c:pt idx="2227">
                  <c:v>35978</c:v>
                </c:pt>
                <c:pt idx="2228">
                  <c:v>35982</c:v>
                </c:pt>
                <c:pt idx="2229">
                  <c:v>35983</c:v>
                </c:pt>
                <c:pt idx="2230">
                  <c:v>35984</c:v>
                </c:pt>
                <c:pt idx="2231">
                  <c:v>35985</c:v>
                </c:pt>
                <c:pt idx="2232">
                  <c:v>35986</c:v>
                </c:pt>
                <c:pt idx="2233">
                  <c:v>35989</c:v>
                </c:pt>
                <c:pt idx="2234">
                  <c:v>35990</c:v>
                </c:pt>
                <c:pt idx="2235">
                  <c:v>35991</c:v>
                </c:pt>
                <c:pt idx="2236">
                  <c:v>35992</c:v>
                </c:pt>
                <c:pt idx="2237">
                  <c:v>35993</c:v>
                </c:pt>
                <c:pt idx="2238">
                  <c:v>35996</c:v>
                </c:pt>
                <c:pt idx="2239">
                  <c:v>35997</c:v>
                </c:pt>
                <c:pt idx="2240">
                  <c:v>35998</c:v>
                </c:pt>
                <c:pt idx="2241">
                  <c:v>35999</c:v>
                </c:pt>
                <c:pt idx="2242">
                  <c:v>36000</c:v>
                </c:pt>
                <c:pt idx="2243">
                  <c:v>36003</c:v>
                </c:pt>
                <c:pt idx="2244">
                  <c:v>36004</c:v>
                </c:pt>
                <c:pt idx="2245">
                  <c:v>36005</c:v>
                </c:pt>
                <c:pt idx="2246">
                  <c:v>36006</c:v>
                </c:pt>
                <c:pt idx="2247">
                  <c:v>36007</c:v>
                </c:pt>
                <c:pt idx="2248">
                  <c:v>36010</c:v>
                </c:pt>
                <c:pt idx="2249">
                  <c:v>36011</c:v>
                </c:pt>
                <c:pt idx="2250">
                  <c:v>36012</c:v>
                </c:pt>
                <c:pt idx="2251">
                  <c:v>36013</c:v>
                </c:pt>
                <c:pt idx="2252">
                  <c:v>36014</c:v>
                </c:pt>
                <c:pt idx="2253">
                  <c:v>36017</c:v>
                </c:pt>
                <c:pt idx="2254">
                  <c:v>36018</c:v>
                </c:pt>
                <c:pt idx="2255">
                  <c:v>36019</c:v>
                </c:pt>
                <c:pt idx="2256">
                  <c:v>36020</c:v>
                </c:pt>
                <c:pt idx="2257">
                  <c:v>36021</c:v>
                </c:pt>
                <c:pt idx="2258">
                  <c:v>36024</c:v>
                </c:pt>
                <c:pt idx="2259">
                  <c:v>36025</c:v>
                </c:pt>
                <c:pt idx="2260">
                  <c:v>36026</c:v>
                </c:pt>
                <c:pt idx="2261">
                  <c:v>36027</c:v>
                </c:pt>
                <c:pt idx="2262">
                  <c:v>36028</c:v>
                </c:pt>
                <c:pt idx="2263">
                  <c:v>36031</c:v>
                </c:pt>
                <c:pt idx="2264">
                  <c:v>36032</c:v>
                </c:pt>
                <c:pt idx="2265">
                  <c:v>36033</c:v>
                </c:pt>
                <c:pt idx="2266">
                  <c:v>36034</c:v>
                </c:pt>
                <c:pt idx="2267">
                  <c:v>36035</c:v>
                </c:pt>
                <c:pt idx="2268">
                  <c:v>36038</c:v>
                </c:pt>
                <c:pt idx="2269">
                  <c:v>36039</c:v>
                </c:pt>
                <c:pt idx="2270">
                  <c:v>36040</c:v>
                </c:pt>
                <c:pt idx="2271">
                  <c:v>36041</c:v>
                </c:pt>
                <c:pt idx="2272">
                  <c:v>36042</c:v>
                </c:pt>
                <c:pt idx="2273">
                  <c:v>36046</c:v>
                </c:pt>
                <c:pt idx="2274">
                  <c:v>36047</c:v>
                </c:pt>
                <c:pt idx="2275">
                  <c:v>36048</c:v>
                </c:pt>
                <c:pt idx="2276">
                  <c:v>36049</c:v>
                </c:pt>
                <c:pt idx="2277">
                  <c:v>36052</c:v>
                </c:pt>
                <c:pt idx="2278">
                  <c:v>36053</c:v>
                </c:pt>
                <c:pt idx="2279">
                  <c:v>36054</c:v>
                </c:pt>
                <c:pt idx="2280">
                  <c:v>36055</c:v>
                </c:pt>
                <c:pt idx="2281">
                  <c:v>36056</c:v>
                </c:pt>
                <c:pt idx="2282">
                  <c:v>36059</c:v>
                </c:pt>
                <c:pt idx="2283">
                  <c:v>36060</c:v>
                </c:pt>
                <c:pt idx="2284">
                  <c:v>36061</c:v>
                </c:pt>
                <c:pt idx="2285">
                  <c:v>36062</c:v>
                </c:pt>
                <c:pt idx="2286">
                  <c:v>36063</c:v>
                </c:pt>
                <c:pt idx="2287">
                  <c:v>36066</c:v>
                </c:pt>
                <c:pt idx="2288">
                  <c:v>36067</c:v>
                </c:pt>
                <c:pt idx="2289">
                  <c:v>36068</c:v>
                </c:pt>
                <c:pt idx="2290">
                  <c:v>36069</c:v>
                </c:pt>
                <c:pt idx="2291">
                  <c:v>36070</c:v>
                </c:pt>
                <c:pt idx="2292">
                  <c:v>36073</c:v>
                </c:pt>
                <c:pt idx="2293">
                  <c:v>36074</c:v>
                </c:pt>
                <c:pt idx="2294">
                  <c:v>36075</c:v>
                </c:pt>
                <c:pt idx="2295">
                  <c:v>36076</c:v>
                </c:pt>
                <c:pt idx="2296">
                  <c:v>36077</c:v>
                </c:pt>
                <c:pt idx="2297">
                  <c:v>36080</c:v>
                </c:pt>
                <c:pt idx="2298">
                  <c:v>36081</c:v>
                </c:pt>
                <c:pt idx="2299">
                  <c:v>36082</c:v>
                </c:pt>
                <c:pt idx="2300">
                  <c:v>36083</c:v>
                </c:pt>
                <c:pt idx="2301">
                  <c:v>36084</c:v>
                </c:pt>
                <c:pt idx="2302">
                  <c:v>36087</c:v>
                </c:pt>
                <c:pt idx="2303">
                  <c:v>36088</c:v>
                </c:pt>
                <c:pt idx="2304">
                  <c:v>36089</c:v>
                </c:pt>
                <c:pt idx="2305">
                  <c:v>36090</c:v>
                </c:pt>
                <c:pt idx="2306">
                  <c:v>36091</c:v>
                </c:pt>
                <c:pt idx="2307">
                  <c:v>36094</c:v>
                </c:pt>
                <c:pt idx="2308">
                  <c:v>36095</c:v>
                </c:pt>
                <c:pt idx="2309">
                  <c:v>36096</c:v>
                </c:pt>
                <c:pt idx="2310">
                  <c:v>36097</c:v>
                </c:pt>
                <c:pt idx="2311">
                  <c:v>36098</c:v>
                </c:pt>
                <c:pt idx="2312">
                  <c:v>36101</c:v>
                </c:pt>
                <c:pt idx="2313">
                  <c:v>36102</c:v>
                </c:pt>
                <c:pt idx="2314">
                  <c:v>36103</c:v>
                </c:pt>
                <c:pt idx="2315">
                  <c:v>36104</c:v>
                </c:pt>
                <c:pt idx="2316">
                  <c:v>36105</c:v>
                </c:pt>
                <c:pt idx="2317">
                  <c:v>36108</c:v>
                </c:pt>
                <c:pt idx="2318">
                  <c:v>36109</c:v>
                </c:pt>
                <c:pt idx="2319">
                  <c:v>36110</c:v>
                </c:pt>
                <c:pt idx="2320">
                  <c:v>36111</c:v>
                </c:pt>
                <c:pt idx="2321">
                  <c:v>36112</c:v>
                </c:pt>
                <c:pt idx="2322">
                  <c:v>36115</c:v>
                </c:pt>
                <c:pt idx="2323">
                  <c:v>36116</c:v>
                </c:pt>
                <c:pt idx="2324">
                  <c:v>36117</c:v>
                </c:pt>
                <c:pt idx="2325">
                  <c:v>36118</c:v>
                </c:pt>
                <c:pt idx="2326">
                  <c:v>36119</c:v>
                </c:pt>
                <c:pt idx="2327">
                  <c:v>36122</c:v>
                </c:pt>
                <c:pt idx="2328">
                  <c:v>36123</c:v>
                </c:pt>
                <c:pt idx="2329">
                  <c:v>36124</c:v>
                </c:pt>
                <c:pt idx="2330">
                  <c:v>36126</c:v>
                </c:pt>
                <c:pt idx="2331">
                  <c:v>36129</c:v>
                </c:pt>
                <c:pt idx="2332">
                  <c:v>36130</c:v>
                </c:pt>
                <c:pt idx="2333">
                  <c:v>36131</c:v>
                </c:pt>
                <c:pt idx="2334">
                  <c:v>36132</c:v>
                </c:pt>
                <c:pt idx="2335">
                  <c:v>36133</c:v>
                </c:pt>
                <c:pt idx="2336">
                  <c:v>36136</c:v>
                </c:pt>
                <c:pt idx="2337">
                  <c:v>36137</c:v>
                </c:pt>
                <c:pt idx="2338">
                  <c:v>36138</c:v>
                </c:pt>
                <c:pt idx="2339">
                  <c:v>36139</c:v>
                </c:pt>
                <c:pt idx="2340">
                  <c:v>36140</c:v>
                </c:pt>
                <c:pt idx="2341">
                  <c:v>36143</c:v>
                </c:pt>
                <c:pt idx="2342">
                  <c:v>36144</c:v>
                </c:pt>
                <c:pt idx="2343">
                  <c:v>36145</c:v>
                </c:pt>
                <c:pt idx="2344">
                  <c:v>36146</c:v>
                </c:pt>
                <c:pt idx="2345">
                  <c:v>36147</c:v>
                </c:pt>
                <c:pt idx="2346">
                  <c:v>36150</c:v>
                </c:pt>
                <c:pt idx="2347">
                  <c:v>36151</c:v>
                </c:pt>
                <c:pt idx="2348">
                  <c:v>36152</c:v>
                </c:pt>
                <c:pt idx="2349">
                  <c:v>36153</c:v>
                </c:pt>
                <c:pt idx="2350">
                  <c:v>36157</c:v>
                </c:pt>
                <c:pt idx="2351">
                  <c:v>36158</c:v>
                </c:pt>
                <c:pt idx="2352">
                  <c:v>36159</c:v>
                </c:pt>
                <c:pt idx="2353">
                  <c:v>36160</c:v>
                </c:pt>
                <c:pt idx="2354">
                  <c:v>36164</c:v>
                </c:pt>
                <c:pt idx="2355">
                  <c:v>36165</c:v>
                </c:pt>
                <c:pt idx="2356">
                  <c:v>36166</c:v>
                </c:pt>
                <c:pt idx="2357">
                  <c:v>36167</c:v>
                </c:pt>
                <c:pt idx="2358">
                  <c:v>36168</c:v>
                </c:pt>
                <c:pt idx="2359">
                  <c:v>36171</c:v>
                </c:pt>
                <c:pt idx="2360">
                  <c:v>36172</c:v>
                </c:pt>
                <c:pt idx="2361">
                  <c:v>36173</c:v>
                </c:pt>
                <c:pt idx="2362">
                  <c:v>36174</c:v>
                </c:pt>
                <c:pt idx="2363">
                  <c:v>36175</c:v>
                </c:pt>
                <c:pt idx="2364">
                  <c:v>36179</c:v>
                </c:pt>
                <c:pt idx="2365">
                  <c:v>36180</c:v>
                </c:pt>
                <c:pt idx="2366">
                  <c:v>36181</c:v>
                </c:pt>
                <c:pt idx="2367">
                  <c:v>36182</c:v>
                </c:pt>
                <c:pt idx="2368">
                  <c:v>36185</c:v>
                </c:pt>
                <c:pt idx="2369">
                  <c:v>36186</c:v>
                </c:pt>
                <c:pt idx="2370">
                  <c:v>36187</c:v>
                </c:pt>
                <c:pt idx="2371">
                  <c:v>36188</c:v>
                </c:pt>
                <c:pt idx="2372">
                  <c:v>36189</c:v>
                </c:pt>
                <c:pt idx="2373">
                  <c:v>36192</c:v>
                </c:pt>
                <c:pt idx="2374">
                  <c:v>36193</c:v>
                </c:pt>
                <c:pt idx="2375">
                  <c:v>36194</c:v>
                </c:pt>
                <c:pt idx="2376">
                  <c:v>36195</c:v>
                </c:pt>
                <c:pt idx="2377">
                  <c:v>36196</c:v>
                </c:pt>
                <c:pt idx="2378">
                  <c:v>36199</c:v>
                </c:pt>
                <c:pt idx="2379">
                  <c:v>36200</c:v>
                </c:pt>
                <c:pt idx="2380">
                  <c:v>36201</c:v>
                </c:pt>
                <c:pt idx="2381">
                  <c:v>36202</c:v>
                </c:pt>
                <c:pt idx="2382">
                  <c:v>36203</c:v>
                </c:pt>
                <c:pt idx="2383">
                  <c:v>36207</c:v>
                </c:pt>
                <c:pt idx="2384">
                  <c:v>36208</c:v>
                </c:pt>
                <c:pt idx="2385">
                  <c:v>36209</c:v>
                </c:pt>
                <c:pt idx="2386">
                  <c:v>36210</c:v>
                </c:pt>
                <c:pt idx="2387">
                  <c:v>36213</c:v>
                </c:pt>
                <c:pt idx="2388">
                  <c:v>36214</c:v>
                </c:pt>
                <c:pt idx="2389">
                  <c:v>36215</c:v>
                </c:pt>
                <c:pt idx="2390">
                  <c:v>36216</c:v>
                </c:pt>
                <c:pt idx="2391">
                  <c:v>36217</c:v>
                </c:pt>
                <c:pt idx="2392">
                  <c:v>36220</c:v>
                </c:pt>
                <c:pt idx="2393">
                  <c:v>36221</c:v>
                </c:pt>
                <c:pt idx="2394">
                  <c:v>36222</c:v>
                </c:pt>
                <c:pt idx="2395">
                  <c:v>36223</c:v>
                </c:pt>
                <c:pt idx="2396">
                  <c:v>36224</c:v>
                </c:pt>
                <c:pt idx="2397">
                  <c:v>36227</c:v>
                </c:pt>
                <c:pt idx="2398">
                  <c:v>36228</c:v>
                </c:pt>
                <c:pt idx="2399">
                  <c:v>36229</c:v>
                </c:pt>
                <c:pt idx="2400">
                  <c:v>36230</c:v>
                </c:pt>
                <c:pt idx="2401">
                  <c:v>36231</c:v>
                </c:pt>
                <c:pt idx="2402">
                  <c:v>36234</c:v>
                </c:pt>
                <c:pt idx="2403">
                  <c:v>36235</c:v>
                </c:pt>
                <c:pt idx="2404">
                  <c:v>36236</c:v>
                </c:pt>
                <c:pt idx="2405">
                  <c:v>36237</c:v>
                </c:pt>
                <c:pt idx="2406">
                  <c:v>36238</c:v>
                </c:pt>
                <c:pt idx="2407">
                  <c:v>36241</c:v>
                </c:pt>
                <c:pt idx="2408">
                  <c:v>36242</c:v>
                </c:pt>
                <c:pt idx="2409">
                  <c:v>36243</c:v>
                </c:pt>
                <c:pt idx="2410">
                  <c:v>36244</c:v>
                </c:pt>
                <c:pt idx="2411">
                  <c:v>36245</c:v>
                </c:pt>
                <c:pt idx="2412">
                  <c:v>36248</c:v>
                </c:pt>
                <c:pt idx="2413">
                  <c:v>36249</c:v>
                </c:pt>
                <c:pt idx="2414">
                  <c:v>36250</c:v>
                </c:pt>
                <c:pt idx="2415">
                  <c:v>36251</c:v>
                </c:pt>
                <c:pt idx="2416">
                  <c:v>36255</c:v>
                </c:pt>
                <c:pt idx="2417">
                  <c:v>36256</c:v>
                </c:pt>
                <c:pt idx="2418">
                  <c:v>36257</c:v>
                </c:pt>
                <c:pt idx="2419">
                  <c:v>36258</c:v>
                </c:pt>
                <c:pt idx="2420">
                  <c:v>36259</c:v>
                </c:pt>
                <c:pt idx="2421">
                  <c:v>36262</c:v>
                </c:pt>
                <c:pt idx="2422">
                  <c:v>36263</c:v>
                </c:pt>
                <c:pt idx="2423">
                  <c:v>36264</c:v>
                </c:pt>
                <c:pt idx="2424">
                  <c:v>36265</c:v>
                </c:pt>
                <c:pt idx="2425">
                  <c:v>36266</c:v>
                </c:pt>
                <c:pt idx="2426">
                  <c:v>36269</c:v>
                </c:pt>
                <c:pt idx="2427">
                  <c:v>36270</c:v>
                </c:pt>
                <c:pt idx="2428">
                  <c:v>36271</c:v>
                </c:pt>
                <c:pt idx="2429">
                  <c:v>36272</c:v>
                </c:pt>
                <c:pt idx="2430">
                  <c:v>36273</c:v>
                </c:pt>
                <c:pt idx="2431">
                  <c:v>36276</c:v>
                </c:pt>
                <c:pt idx="2432">
                  <c:v>36277</c:v>
                </c:pt>
                <c:pt idx="2433">
                  <c:v>36278</c:v>
                </c:pt>
                <c:pt idx="2434">
                  <c:v>36279</c:v>
                </c:pt>
                <c:pt idx="2435">
                  <c:v>36280</c:v>
                </c:pt>
                <c:pt idx="2436">
                  <c:v>36283</c:v>
                </c:pt>
                <c:pt idx="2437">
                  <c:v>36284</c:v>
                </c:pt>
                <c:pt idx="2438">
                  <c:v>36285</c:v>
                </c:pt>
                <c:pt idx="2439">
                  <c:v>36286</c:v>
                </c:pt>
                <c:pt idx="2440">
                  <c:v>36287</c:v>
                </c:pt>
                <c:pt idx="2441">
                  <c:v>36290</c:v>
                </c:pt>
                <c:pt idx="2442">
                  <c:v>36291</c:v>
                </c:pt>
                <c:pt idx="2443">
                  <c:v>36292</c:v>
                </c:pt>
                <c:pt idx="2444">
                  <c:v>36293</c:v>
                </c:pt>
                <c:pt idx="2445">
                  <c:v>36294</c:v>
                </c:pt>
                <c:pt idx="2446">
                  <c:v>36297</c:v>
                </c:pt>
                <c:pt idx="2447">
                  <c:v>36298</c:v>
                </c:pt>
                <c:pt idx="2448">
                  <c:v>36299</c:v>
                </c:pt>
                <c:pt idx="2449">
                  <c:v>36300</c:v>
                </c:pt>
                <c:pt idx="2450">
                  <c:v>36301</c:v>
                </c:pt>
                <c:pt idx="2451">
                  <c:v>36304</c:v>
                </c:pt>
                <c:pt idx="2452">
                  <c:v>36305</c:v>
                </c:pt>
                <c:pt idx="2453">
                  <c:v>36306</c:v>
                </c:pt>
                <c:pt idx="2454">
                  <c:v>36307</c:v>
                </c:pt>
                <c:pt idx="2455">
                  <c:v>36308</c:v>
                </c:pt>
                <c:pt idx="2456">
                  <c:v>36312</c:v>
                </c:pt>
                <c:pt idx="2457">
                  <c:v>36313</c:v>
                </c:pt>
                <c:pt idx="2458">
                  <c:v>36314</c:v>
                </c:pt>
                <c:pt idx="2459">
                  <c:v>36315</c:v>
                </c:pt>
                <c:pt idx="2460">
                  <c:v>36318</c:v>
                </c:pt>
                <c:pt idx="2461">
                  <c:v>36319</c:v>
                </c:pt>
                <c:pt idx="2462">
                  <c:v>36320</c:v>
                </c:pt>
                <c:pt idx="2463">
                  <c:v>36321</c:v>
                </c:pt>
                <c:pt idx="2464">
                  <c:v>36322</c:v>
                </c:pt>
                <c:pt idx="2465">
                  <c:v>36325</c:v>
                </c:pt>
                <c:pt idx="2466">
                  <c:v>36326</c:v>
                </c:pt>
                <c:pt idx="2467">
                  <c:v>36327</c:v>
                </c:pt>
                <c:pt idx="2468">
                  <c:v>36328</c:v>
                </c:pt>
                <c:pt idx="2469">
                  <c:v>36329</c:v>
                </c:pt>
                <c:pt idx="2470">
                  <c:v>36332</c:v>
                </c:pt>
                <c:pt idx="2471">
                  <c:v>36333</c:v>
                </c:pt>
                <c:pt idx="2472">
                  <c:v>36334</c:v>
                </c:pt>
                <c:pt idx="2473">
                  <c:v>36335</c:v>
                </c:pt>
                <c:pt idx="2474">
                  <c:v>36336</c:v>
                </c:pt>
                <c:pt idx="2475">
                  <c:v>36339</c:v>
                </c:pt>
                <c:pt idx="2476">
                  <c:v>36340</c:v>
                </c:pt>
                <c:pt idx="2477">
                  <c:v>36341</c:v>
                </c:pt>
                <c:pt idx="2478">
                  <c:v>36342</c:v>
                </c:pt>
                <c:pt idx="2479">
                  <c:v>36343</c:v>
                </c:pt>
                <c:pt idx="2480">
                  <c:v>36347</c:v>
                </c:pt>
                <c:pt idx="2481">
                  <c:v>36348</c:v>
                </c:pt>
                <c:pt idx="2482">
                  <c:v>36349</c:v>
                </c:pt>
                <c:pt idx="2483">
                  <c:v>36350</c:v>
                </c:pt>
                <c:pt idx="2484">
                  <c:v>36353</c:v>
                </c:pt>
                <c:pt idx="2485">
                  <c:v>36354</c:v>
                </c:pt>
                <c:pt idx="2486">
                  <c:v>36355</c:v>
                </c:pt>
                <c:pt idx="2487">
                  <c:v>36356</c:v>
                </c:pt>
                <c:pt idx="2488">
                  <c:v>36357</c:v>
                </c:pt>
                <c:pt idx="2489">
                  <c:v>36360</c:v>
                </c:pt>
                <c:pt idx="2490">
                  <c:v>36361</c:v>
                </c:pt>
                <c:pt idx="2491">
                  <c:v>36362</c:v>
                </c:pt>
                <c:pt idx="2492">
                  <c:v>36363</c:v>
                </c:pt>
                <c:pt idx="2493">
                  <c:v>36364</c:v>
                </c:pt>
                <c:pt idx="2494">
                  <c:v>36367</c:v>
                </c:pt>
                <c:pt idx="2495">
                  <c:v>36368</c:v>
                </c:pt>
                <c:pt idx="2496">
                  <c:v>36369</c:v>
                </c:pt>
                <c:pt idx="2497">
                  <c:v>36370</c:v>
                </c:pt>
                <c:pt idx="2498">
                  <c:v>36371</c:v>
                </c:pt>
                <c:pt idx="2499">
                  <c:v>36374</c:v>
                </c:pt>
                <c:pt idx="2500">
                  <c:v>36375</c:v>
                </c:pt>
                <c:pt idx="2501">
                  <c:v>36376</c:v>
                </c:pt>
                <c:pt idx="2502">
                  <c:v>36377</c:v>
                </c:pt>
                <c:pt idx="2503">
                  <c:v>36378</c:v>
                </c:pt>
                <c:pt idx="2504">
                  <c:v>36381</c:v>
                </c:pt>
                <c:pt idx="2505">
                  <c:v>36382</c:v>
                </c:pt>
                <c:pt idx="2506">
                  <c:v>36383</c:v>
                </c:pt>
                <c:pt idx="2507">
                  <c:v>36384</c:v>
                </c:pt>
                <c:pt idx="2508">
                  <c:v>36385</c:v>
                </c:pt>
                <c:pt idx="2509">
                  <c:v>36388</c:v>
                </c:pt>
                <c:pt idx="2510">
                  <c:v>36389</c:v>
                </c:pt>
                <c:pt idx="2511">
                  <c:v>36390</c:v>
                </c:pt>
                <c:pt idx="2512">
                  <c:v>36391</c:v>
                </c:pt>
                <c:pt idx="2513">
                  <c:v>36392</c:v>
                </c:pt>
                <c:pt idx="2514">
                  <c:v>36395</c:v>
                </c:pt>
                <c:pt idx="2515">
                  <c:v>36396</c:v>
                </c:pt>
                <c:pt idx="2516">
                  <c:v>36397</c:v>
                </c:pt>
                <c:pt idx="2517">
                  <c:v>36398</c:v>
                </c:pt>
                <c:pt idx="2518">
                  <c:v>36399</c:v>
                </c:pt>
                <c:pt idx="2519">
                  <c:v>36402</c:v>
                </c:pt>
                <c:pt idx="2520">
                  <c:v>36403</c:v>
                </c:pt>
                <c:pt idx="2521">
                  <c:v>36404</c:v>
                </c:pt>
                <c:pt idx="2522">
                  <c:v>36405</c:v>
                </c:pt>
                <c:pt idx="2523">
                  <c:v>36406</c:v>
                </c:pt>
                <c:pt idx="2524">
                  <c:v>36410</c:v>
                </c:pt>
                <c:pt idx="2525">
                  <c:v>36411</c:v>
                </c:pt>
                <c:pt idx="2526">
                  <c:v>36412</c:v>
                </c:pt>
                <c:pt idx="2527">
                  <c:v>36413</c:v>
                </c:pt>
                <c:pt idx="2528">
                  <c:v>36416</c:v>
                </c:pt>
                <c:pt idx="2529">
                  <c:v>36417</c:v>
                </c:pt>
                <c:pt idx="2530">
                  <c:v>36418</c:v>
                </c:pt>
                <c:pt idx="2531">
                  <c:v>36419</c:v>
                </c:pt>
                <c:pt idx="2532">
                  <c:v>36420</c:v>
                </c:pt>
                <c:pt idx="2533">
                  <c:v>36423</c:v>
                </c:pt>
                <c:pt idx="2534">
                  <c:v>36424</c:v>
                </c:pt>
                <c:pt idx="2535">
                  <c:v>36425</c:v>
                </c:pt>
                <c:pt idx="2536">
                  <c:v>36426</c:v>
                </c:pt>
                <c:pt idx="2537">
                  <c:v>36427</c:v>
                </c:pt>
                <c:pt idx="2538">
                  <c:v>36430</c:v>
                </c:pt>
                <c:pt idx="2539">
                  <c:v>36431</c:v>
                </c:pt>
                <c:pt idx="2540">
                  <c:v>36432</c:v>
                </c:pt>
                <c:pt idx="2541">
                  <c:v>36433</c:v>
                </c:pt>
                <c:pt idx="2542">
                  <c:v>36434</c:v>
                </c:pt>
                <c:pt idx="2543">
                  <c:v>36437</c:v>
                </c:pt>
                <c:pt idx="2544">
                  <c:v>36438</c:v>
                </c:pt>
                <c:pt idx="2545">
                  <c:v>36439</c:v>
                </c:pt>
                <c:pt idx="2546">
                  <c:v>36440</c:v>
                </c:pt>
                <c:pt idx="2547">
                  <c:v>36441</c:v>
                </c:pt>
                <c:pt idx="2548">
                  <c:v>36444</c:v>
                </c:pt>
                <c:pt idx="2549">
                  <c:v>36445</c:v>
                </c:pt>
                <c:pt idx="2550">
                  <c:v>36446</c:v>
                </c:pt>
                <c:pt idx="2551">
                  <c:v>36447</c:v>
                </c:pt>
                <c:pt idx="2552">
                  <c:v>36448</c:v>
                </c:pt>
                <c:pt idx="2553">
                  <c:v>36451</c:v>
                </c:pt>
                <c:pt idx="2554">
                  <c:v>36452</c:v>
                </c:pt>
                <c:pt idx="2555">
                  <c:v>36453</c:v>
                </c:pt>
                <c:pt idx="2556">
                  <c:v>36454</c:v>
                </c:pt>
                <c:pt idx="2557">
                  <c:v>36455</c:v>
                </c:pt>
                <c:pt idx="2558">
                  <c:v>36458</c:v>
                </c:pt>
                <c:pt idx="2559">
                  <c:v>36459</c:v>
                </c:pt>
                <c:pt idx="2560">
                  <c:v>36460</c:v>
                </c:pt>
                <c:pt idx="2561">
                  <c:v>36461</c:v>
                </c:pt>
                <c:pt idx="2562">
                  <c:v>36462</c:v>
                </c:pt>
                <c:pt idx="2563">
                  <c:v>36465</c:v>
                </c:pt>
                <c:pt idx="2564">
                  <c:v>36466</c:v>
                </c:pt>
                <c:pt idx="2565">
                  <c:v>36467</c:v>
                </c:pt>
                <c:pt idx="2566">
                  <c:v>36468</c:v>
                </c:pt>
                <c:pt idx="2567">
                  <c:v>36469</c:v>
                </c:pt>
                <c:pt idx="2568">
                  <c:v>36472</c:v>
                </c:pt>
                <c:pt idx="2569">
                  <c:v>36473</c:v>
                </c:pt>
                <c:pt idx="2570">
                  <c:v>36474</c:v>
                </c:pt>
                <c:pt idx="2571">
                  <c:v>36475</c:v>
                </c:pt>
                <c:pt idx="2572">
                  <c:v>36476</c:v>
                </c:pt>
                <c:pt idx="2573">
                  <c:v>36479</c:v>
                </c:pt>
                <c:pt idx="2574">
                  <c:v>36480</c:v>
                </c:pt>
                <c:pt idx="2575">
                  <c:v>36481</c:v>
                </c:pt>
                <c:pt idx="2576">
                  <c:v>36482</c:v>
                </c:pt>
                <c:pt idx="2577">
                  <c:v>36483</c:v>
                </c:pt>
                <c:pt idx="2578">
                  <c:v>36486</c:v>
                </c:pt>
                <c:pt idx="2579">
                  <c:v>36487</c:v>
                </c:pt>
                <c:pt idx="2580">
                  <c:v>36488</c:v>
                </c:pt>
                <c:pt idx="2581">
                  <c:v>36490</c:v>
                </c:pt>
                <c:pt idx="2582">
                  <c:v>36493</c:v>
                </c:pt>
                <c:pt idx="2583">
                  <c:v>36494</c:v>
                </c:pt>
                <c:pt idx="2584">
                  <c:v>36495</c:v>
                </c:pt>
                <c:pt idx="2585">
                  <c:v>36496</c:v>
                </c:pt>
                <c:pt idx="2586">
                  <c:v>36497</c:v>
                </c:pt>
                <c:pt idx="2587">
                  <c:v>36500</c:v>
                </c:pt>
                <c:pt idx="2588">
                  <c:v>36501</c:v>
                </c:pt>
                <c:pt idx="2589">
                  <c:v>36502</c:v>
                </c:pt>
                <c:pt idx="2590">
                  <c:v>36503</c:v>
                </c:pt>
                <c:pt idx="2591">
                  <c:v>36504</c:v>
                </c:pt>
                <c:pt idx="2592">
                  <c:v>36507</c:v>
                </c:pt>
                <c:pt idx="2593">
                  <c:v>36508</c:v>
                </c:pt>
                <c:pt idx="2594">
                  <c:v>36509</c:v>
                </c:pt>
                <c:pt idx="2595">
                  <c:v>36510</c:v>
                </c:pt>
                <c:pt idx="2596">
                  <c:v>36511</c:v>
                </c:pt>
                <c:pt idx="2597">
                  <c:v>36514</c:v>
                </c:pt>
                <c:pt idx="2598">
                  <c:v>36515</c:v>
                </c:pt>
                <c:pt idx="2599">
                  <c:v>36516</c:v>
                </c:pt>
                <c:pt idx="2600">
                  <c:v>36517</c:v>
                </c:pt>
                <c:pt idx="2601">
                  <c:v>36521</c:v>
                </c:pt>
                <c:pt idx="2602">
                  <c:v>36522</c:v>
                </c:pt>
                <c:pt idx="2603">
                  <c:v>36523</c:v>
                </c:pt>
                <c:pt idx="2604">
                  <c:v>36524</c:v>
                </c:pt>
                <c:pt idx="2605">
                  <c:v>36525</c:v>
                </c:pt>
                <c:pt idx="2606">
                  <c:v>36528</c:v>
                </c:pt>
                <c:pt idx="2607">
                  <c:v>36529</c:v>
                </c:pt>
                <c:pt idx="2608">
                  <c:v>36530</c:v>
                </c:pt>
                <c:pt idx="2609">
                  <c:v>36531</c:v>
                </c:pt>
                <c:pt idx="2610">
                  <c:v>36532</c:v>
                </c:pt>
                <c:pt idx="2611">
                  <c:v>36535</c:v>
                </c:pt>
                <c:pt idx="2612">
                  <c:v>36536</c:v>
                </c:pt>
                <c:pt idx="2613">
                  <c:v>36537</c:v>
                </c:pt>
                <c:pt idx="2614">
                  <c:v>36538</c:v>
                </c:pt>
                <c:pt idx="2615">
                  <c:v>36539</c:v>
                </c:pt>
                <c:pt idx="2616">
                  <c:v>36543</c:v>
                </c:pt>
                <c:pt idx="2617">
                  <c:v>36544</c:v>
                </c:pt>
                <c:pt idx="2618">
                  <c:v>36545</c:v>
                </c:pt>
                <c:pt idx="2619">
                  <c:v>36546</c:v>
                </c:pt>
                <c:pt idx="2620">
                  <c:v>36549</c:v>
                </c:pt>
                <c:pt idx="2621">
                  <c:v>36550</c:v>
                </c:pt>
                <c:pt idx="2622">
                  <c:v>36551</c:v>
                </c:pt>
                <c:pt idx="2623">
                  <c:v>36552</c:v>
                </c:pt>
                <c:pt idx="2624">
                  <c:v>36553</c:v>
                </c:pt>
                <c:pt idx="2625">
                  <c:v>36556</c:v>
                </c:pt>
                <c:pt idx="2626">
                  <c:v>36557</c:v>
                </c:pt>
                <c:pt idx="2627">
                  <c:v>36558</c:v>
                </c:pt>
                <c:pt idx="2628">
                  <c:v>36559</c:v>
                </c:pt>
                <c:pt idx="2629">
                  <c:v>36560</c:v>
                </c:pt>
                <c:pt idx="2630">
                  <c:v>36563</c:v>
                </c:pt>
                <c:pt idx="2631">
                  <c:v>36564</c:v>
                </c:pt>
                <c:pt idx="2632">
                  <c:v>36565</c:v>
                </c:pt>
                <c:pt idx="2633">
                  <c:v>36566</c:v>
                </c:pt>
                <c:pt idx="2634">
                  <c:v>36567</c:v>
                </c:pt>
                <c:pt idx="2635">
                  <c:v>36570</c:v>
                </c:pt>
                <c:pt idx="2636">
                  <c:v>36571</c:v>
                </c:pt>
                <c:pt idx="2637">
                  <c:v>36572</c:v>
                </c:pt>
                <c:pt idx="2638">
                  <c:v>36573</c:v>
                </c:pt>
                <c:pt idx="2639">
                  <c:v>36574</c:v>
                </c:pt>
                <c:pt idx="2640">
                  <c:v>36578</c:v>
                </c:pt>
                <c:pt idx="2641">
                  <c:v>36579</c:v>
                </c:pt>
                <c:pt idx="2642">
                  <c:v>36580</c:v>
                </c:pt>
                <c:pt idx="2643">
                  <c:v>36581</c:v>
                </c:pt>
                <c:pt idx="2644">
                  <c:v>36584</c:v>
                </c:pt>
                <c:pt idx="2645">
                  <c:v>36585</c:v>
                </c:pt>
                <c:pt idx="2646">
                  <c:v>36586</c:v>
                </c:pt>
                <c:pt idx="2647">
                  <c:v>36587</c:v>
                </c:pt>
                <c:pt idx="2648">
                  <c:v>36588</c:v>
                </c:pt>
                <c:pt idx="2649">
                  <c:v>36591</c:v>
                </c:pt>
                <c:pt idx="2650">
                  <c:v>36592</c:v>
                </c:pt>
                <c:pt idx="2651">
                  <c:v>36593</c:v>
                </c:pt>
                <c:pt idx="2652">
                  <c:v>36594</c:v>
                </c:pt>
                <c:pt idx="2653">
                  <c:v>36595</c:v>
                </c:pt>
                <c:pt idx="2654">
                  <c:v>36598</c:v>
                </c:pt>
                <c:pt idx="2655">
                  <c:v>36599</c:v>
                </c:pt>
                <c:pt idx="2656">
                  <c:v>36600</c:v>
                </c:pt>
                <c:pt idx="2657">
                  <c:v>36601</c:v>
                </c:pt>
                <c:pt idx="2658">
                  <c:v>36602</c:v>
                </c:pt>
                <c:pt idx="2659">
                  <c:v>36605</c:v>
                </c:pt>
                <c:pt idx="2660">
                  <c:v>36606</c:v>
                </c:pt>
                <c:pt idx="2661">
                  <c:v>36607</c:v>
                </c:pt>
                <c:pt idx="2662">
                  <c:v>36608</c:v>
                </c:pt>
                <c:pt idx="2663">
                  <c:v>36609</c:v>
                </c:pt>
                <c:pt idx="2664">
                  <c:v>36612</c:v>
                </c:pt>
                <c:pt idx="2665">
                  <c:v>36613</c:v>
                </c:pt>
                <c:pt idx="2666">
                  <c:v>36614</c:v>
                </c:pt>
                <c:pt idx="2667">
                  <c:v>36615</c:v>
                </c:pt>
                <c:pt idx="2668">
                  <c:v>36616</c:v>
                </c:pt>
                <c:pt idx="2669">
                  <c:v>36619</c:v>
                </c:pt>
                <c:pt idx="2670">
                  <c:v>36620</c:v>
                </c:pt>
                <c:pt idx="2671">
                  <c:v>36621</c:v>
                </c:pt>
                <c:pt idx="2672">
                  <c:v>36622</c:v>
                </c:pt>
                <c:pt idx="2673">
                  <c:v>36623</c:v>
                </c:pt>
                <c:pt idx="2674">
                  <c:v>36626</c:v>
                </c:pt>
                <c:pt idx="2675">
                  <c:v>36627</c:v>
                </c:pt>
                <c:pt idx="2676">
                  <c:v>36628</c:v>
                </c:pt>
                <c:pt idx="2677">
                  <c:v>36629</c:v>
                </c:pt>
                <c:pt idx="2678">
                  <c:v>36630</c:v>
                </c:pt>
                <c:pt idx="2679">
                  <c:v>36633</c:v>
                </c:pt>
                <c:pt idx="2680">
                  <c:v>36634</c:v>
                </c:pt>
                <c:pt idx="2681">
                  <c:v>36635</c:v>
                </c:pt>
                <c:pt idx="2682">
                  <c:v>36636</c:v>
                </c:pt>
                <c:pt idx="2683">
                  <c:v>36640</c:v>
                </c:pt>
                <c:pt idx="2684">
                  <c:v>36641</c:v>
                </c:pt>
                <c:pt idx="2685">
                  <c:v>36642</c:v>
                </c:pt>
                <c:pt idx="2686">
                  <c:v>36643</c:v>
                </c:pt>
                <c:pt idx="2687">
                  <c:v>36644</c:v>
                </c:pt>
                <c:pt idx="2688">
                  <c:v>36647</c:v>
                </c:pt>
                <c:pt idx="2689">
                  <c:v>36648</c:v>
                </c:pt>
                <c:pt idx="2690">
                  <c:v>36649</c:v>
                </c:pt>
                <c:pt idx="2691">
                  <c:v>36650</c:v>
                </c:pt>
                <c:pt idx="2692">
                  <c:v>36651</c:v>
                </c:pt>
                <c:pt idx="2693">
                  <c:v>36654</c:v>
                </c:pt>
                <c:pt idx="2694">
                  <c:v>36655</c:v>
                </c:pt>
                <c:pt idx="2695">
                  <c:v>36656</c:v>
                </c:pt>
                <c:pt idx="2696">
                  <c:v>36657</c:v>
                </c:pt>
                <c:pt idx="2697">
                  <c:v>36658</c:v>
                </c:pt>
                <c:pt idx="2698">
                  <c:v>36661</c:v>
                </c:pt>
                <c:pt idx="2699">
                  <c:v>36662</c:v>
                </c:pt>
                <c:pt idx="2700">
                  <c:v>36663</c:v>
                </c:pt>
                <c:pt idx="2701">
                  <c:v>36664</c:v>
                </c:pt>
                <c:pt idx="2702">
                  <c:v>36665</c:v>
                </c:pt>
                <c:pt idx="2703">
                  <c:v>36668</c:v>
                </c:pt>
                <c:pt idx="2704">
                  <c:v>36669</c:v>
                </c:pt>
                <c:pt idx="2705">
                  <c:v>36670</c:v>
                </c:pt>
                <c:pt idx="2706">
                  <c:v>36671</c:v>
                </c:pt>
                <c:pt idx="2707">
                  <c:v>36672</c:v>
                </c:pt>
                <c:pt idx="2708">
                  <c:v>36676</c:v>
                </c:pt>
                <c:pt idx="2709">
                  <c:v>36677</c:v>
                </c:pt>
                <c:pt idx="2710">
                  <c:v>36678</c:v>
                </c:pt>
                <c:pt idx="2711">
                  <c:v>36679</c:v>
                </c:pt>
                <c:pt idx="2712">
                  <c:v>36682</c:v>
                </c:pt>
                <c:pt idx="2713">
                  <c:v>36683</c:v>
                </c:pt>
                <c:pt idx="2714">
                  <c:v>36684</c:v>
                </c:pt>
                <c:pt idx="2715">
                  <c:v>36685</c:v>
                </c:pt>
                <c:pt idx="2716">
                  <c:v>36686</c:v>
                </c:pt>
                <c:pt idx="2717">
                  <c:v>36689</c:v>
                </c:pt>
                <c:pt idx="2718">
                  <c:v>36690</c:v>
                </c:pt>
                <c:pt idx="2719">
                  <c:v>36691</c:v>
                </c:pt>
                <c:pt idx="2720">
                  <c:v>36692</c:v>
                </c:pt>
                <c:pt idx="2721">
                  <c:v>36693</c:v>
                </c:pt>
                <c:pt idx="2722">
                  <c:v>36696</c:v>
                </c:pt>
                <c:pt idx="2723">
                  <c:v>36697</c:v>
                </c:pt>
                <c:pt idx="2724">
                  <c:v>36698</c:v>
                </c:pt>
                <c:pt idx="2725">
                  <c:v>36699</c:v>
                </c:pt>
                <c:pt idx="2726">
                  <c:v>36700</c:v>
                </c:pt>
                <c:pt idx="2727">
                  <c:v>36703</c:v>
                </c:pt>
                <c:pt idx="2728">
                  <c:v>36704</c:v>
                </c:pt>
                <c:pt idx="2729">
                  <c:v>36705</c:v>
                </c:pt>
                <c:pt idx="2730">
                  <c:v>36706</c:v>
                </c:pt>
                <c:pt idx="2731">
                  <c:v>36707</c:v>
                </c:pt>
                <c:pt idx="2732">
                  <c:v>36710</c:v>
                </c:pt>
                <c:pt idx="2733">
                  <c:v>36712</c:v>
                </c:pt>
                <c:pt idx="2734">
                  <c:v>36713</c:v>
                </c:pt>
                <c:pt idx="2735">
                  <c:v>36714</c:v>
                </c:pt>
                <c:pt idx="2736">
                  <c:v>36717</c:v>
                </c:pt>
                <c:pt idx="2737">
                  <c:v>36718</c:v>
                </c:pt>
                <c:pt idx="2738">
                  <c:v>36719</c:v>
                </c:pt>
                <c:pt idx="2739">
                  <c:v>36720</c:v>
                </c:pt>
                <c:pt idx="2740">
                  <c:v>36721</c:v>
                </c:pt>
                <c:pt idx="2741">
                  <c:v>36724</c:v>
                </c:pt>
                <c:pt idx="2742">
                  <c:v>36725</c:v>
                </c:pt>
                <c:pt idx="2743">
                  <c:v>36726</c:v>
                </c:pt>
                <c:pt idx="2744">
                  <c:v>36727</c:v>
                </c:pt>
                <c:pt idx="2745">
                  <c:v>36728</c:v>
                </c:pt>
                <c:pt idx="2746">
                  <c:v>36731</c:v>
                </c:pt>
                <c:pt idx="2747">
                  <c:v>36732</c:v>
                </c:pt>
                <c:pt idx="2748">
                  <c:v>36733</c:v>
                </c:pt>
                <c:pt idx="2749">
                  <c:v>36734</c:v>
                </c:pt>
                <c:pt idx="2750">
                  <c:v>36735</c:v>
                </c:pt>
                <c:pt idx="2751">
                  <c:v>36738</c:v>
                </c:pt>
                <c:pt idx="2752">
                  <c:v>36739</c:v>
                </c:pt>
                <c:pt idx="2753">
                  <c:v>36740</c:v>
                </c:pt>
                <c:pt idx="2754">
                  <c:v>36741</c:v>
                </c:pt>
                <c:pt idx="2755">
                  <c:v>36742</c:v>
                </c:pt>
                <c:pt idx="2756">
                  <c:v>36745</c:v>
                </c:pt>
                <c:pt idx="2757">
                  <c:v>36746</c:v>
                </c:pt>
                <c:pt idx="2758">
                  <c:v>36747</c:v>
                </c:pt>
                <c:pt idx="2759">
                  <c:v>36748</c:v>
                </c:pt>
                <c:pt idx="2760">
                  <c:v>36749</c:v>
                </c:pt>
                <c:pt idx="2761">
                  <c:v>36752</c:v>
                </c:pt>
                <c:pt idx="2762">
                  <c:v>36753</c:v>
                </c:pt>
                <c:pt idx="2763">
                  <c:v>36754</c:v>
                </c:pt>
                <c:pt idx="2764">
                  <c:v>36755</c:v>
                </c:pt>
                <c:pt idx="2765">
                  <c:v>36756</c:v>
                </c:pt>
                <c:pt idx="2766">
                  <c:v>36759</c:v>
                </c:pt>
                <c:pt idx="2767">
                  <c:v>36760</c:v>
                </c:pt>
                <c:pt idx="2768">
                  <c:v>36761</c:v>
                </c:pt>
                <c:pt idx="2769">
                  <c:v>36762</c:v>
                </c:pt>
                <c:pt idx="2770">
                  <c:v>36763</c:v>
                </c:pt>
                <c:pt idx="2771">
                  <c:v>36766</c:v>
                </c:pt>
                <c:pt idx="2772">
                  <c:v>36767</c:v>
                </c:pt>
                <c:pt idx="2773">
                  <c:v>36768</c:v>
                </c:pt>
                <c:pt idx="2774">
                  <c:v>36769</c:v>
                </c:pt>
                <c:pt idx="2775">
                  <c:v>36770</c:v>
                </c:pt>
                <c:pt idx="2776">
                  <c:v>36774</c:v>
                </c:pt>
                <c:pt idx="2777">
                  <c:v>36775</c:v>
                </c:pt>
                <c:pt idx="2778">
                  <c:v>36776</c:v>
                </c:pt>
                <c:pt idx="2779">
                  <c:v>36777</c:v>
                </c:pt>
                <c:pt idx="2780">
                  <c:v>36780</c:v>
                </c:pt>
                <c:pt idx="2781">
                  <c:v>36781</c:v>
                </c:pt>
                <c:pt idx="2782">
                  <c:v>36782</c:v>
                </c:pt>
                <c:pt idx="2783">
                  <c:v>36783</c:v>
                </c:pt>
                <c:pt idx="2784">
                  <c:v>36784</c:v>
                </c:pt>
                <c:pt idx="2785">
                  <c:v>36787</c:v>
                </c:pt>
                <c:pt idx="2786">
                  <c:v>36788</c:v>
                </c:pt>
                <c:pt idx="2787">
                  <c:v>36789</c:v>
                </c:pt>
                <c:pt idx="2788">
                  <c:v>36790</c:v>
                </c:pt>
                <c:pt idx="2789">
                  <c:v>36791</c:v>
                </c:pt>
                <c:pt idx="2790">
                  <c:v>36794</c:v>
                </c:pt>
                <c:pt idx="2791">
                  <c:v>36795</c:v>
                </c:pt>
                <c:pt idx="2792">
                  <c:v>36796</c:v>
                </c:pt>
                <c:pt idx="2793">
                  <c:v>36797</c:v>
                </c:pt>
                <c:pt idx="2794">
                  <c:v>36798</c:v>
                </c:pt>
                <c:pt idx="2795">
                  <c:v>36801</c:v>
                </c:pt>
                <c:pt idx="2796">
                  <c:v>36802</c:v>
                </c:pt>
                <c:pt idx="2797">
                  <c:v>36803</c:v>
                </c:pt>
                <c:pt idx="2798">
                  <c:v>36804</c:v>
                </c:pt>
                <c:pt idx="2799">
                  <c:v>36805</c:v>
                </c:pt>
                <c:pt idx="2800">
                  <c:v>36808</c:v>
                </c:pt>
                <c:pt idx="2801">
                  <c:v>36809</c:v>
                </c:pt>
                <c:pt idx="2802">
                  <c:v>36810</c:v>
                </c:pt>
                <c:pt idx="2803">
                  <c:v>36811</c:v>
                </c:pt>
                <c:pt idx="2804">
                  <c:v>36812</c:v>
                </c:pt>
                <c:pt idx="2805">
                  <c:v>36815</c:v>
                </c:pt>
                <c:pt idx="2806">
                  <c:v>36816</c:v>
                </c:pt>
                <c:pt idx="2807">
                  <c:v>36817</c:v>
                </c:pt>
                <c:pt idx="2808">
                  <c:v>36818</c:v>
                </c:pt>
                <c:pt idx="2809">
                  <c:v>36819</c:v>
                </c:pt>
                <c:pt idx="2810">
                  <c:v>36822</c:v>
                </c:pt>
                <c:pt idx="2811">
                  <c:v>36823</c:v>
                </c:pt>
                <c:pt idx="2812">
                  <c:v>36824</c:v>
                </c:pt>
                <c:pt idx="2813">
                  <c:v>36825</c:v>
                </c:pt>
                <c:pt idx="2814">
                  <c:v>36826</c:v>
                </c:pt>
                <c:pt idx="2815">
                  <c:v>36829</c:v>
                </c:pt>
                <c:pt idx="2816">
                  <c:v>36830</c:v>
                </c:pt>
                <c:pt idx="2817">
                  <c:v>36831</c:v>
                </c:pt>
                <c:pt idx="2818">
                  <c:v>36832</c:v>
                </c:pt>
                <c:pt idx="2819">
                  <c:v>36833</c:v>
                </c:pt>
                <c:pt idx="2820">
                  <c:v>36836</c:v>
                </c:pt>
                <c:pt idx="2821">
                  <c:v>36837</c:v>
                </c:pt>
                <c:pt idx="2822">
                  <c:v>36838</c:v>
                </c:pt>
                <c:pt idx="2823">
                  <c:v>36839</c:v>
                </c:pt>
                <c:pt idx="2824">
                  <c:v>36840</c:v>
                </c:pt>
                <c:pt idx="2825">
                  <c:v>36843</c:v>
                </c:pt>
                <c:pt idx="2826">
                  <c:v>36844</c:v>
                </c:pt>
                <c:pt idx="2827">
                  <c:v>36845</c:v>
                </c:pt>
                <c:pt idx="2828">
                  <c:v>36846</c:v>
                </c:pt>
                <c:pt idx="2829">
                  <c:v>36847</c:v>
                </c:pt>
                <c:pt idx="2830">
                  <c:v>36850</c:v>
                </c:pt>
                <c:pt idx="2831">
                  <c:v>36851</c:v>
                </c:pt>
                <c:pt idx="2832">
                  <c:v>36852</c:v>
                </c:pt>
                <c:pt idx="2833">
                  <c:v>36854</c:v>
                </c:pt>
                <c:pt idx="2834">
                  <c:v>36857</c:v>
                </c:pt>
                <c:pt idx="2835">
                  <c:v>36858</c:v>
                </c:pt>
                <c:pt idx="2836">
                  <c:v>36859</c:v>
                </c:pt>
                <c:pt idx="2837">
                  <c:v>36860</c:v>
                </c:pt>
                <c:pt idx="2838">
                  <c:v>36861</c:v>
                </c:pt>
                <c:pt idx="2839">
                  <c:v>36864</c:v>
                </c:pt>
                <c:pt idx="2840">
                  <c:v>36865</c:v>
                </c:pt>
                <c:pt idx="2841">
                  <c:v>36866</c:v>
                </c:pt>
                <c:pt idx="2842">
                  <c:v>36867</c:v>
                </c:pt>
                <c:pt idx="2843">
                  <c:v>36868</c:v>
                </c:pt>
                <c:pt idx="2844">
                  <c:v>36871</c:v>
                </c:pt>
                <c:pt idx="2845">
                  <c:v>36872</c:v>
                </c:pt>
                <c:pt idx="2846">
                  <c:v>36873</c:v>
                </c:pt>
                <c:pt idx="2847">
                  <c:v>36874</c:v>
                </c:pt>
                <c:pt idx="2848">
                  <c:v>36875</c:v>
                </c:pt>
                <c:pt idx="2849">
                  <c:v>36878</c:v>
                </c:pt>
                <c:pt idx="2850">
                  <c:v>36879</c:v>
                </c:pt>
                <c:pt idx="2851">
                  <c:v>36880</c:v>
                </c:pt>
                <c:pt idx="2852">
                  <c:v>36881</c:v>
                </c:pt>
                <c:pt idx="2853">
                  <c:v>36882</c:v>
                </c:pt>
                <c:pt idx="2854">
                  <c:v>36886</c:v>
                </c:pt>
                <c:pt idx="2855">
                  <c:v>36887</c:v>
                </c:pt>
                <c:pt idx="2856">
                  <c:v>36888</c:v>
                </c:pt>
                <c:pt idx="2857">
                  <c:v>36889</c:v>
                </c:pt>
                <c:pt idx="2858">
                  <c:v>36893</c:v>
                </c:pt>
                <c:pt idx="2859">
                  <c:v>36894</c:v>
                </c:pt>
                <c:pt idx="2860">
                  <c:v>36895</c:v>
                </c:pt>
                <c:pt idx="2861">
                  <c:v>36896</c:v>
                </c:pt>
                <c:pt idx="2862">
                  <c:v>36899</c:v>
                </c:pt>
                <c:pt idx="2863">
                  <c:v>36900</c:v>
                </c:pt>
                <c:pt idx="2864">
                  <c:v>36901</c:v>
                </c:pt>
                <c:pt idx="2865">
                  <c:v>36902</c:v>
                </c:pt>
                <c:pt idx="2866">
                  <c:v>36903</c:v>
                </c:pt>
                <c:pt idx="2867">
                  <c:v>36907</c:v>
                </c:pt>
                <c:pt idx="2868">
                  <c:v>36908</c:v>
                </c:pt>
                <c:pt idx="2869">
                  <c:v>36909</c:v>
                </c:pt>
                <c:pt idx="2870">
                  <c:v>36910</c:v>
                </c:pt>
                <c:pt idx="2871">
                  <c:v>36913</c:v>
                </c:pt>
                <c:pt idx="2872">
                  <c:v>36914</c:v>
                </c:pt>
                <c:pt idx="2873">
                  <c:v>36915</c:v>
                </c:pt>
                <c:pt idx="2874">
                  <c:v>36916</c:v>
                </c:pt>
                <c:pt idx="2875">
                  <c:v>36917</c:v>
                </c:pt>
                <c:pt idx="2876">
                  <c:v>36920</c:v>
                </c:pt>
                <c:pt idx="2877">
                  <c:v>36921</c:v>
                </c:pt>
                <c:pt idx="2878">
                  <c:v>36922</c:v>
                </c:pt>
                <c:pt idx="2879">
                  <c:v>36923</c:v>
                </c:pt>
                <c:pt idx="2880">
                  <c:v>36924</c:v>
                </c:pt>
                <c:pt idx="2881">
                  <c:v>36927</c:v>
                </c:pt>
                <c:pt idx="2882">
                  <c:v>36928</c:v>
                </c:pt>
                <c:pt idx="2883">
                  <c:v>36929</c:v>
                </c:pt>
                <c:pt idx="2884">
                  <c:v>36930</c:v>
                </c:pt>
                <c:pt idx="2885">
                  <c:v>36931</c:v>
                </c:pt>
                <c:pt idx="2886">
                  <c:v>36934</c:v>
                </c:pt>
                <c:pt idx="2887">
                  <c:v>36935</c:v>
                </c:pt>
                <c:pt idx="2888">
                  <c:v>36936</c:v>
                </c:pt>
                <c:pt idx="2889">
                  <c:v>36937</c:v>
                </c:pt>
                <c:pt idx="2890">
                  <c:v>36938</c:v>
                </c:pt>
                <c:pt idx="2891">
                  <c:v>36942</c:v>
                </c:pt>
                <c:pt idx="2892">
                  <c:v>36943</c:v>
                </c:pt>
                <c:pt idx="2893">
                  <c:v>36944</c:v>
                </c:pt>
                <c:pt idx="2894">
                  <c:v>36945</c:v>
                </c:pt>
                <c:pt idx="2895">
                  <c:v>36948</c:v>
                </c:pt>
                <c:pt idx="2896">
                  <c:v>36949</c:v>
                </c:pt>
                <c:pt idx="2897">
                  <c:v>36950</c:v>
                </c:pt>
                <c:pt idx="2898">
                  <c:v>36951</c:v>
                </c:pt>
                <c:pt idx="2899">
                  <c:v>36952</c:v>
                </c:pt>
                <c:pt idx="2900">
                  <c:v>36955</c:v>
                </c:pt>
                <c:pt idx="2901">
                  <c:v>36956</c:v>
                </c:pt>
                <c:pt idx="2902">
                  <c:v>36957</c:v>
                </c:pt>
                <c:pt idx="2903">
                  <c:v>36958</c:v>
                </c:pt>
                <c:pt idx="2904">
                  <c:v>36959</c:v>
                </c:pt>
                <c:pt idx="2905">
                  <c:v>36962</c:v>
                </c:pt>
                <c:pt idx="2906">
                  <c:v>36963</c:v>
                </c:pt>
                <c:pt idx="2907">
                  <c:v>36964</c:v>
                </c:pt>
                <c:pt idx="2908">
                  <c:v>36965</c:v>
                </c:pt>
                <c:pt idx="2909">
                  <c:v>36966</c:v>
                </c:pt>
                <c:pt idx="2910">
                  <c:v>36969</c:v>
                </c:pt>
                <c:pt idx="2911">
                  <c:v>36970</c:v>
                </c:pt>
                <c:pt idx="2912">
                  <c:v>36971</c:v>
                </c:pt>
                <c:pt idx="2913">
                  <c:v>36972</c:v>
                </c:pt>
                <c:pt idx="2914">
                  <c:v>36973</c:v>
                </c:pt>
                <c:pt idx="2915">
                  <c:v>36976</c:v>
                </c:pt>
                <c:pt idx="2916">
                  <c:v>36977</c:v>
                </c:pt>
                <c:pt idx="2917">
                  <c:v>36978</c:v>
                </c:pt>
                <c:pt idx="2918">
                  <c:v>36979</c:v>
                </c:pt>
                <c:pt idx="2919">
                  <c:v>36980</c:v>
                </c:pt>
                <c:pt idx="2920">
                  <c:v>36983</c:v>
                </c:pt>
                <c:pt idx="2921">
                  <c:v>36984</c:v>
                </c:pt>
                <c:pt idx="2922">
                  <c:v>36985</c:v>
                </c:pt>
                <c:pt idx="2923">
                  <c:v>36986</c:v>
                </c:pt>
                <c:pt idx="2924">
                  <c:v>36987</c:v>
                </c:pt>
                <c:pt idx="2925">
                  <c:v>36990</c:v>
                </c:pt>
                <c:pt idx="2926">
                  <c:v>36991</c:v>
                </c:pt>
                <c:pt idx="2927">
                  <c:v>36992</c:v>
                </c:pt>
                <c:pt idx="2928">
                  <c:v>36993</c:v>
                </c:pt>
                <c:pt idx="2929">
                  <c:v>36997</c:v>
                </c:pt>
                <c:pt idx="2930">
                  <c:v>36998</c:v>
                </c:pt>
                <c:pt idx="2931">
                  <c:v>36999</c:v>
                </c:pt>
                <c:pt idx="2932">
                  <c:v>37000</c:v>
                </c:pt>
                <c:pt idx="2933">
                  <c:v>37001</c:v>
                </c:pt>
                <c:pt idx="2934">
                  <c:v>37004</c:v>
                </c:pt>
                <c:pt idx="2935">
                  <c:v>37005</c:v>
                </c:pt>
                <c:pt idx="2936">
                  <c:v>37006</c:v>
                </c:pt>
                <c:pt idx="2937">
                  <c:v>37007</c:v>
                </c:pt>
                <c:pt idx="2938">
                  <c:v>37008</c:v>
                </c:pt>
                <c:pt idx="2939">
                  <c:v>37011</c:v>
                </c:pt>
                <c:pt idx="2940">
                  <c:v>37012</c:v>
                </c:pt>
                <c:pt idx="2941">
                  <c:v>37013</c:v>
                </c:pt>
                <c:pt idx="2942">
                  <c:v>37014</c:v>
                </c:pt>
                <c:pt idx="2943">
                  <c:v>37015</c:v>
                </c:pt>
                <c:pt idx="2944">
                  <c:v>37018</c:v>
                </c:pt>
                <c:pt idx="2945">
                  <c:v>37019</c:v>
                </c:pt>
                <c:pt idx="2946">
                  <c:v>37020</c:v>
                </c:pt>
                <c:pt idx="2947">
                  <c:v>37021</c:v>
                </c:pt>
                <c:pt idx="2948">
                  <c:v>37022</c:v>
                </c:pt>
                <c:pt idx="2949">
                  <c:v>37025</c:v>
                </c:pt>
                <c:pt idx="2950">
                  <c:v>37026</c:v>
                </c:pt>
                <c:pt idx="2951">
                  <c:v>37027</c:v>
                </c:pt>
                <c:pt idx="2952">
                  <c:v>37028</c:v>
                </c:pt>
                <c:pt idx="2953">
                  <c:v>37029</c:v>
                </c:pt>
                <c:pt idx="2954">
                  <c:v>37032</c:v>
                </c:pt>
                <c:pt idx="2955">
                  <c:v>37033</c:v>
                </c:pt>
                <c:pt idx="2956">
                  <c:v>37034</c:v>
                </c:pt>
                <c:pt idx="2957">
                  <c:v>37035</c:v>
                </c:pt>
                <c:pt idx="2958">
                  <c:v>37036</c:v>
                </c:pt>
                <c:pt idx="2959">
                  <c:v>37040</c:v>
                </c:pt>
                <c:pt idx="2960">
                  <c:v>37041</c:v>
                </c:pt>
                <c:pt idx="2961">
                  <c:v>37042</c:v>
                </c:pt>
                <c:pt idx="2962">
                  <c:v>37043</c:v>
                </c:pt>
                <c:pt idx="2963">
                  <c:v>37046</c:v>
                </c:pt>
                <c:pt idx="2964">
                  <c:v>37047</c:v>
                </c:pt>
                <c:pt idx="2965">
                  <c:v>37048</c:v>
                </c:pt>
                <c:pt idx="2966">
                  <c:v>37049</c:v>
                </c:pt>
                <c:pt idx="2967">
                  <c:v>37050</c:v>
                </c:pt>
                <c:pt idx="2968">
                  <c:v>37053</c:v>
                </c:pt>
                <c:pt idx="2969">
                  <c:v>37054</c:v>
                </c:pt>
                <c:pt idx="2970">
                  <c:v>37055</c:v>
                </c:pt>
                <c:pt idx="2971">
                  <c:v>37056</c:v>
                </c:pt>
                <c:pt idx="2972">
                  <c:v>37057</c:v>
                </c:pt>
                <c:pt idx="2973">
                  <c:v>37060</c:v>
                </c:pt>
                <c:pt idx="2974">
                  <c:v>37061</c:v>
                </c:pt>
                <c:pt idx="2975">
                  <c:v>37062</c:v>
                </c:pt>
                <c:pt idx="2976">
                  <c:v>37063</c:v>
                </c:pt>
                <c:pt idx="2977">
                  <c:v>37064</c:v>
                </c:pt>
                <c:pt idx="2978">
                  <c:v>37067</c:v>
                </c:pt>
                <c:pt idx="2979">
                  <c:v>37068</c:v>
                </c:pt>
                <c:pt idx="2980">
                  <c:v>37069</c:v>
                </c:pt>
                <c:pt idx="2981">
                  <c:v>37070</c:v>
                </c:pt>
                <c:pt idx="2982">
                  <c:v>37071</c:v>
                </c:pt>
                <c:pt idx="2983">
                  <c:v>37074</c:v>
                </c:pt>
                <c:pt idx="2984">
                  <c:v>37075</c:v>
                </c:pt>
                <c:pt idx="2985">
                  <c:v>37077</c:v>
                </c:pt>
                <c:pt idx="2986">
                  <c:v>37078</c:v>
                </c:pt>
                <c:pt idx="2987">
                  <c:v>37081</c:v>
                </c:pt>
                <c:pt idx="2988">
                  <c:v>37082</c:v>
                </c:pt>
                <c:pt idx="2989">
                  <c:v>37083</c:v>
                </c:pt>
                <c:pt idx="2990">
                  <c:v>37084</c:v>
                </c:pt>
                <c:pt idx="2991">
                  <c:v>37085</c:v>
                </c:pt>
                <c:pt idx="2992">
                  <c:v>37088</c:v>
                </c:pt>
                <c:pt idx="2993">
                  <c:v>37089</c:v>
                </c:pt>
                <c:pt idx="2994">
                  <c:v>37090</c:v>
                </c:pt>
                <c:pt idx="2995">
                  <c:v>37091</c:v>
                </c:pt>
                <c:pt idx="2996">
                  <c:v>37092</c:v>
                </c:pt>
                <c:pt idx="2997">
                  <c:v>37095</c:v>
                </c:pt>
                <c:pt idx="2998">
                  <c:v>37096</c:v>
                </c:pt>
                <c:pt idx="2999">
                  <c:v>37097</c:v>
                </c:pt>
                <c:pt idx="3000">
                  <c:v>37098</c:v>
                </c:pt>
                <c:pt idx="3001">
                  <c:v>37099</c:v>
                </c:pt>
                <c:pt idx="3002">
                  <c:v>37102</c:v>
                </c:pt>
                <c:pt idx="3003">
                  <c:v>37103</c:v>
                </c:pt>
                <c:pt idx="3004">
                  <c:v>37104</c:v>
                </c:pt>
                <c:pt idx="3005">
                  <c:v>37105</c:v>
                </c:pt>
                <c:pt idx="3006">
                  <c:v>37106</c:v>
                </c:pt>
                <c:pt idx="3007">
                  <c:v>37109</c:v>
                </c:pt>
                <c:pt idx="3008">
                  <c:v>37110</c:v>
                </c:pt>
                <c:pt idx="3009">
                  <c:v>37111</c:v>
                </c:pt>
                <c:pt idx="3010">
                  <c:v>37112</c:v>
                </c:pt>
                <c:pt idx="3011">
                  <c:v>37113</c:v>
                </c:pt>
                <c:pt idx="3012">
                  <c:v>37116</c:v>
                </c:pt>
                <c:pt idx="3013">
                  <c:v>37117</c:v>
                </c:pt>
                <c:pt idx="3014">
                  <c:v>37118</c:v>
                </c:pt>
                <c:pt idx="3015">
                  <c:v>37119</c:v>
                </c:pt>
                <c:pt idx="3016">
                  <c:v>37120</c:v>
                </c:pt>
                <c:pt idx="3017">
                  <c:v>37123</c:v>
                </c:pt>
                <c:pt idx="3018">
                  <c:v>37124</c:v>
                </c:pt>
                <c:pt idx="3019">
                  <c:v>37125</c:v>
                </c:pt>
                <c:pt idx="3020">
                  <c:v>37126</c:v>
                </c:pt>
                <c:pt idx="3021">
                  <c:v>37127</c:v>
                </c:pt>
                <c:pt idx="3022">
                  <c:v>37130</c:v>
                </c:pt>
                <c:pt idx="3023">
                  <c:v>37131</c:v>
                </c:pt>
                <c:pt idx="3024">
                  <c:v>37132</c:v>
                </c:pt>
                <c:pt idx="3025">
                  <c:v>37133</c:v>
                </c:pt>
                <c:pt idx="3026">
                  <c:v>37134</c:v>
                </c:pt>
                <c:pt idx="3027">
                  <c:v>37138</c:v>
                </c:pt>
                <c:pt idx="3028">
                  <c:v>37139</c:v>
                </c:pt>
                <c:pt idx="3029">
                  <c:v>37140</c:v>
                </c:pt>
                <c:pt idx="3030">
                  <c:v>37141</c:v>
                </c:pt>
                <c:pt idx="3031">
                  <c:v>37144</c:v>
                </c:pt>
                <c:pt idx="3032">
                  <c:v>37145</c:v>
                </c:pt>
                <c:pt idx="3033">
                  <c:v>37146</c:v>
                </c:pt>
                <c:pt idx="3034">
                  <c:v>37147</c:v>
                </c:pt>
                <c:pt idx="3035">
                  <c:v>37148</c:v>
                </c:pt>
                <c:pt idx="3036">
                  <c:v>37151</c:v>
                </c:pt>
                <c:pt idx="3037">
                  <c:v>37152</c:v>
                </c:pt>
                <c:pt idx="3038">
                  <c:v>37153</c:v>
                </c:pt>
                <c:pt idx="3039">
                  <c:v>37154</c:v>
                </c:pt>
                <c:pt idx="3040">
                  <c:v>37155</c:v>
                </c:pt>
                <c:pt idx="3041">
                  <c:v>37158</c:v>
                </c:pt>
                <c:pt idx="3042">
                  <c:v>37159</c:v>
                </c:pt>
                <c:pt idx="3043">
                  <c:v>37160</c:v>
                </c:pt>
                <c:pt idx="3044">
                  <c:v>37161</c:v>
                </c:pt>
                <c:pt idx="3045">
                  <c:v>37162</c:v>
                </c:pt>
                <c:pt idx="3046">
                  <c:v>37165</c:v>
                </c:pt>
                <c:pt idx="3047">
                  <c:v>37166</c:v>
                </c:pt>
                <c:pt idx="3048">
                  <c:v>37167</c:v>
                </c:pt>
                <c:pt idx="3049">
                  <c:v>37168</c:v>
                </c:pt>
                <c:pt idx="3050">
                  <c:v>37169</c:v>
                </c:pt>
                <c:pt idx="3051">
                  <c:v>37172</c:v>
                </c:pt>
                <c:pt idx="3052">
                  <c:v>37173</c:v>
                </c:pt>
                <c:pt idx="3053">
                  <c:v>37174</c:v>
                </c:pt>
                <c:pt idx="3054">
                  <c:v>37175</c:v>
                </c:pt>
                <c:pt idx="3055">
                  <c:v>37176</c:v>
                </c:pt>
                <c:pt idx="3056">
                  <c:v>37179</c:v>
                </c:pt>
                <c:pt idx="3057">
                  <c:v>37180</c:v>
                </c:pt>
                <c:pt idx="3058">
                  <c:v>37181</c:v>
                </c:pt>
                <c:pt idx="3059">
                  <c:v>37182</c:v>
                </c:pt>
                <c:pt idx="3060">
                  <c:v>37183</c:v>
                </c:pt>
                <c:pt idx="3061">
                  <c:v>37186</c:v>
                </c:pt>
                <c:pt idx="3062">
                  <c:v>37187</c:v>
                </c:pt>
                <c:pt idx="3063">
                  <c:v>37188</c:v>
                </c:pt>
                <c:pt idx="3064">
                  <c:v>37189</c:v>
                </c:pt>
                <c:pt idx="3065">
                  <c:v>37190</c:v>
                </c:pt>
                <c:pt idx="3066">
                  <c:v>37193</c:v>
                </c:pt>
                <c:pt idx="3067">
                  <c:v>37194</c:v>
                </c:pt>
                <c:pt idx="3068">
                  <c:v>37195</c:v>
                </c:pt>
                <c:pt idx="3069">
                  <c:v>37196</c:v>
                </c:pt>
                <c:pt idx="3070">
                  <c:v>37197</c:v>
                </c:pt>
                <c:pt idx="3071">
                  <c:v>37200</c:v>
                </c:pt>
                <c:pt idx="3072">
                  <c:v>37201</c:v>
                </c:pt>
                <c:pt idx="3073">
                  <c:v>37202</c:v>
                </c:pt>
                <c:pt idx="3074">
                  <c:v>37203</c:v>
                </c:pt>
                <c:pt idx="3075">
                  <c:v>37204</c:v>
                </c:pt>
                <c:pt idx="3076">
                  <c:v>37207</c:v>
                </c:pt>
                <c:pt idx="3077">
                  <c:v>37208</c:v>
                </c:pt>
                <c:pt idx="3078">
                  <c:v>37209</c:v>
                </c:pt>
                <c:pt idx="3079">
                  <c:v>37210</c:v>
                </c:pt>
                <c:pt idx="3080">
                  <c:v>37211</c:v>
                </c:pt>
                <c:pt idx="3081">
                  <c:v>37214</c:v>
                </c:pt>
                <c:pt idx="3082">
                  <c:v>37215</c:v>
                </c:pt>
                <c:pt idx="3083">
                  <c:v>37216</c:v>
                </c:pt>
                <c:pt idx="3084">
                  <c:v>37218</c:v>
                </c:pt>
                <c:pt idx="3085">
                  <c:v>37221</c:v>
                </c:pt>
                <c:pt idx="3086">
                  <c:v>37222</c:v>
                </c:pt>
                <c:pt idx="3087">
                  <c:v>37223</c:v>
                </c:pt>
                <c:pt idx="3088">
                  <c:v>37224</c:v>
                </c:pt>
                <c:pt idx="3089">
                  <c:v>37225</c:v>
                </c:pt>
                <c:pt idx="3090">
                  <c:v>37228</c:v>
                </c:pt>
                <c:pt idx="3091">
                  <c:v>37229</c:v>
                </c:pt>
                <c:pt idx="3092">
                  <c:v>37230</c:v>
                </c:pt>
                <c:pt idx="3093">
                  <c:v>37231</c:v>
                </c:pt>
                <c:pt idx="3094">
                  <c:v>37232</c:v>
                </c:pt>
                <c:pt idx="3095">
                  <c:v>37235</c:v>
                </c:pt>
                <c:pt idx="3096">
                  <c:v>37236</c:v>
                </c:pt>
                <c:pt idx="3097">
                  <c:v>37237</c:v>
                </c:pt>
                <c:pt idx="3098">
                  <c:v>37238</c:v>
                </c:pt>
                <c:pt idx="3099">
                  <c:v>37239</c:v>
                </c:pt>
                <c:pt idx="3100">
                  <c:v>37242</c:v>
                </c:pt>
                <c:pt idx="3101">
                  <c:v>37243</c:v>
                </c:pt>
                <c:pt idx="3102">
                  <c:v>37244</c:v>
                </c:pt>
                <c:pt idx="3103">
                  <c:v>37245</c:v>
                </c:pt>
                <c:pt idx="3104">
                  <c:v>37246</c:v>
                </c:pt>
                <c:pt idx="3105">
                  <c:v>37249</c:v>
                </c:pt>
                <c:pt idx="3106">
                  <c:v>37251</c:v>
                </c:pt>
                <c:pt idx="3107">
                  <c:v>37252</c:v>
                </c:pt>
                <c:pt idx="3108">
                  <c:v>37253</c:v>
                </c:pt>
                <c:pt idx="3109">
                  <c:v>37256</c:v>
                </c:pt>
                <c:pt idx="3110">
                  <c:v>37258</c:v>
                </c:pt>
                <c:pt idx="3111">
                  <c:v>37259</c:v>
                </c:pt>
                <c:pt idx="3112">
                  <c:v>37260</c:v>
                </c:pt>
                <c:pt idx="3113">
                  <c:v>37263</c:v>
                </c:pt>
                <c:pt idx="3114">
                  <c:v>37264</c:v>
                </c:pt>
                <c:pt idx="3115">
                  <c:v>37265</c:v>
                </c:pt>
                <c:pt idx="3116">
                  <c:v>37266</c:v>
                </c:pt>
                <c:pt idx="3117">
                  <c:v>37267</c:v>
                </c:pt>
                <c:pt idx="3118">
                  <c:v>37270</c:v>
                </c:pt>
                <c:pt idx="3119">
                  <c:v>37271</c:v>
                </c:pt>
                <c:pt idx="3120">
                  <c:v>37272</c:v>
                </c:pt>
                <c:pt idx="3121">
                  <c:v>37273</c:v>
                </c:pt>
                <c:pt idx="3122">
                  <c:v>37274</c:v>
                </c:pt>
                <c:pt idx="3123">
                  <c:v>37278</c:v>
                </c:pt>
                <c:pt idx="3124">
                  <c:v>37279</c:v>
                </c:pt>
                <c:pt idx="3125">
                  <c:v>37280</c:v>
                </c:pt>
                <c:pt idx="3126">
                  <c:v>37281</c:v>
                </c:pt>
                <c:pt idx="3127">
                  <c:v>37284</c:v>
                </c:pt>
                <c:pt idx="3128">
                  <c:v>37285</c:v>
                </c:pt>
                <c:pt idx="3129">
                  <c:v>37286</c:v>
                </c:pt>
                <c:pt idx="3130">
                  <c:v>37287</c:v>
                </c:pt>
                <c:pt idx="3131">
                  <c:v>37288</c:v>
                </c:pt>
                <c:pt idx="3132">
                  <c:v>37291</c:v>
                </c:pt>
                <c:pt idx="3133">
                  <c:v>37292</c:v>
                </c:pt>
                <c:pt idx="3134">
                  <c:v>37293</c:v>
                </c:pt>
                <c:pt idx="3135">
                  <c:v>37294</c:v>
                </c:pt>
                <c:pt idx="3136">
                  <c:v>37295</c:v>
                </c:pt>
                <c:pt idx="3137">
                  <c:v>37298</c:v>
                </c:pt>
                <c:pt idx="3138">
                  <c:v>37299</c:v>
                </c:pt>
                <c:pt idx="3139">
                  <c:v>37300</c:v>
                </c:pt>
                <c:pt idx="3140">
                  <c:v>37301</c:v>
                </c:pt>
                <c:pt idx="3141">
                  <c:v>37302</c:v>
                </c:pt>
                <c:pt idx="3142">
                  <c:v>37306</c:v>
                </c:pt>
                <c:pt idx="3143">
                  <c:v>37307</c:v>
                </c:pt>
                <c:pt idx="3144">
                  <c:v>37308</c:v>
                </c:pt>
                <c:pt idx="3145">
                  <c:v>37309</c:v>
                </c:pt>
                <c:pt idx="3146">
                  <c:v>37312</c:v>
                </c:pt>
                <c:pt idx="3147">
                  <c:v>37313</c:v>
                </c:pt>
                <c:pt idx="3148">
                  <c:v>37314</c:v>
                </c:pt>
                <c:pt idx="3149">
                  <c:v>37315</c:v>
                </c:pt>
                <c:pt idx="3150">
                  <c:v>37316</c:v>
                </c:pt>
                <c:pt idx="3151">
                  <c:v>37319</c:v>
                </c:pt>
                <c:pt idx="3152">
                  <c:v>37320</c:v>
                </c:pt>
                <c:pt idx="3153">
                  <c:v>37321</c:v>
                </c:pt>
                <c:pt idx="3154">
                  <c:v>37322</c:v>
                </c:pt>
                <c:pt idx="3155">
                  <c:v>37323</c:v>
                </c:pt>
                <c:pt idx="3156">
                  <c:v>37326</c:v>
                </c:pt>
                <c:pt idx="3157">
                  <c:v>37327</c:v>
                </c:pt>
                <c:pt idx="3158">
                  <c:v>37328</c:v>
                </c:pt>
                <c:pt idx="3159">
                  <c:v>37329</c:v>
                </c:pt>
                <c:pt idx="3160">
                  <c:v>37330</c:v>
                </c:pt>
                <c:pt idx="3161">
                  <c:v>37333</c:v>
                </c:pt>
                <c:pt idx="3162">
                  <c:v>37334</c:v>
                </c:pt>
                <c:pt idx="3163">
                  <c:v>37335</c:v>
                </c:pt>
                <c:pt idx="3164">
                  <c:v>37336</c:v>
                </c:pt>
                <c:pt idx="3165">
                  <c:v>37337</c:v>
                </c:pt>
                <c:pt idx="3166">
                  <c:v>37340</c:v>
                </c:pt>
                <c:pt idx="3167">
                  <c:v>37341</c:v>
                </c:pt>
                <c:pt idx="3168">
                  <c:v>37342</c:v>
                </c:pt>
                <c:pt idx="3169">
                  <c:v>37343</c:v>
                </c:pt>
                <c:pt idx="3170">
                  <c:v>37347</c:v>
                </c:pt>
                <c:pt idx="3171">
                  <c:v>37348</c:v>
                </c:pt>
                <c:pt idx="3172">
                  <c:v>37349</c:v>
                </c:pt>
                <c:pt idx="3173">
                  <c:v>37350</c:v>
                </c:pt>
                <c:pt idx="3174">
                  <c:v>37351</c:v>
                </c:pt>
                <c:pt idx="3175">
                  <c:v>37354</c:v>
                </c:pt>
                <c:pt idx="3176">
                  <c:v>37355</c:v>
                </c:pt>
                <c:pt idx="3177">
                  <c:v>37356</c:v>
                </c:pt>
                <c:pt idx="3178">
                  <c:v>37357</c:v>
                </c:pt>
                <c:pt idx="3179">
                  <c:v>37358</c:v>
                </c:pt>
                <c:pt idx="3180">
                  <c:v>37361</c:v>
                </c:pt>
                <c:pt idx="3181">
                  <c:v>37362</c:v>
                </c:pt>
                <c:pt idx="3182">
                  <c:v>37363</c:v>
                </c:pt>
                <c:pt idx="3183">
                  <c:v>37364</c:v>
                </c:pt>
                <c:pt idx="3184">
                  <c:v>37365</c:v>
                </c:pt>
                <c:pt idx="3185">
                  <c:v>37368</c:v>
                </c:pt>
                <c:pt idx="3186">
                  <c:v>37369</c:v>
                </c:pt>
                <c:pt idx="3187">
                  <c:v>37370</c:v>
                </c:pt>
                <c:pt idx="3188">
                  <c:v>37371</c:v>
                </c:pt>
                <c:pt idx="3189">
                  <c:v>37372</c:v>
                </c:pt>
                <c:pt idx="3190">
                  <c:v>37375</c:v>
                </c:pt>
                <c:pt idx="3191">
                  <c:v>37376</c:v>
                </c:pt>
                <c:pt idx="3192">
                  <c:v>37377</c:v>
                </c:pt>
                <c:pt idx="3193">
                  <c:v>37378</c:v>
                </c:pt>
                <c:pt idx="3194">
                  <c:v>37379</c:v>
                </c:pt>
                <c:pt idx="3195">
                  <c:v>37382</c:v>
                </c:pt>
                <c:pt idx="3196">
                  <c:v>37383</c:v>
                </c:pt>
                <c:pt idx="3197">
                  <c:v>37384</c:v>
                </c:pt>
                <c:pt idx="3198">
                  <c:v>37385</c:v>
                </c:pt>
                <c:pt idx="3199">
                  <c:v>37386</c:v>
                </c:pt>
                <c:pt idx="3200">
                  <c:v>37389</c:v>
                </c:pt>
                <c:pt idx="3201">
                  <c:v>37390</c:v>
                </c:pt>
                <c:pt idx="3202">
                  <c:v>37391</c:v>
                </c:pt>
                <c:pt idx="3203">
                  <c:v>37392</c:v>
                </c:pt>
                <c:pt idx="3204">
                  <c:v>37393</c:v>
                </c:pt>
                <c:pt idx="3205">
                  <c:v>37396</c:v>
                </c:pt>
                <c:pt idx="3206">
                  <c:v>37397</c:v>
                </c:pt>
                <c:pt idx="3207">
                  <c:v>37398</c:v>
                </c:pt>
                <c:pt idx="3208">
                  <c:v>37399</c:v>
                </c:pt>
                <c:pt idx="3209">
                  <c:v>37400</c:v>
                </c:pt>
                <c:pt idx="3210">
                  <c:v>37404</c:v>
                </c:pt>
                <c:pt idx="3211">
                  <c:v>37405</c:v>
                </c:pt>
                <c:pt idx="3212">
                  <c:v>37406</c:v>
                </c:pt>
                <c:pt idx="3213">
                  <c:v>37407</c:v>
                </c:pt>
                <c:pt idx="3214">
                  <c:v>37410</c:v>
                </c:pt>
                <c:pt idx="3215">
                  <c:v>37411</c:v>
                </c:pt>
                <c:pt idx="3216">
                  <c:v>37412</c:v>
                </c:pt>
                <c:pt idx="3217">
                  <c:v>37413</c:v>
                </c:pt>
                <c:pt idx="3218">
                  <c:v>37414</c:v>
                </c:pt>
                <c:pt idx="3219">
                  <c:v>37417</c:v>
                </c:pt>
                <c:pt idx="3220">
                  <c:v>37418</c:v>
                </c:pt>
                <c:pt idx="3221">
                  <c:v>37419</c:v>
                </c:pt>
                <c:pt idx="3222">
                  <c:v>37420</c:v>
                </c:pt>
                <c:pt idx="3223">
                  <c:v>37421</c:v>
                </c:pt>
                <c:pt idx="3224">
                  <c:v>37424</c:v>
                </c:pt>
                <c:pt idx="3225">
                  <c:v>37425</c:v>
                </c:pt>
                <c:pt idx="3226">
                  <c:v>37426</c:v>
                </c:pt>
                <c:pt idx="3227">
                  <c:v>37427</c:v>
                </c:pt>
                <c:pt idx="3228">
                  <c:v>37428</c:v>
                </c:pt>
                <c:pt idx="3229">
                  <c:v>37431</c:v>
                </c:pt>
                <c:pt idx="3230">
                  <c:v>37432</c:v>
                </c:pt>
                <c:pt idx="3231">
                  <c:v>37433</c:v>
                </c:pt>
                <c:pt idx="3232">
                  <c:v>37434</c:v>
                </c:pt>
                <c:pt idx="3233">
                  <c:v>37435</c:v>
                </c:pt>
                <c:pt idx="3234">
                  <c:v>37438</c:v>
                </c:pt>
                <c:pt idx="3235">
                  <c:v>37439</c:v>
                </c:pt>
                <c:pt idx="3236">
                  <c:v>37440</c:v>
                </c:pt>
                <c:pt idx="3237">
                  <c:v>37442</c:v>
                </c:pt>
                <c:pt idx="3238">
                  <c:v>37445</c:v>
                </c:pt>
                <c:pt idx="3239">
                  <c:v>37446</c:v>
                </c:pt>
                <c:pt idx="3240">
                  <c:v>37447</c:v>
                </c:pt>
                <c:pt idx="3241">
                  <c:v>37448</c:v>
                </c:pt>
                <c:pt idx="3242">
                  <c:v>37449</c:v>
                </c:pt>
                <c:pt idx="3243">
                  <c:v>37452</c:v>
                </c:pt>
                <c:pt idx="3244">
                  <c:v>37453</c:v>
                </c:pt>
                <c:pt idx="3245">
                  <c:v>37454</c:v>
                </c:pt>
                <c:pt idx="3246">
                  <c:v>37455</c:v>
                </c:pt>
                <c:pt idx="3247">
                  <c:v>37456</c:v>
                </c:pt>
                <c:pt idx="3248">
                  <c:v>37459</c:v>
                </c:pt>
                <c:pt idx="3249">
                  <c:v>37460</c:v>
                </c:pt>
                <c:pt idx="3250">
                  <c:v>37461</c:v>
                </c:pt>
                <c:pt idx="3251">
                  <c:v>37462</c:v>
                </c:pt>
                <c:pt idx="3252">
                  <c:v>37463</c:v>
                </c:pt>
                <c:pt idx="3253">
                  <c:v>37466</c:v>
                </c:pt>
                <c:pt idx="3254">
                  <c:v>37467</c:v>
                </c:pt>
                <c:pt idx="3255">
                  <c:v>37468</c:v>
                </c:pt>
                <c:pt idx="3256">
                  <c:v>37469</c:v>
                </c:pt>
                <c:pt idx="3257">
                  <c:v>37470</c:v>
                </c:pt>
                <c:pt idx="3258">
                  <c:v>37473</c:v>
                </c:pt>
                <c:pt idx="3259">
                  <c:v>37474</c:v>
                </c:pt>
                <c:pt idx="3260">
                  <c:v>37475</c:v>
                </c:pt>
                <c:pt idx="3261">
                  <c:v>37476</c:v>
                </c:pt>
                <c:pt idx="3262">
                  <c:v>37477</c:v>
                </c:pt>
                <c:pt idx="3263">
                  <c:v>37480</c:v>
                </c:pt>
                <c:pt idx="3264">
                  <c:v>37481</c:v>
                </c:pt>
                <c:pt idx="3265">
                  <c:v>37482</c:v>
                </c:pt>
                <c:pt idx="3266">
                  <c:v>37483</c:v>
                </c:pt>
                <c:pt idx="3267">
                  <c:v>37484</c:v>
                </c:pt>
                <c:pt idx="3268">
                  <c:v>37487</c:v>
                </c:pt>
                <c:pt idx="3269">
                  <c:v>37488</c:v>
                </c:pt>
                <c:pt idx="3270">
                  <c:v>37489</c:v>
                </c:pt>
                <c:pt idx="3271">
                  <c:v>37490</c:v>
                </c:pt>
                <c:pt idx="3272">
                  <c:v>37491</c:v>
                </c:pt>
                <c:pt idx="3273">
                  <c:v>37494</c:v>
                </c:pt>
                <c:pt idx="3274">
                  <c:v>37495</c:v>
                </c:pt>
                <c:pt idx="3275">
                  <c:v>37496</c:v>
                </c:pt>
                <c:pt idx="3276">
                  <c:v>37497</c:v>
                </c:pt>
                <c:pt idx="3277">
                  <c:v>37498</c:v>
                </c:pt>
                <c:pt idx="3278">
                  <c:v>37502</c:v>
                </c:pt>
                <c:pt idx="3279">
                  <c:v>37503</c:v>
                </c:pt>
                <c:pt idx="3280">
                  <c:v>37504</c:v>
                </c:pt>
                <c:pt idx="3281">
                  <c:v>37505</c:v>
                </c:pt>
                <c:pt idx="3282">
                  <c:v>37508</c:v>
                </c:pt>
                <c:pt idx="3283">
                  <c:v>37509</c:v>
                </c:pt>
                <c:pt idx="3284">
                  <c:v>37510</c:v>
                </c:pt>
                <c:pt idx="3285">
                  <c:v>37511</c:v>
                </c:pt>
                <c:pt idx="3286">
                  <c:v>37512</c:v>
                </c:pt>
                <c:pt idx="3287">
                  <c:v>37515</c:v>
                </c:pt>
                <c:pt idx="3288">
                  <c:v>37516</c:v>
                </c:pt>
                <c:pt idx="3289">
                  <c:v>37517</c:v>
                </c:pt>
                <c:pt idx="3290">
                  <c:v>37518</c:v>
                </c:pt>
                <c:pt idx="3291">
                  <c:v>37519</c:v>
                </c:pt>
                <c:pt idx="3292">
                  <c:v>37522</c:v>
                </c:pt>
                <c:pt idx="3293">
                  <c:v>37523</c:v>
                </c:pt>
                <c:pt idx="3294">
                  <c:v>37524</c:v>
                </c:pt>
                <c:pt idx="3295">
                  <c:v>37525</c:v>
                </c:pt>
                <c:pt idx="3296">
                  <c:v>37526</c:v>
                </c:pt>
                <c:pt idx="3297">
                  <c:v>37529</c:v>
                </c:pt>
                <c:pt idx="3298">
                  <c:v>37530</c:v>
                </c:pt>
                <c:pt idx="3299">
                  <c:v>37531</c:v>
                </c:pt>
                <c:pt idx="3300">
                  <c:v>37532</c:v>
                </c:pt>
                <c:pt idx="3301">
                  <c:v>37533</c:v>
                </c:pt>
                <c:pt idx="3302">
                  <c:v>37536</c:v>
                </c:pt>
                <c:pt idx="3303">
                  <c:v>37537</c:v>
                </c:pt>
                <c:pt idx="3304">
                  <c:v>37538</c:v>
                </c:pt>
                <c:pt idx="3305">
                  <c:v>37539</c:v>
                </c:pt>
                <c:pt idx="3306">
                  <c:v>37540</c:v>
                </c:pt>
                <c:pt idx="3307">
                  <c:v>37543</c:v>
                </c:pt>
                <c:pt idx="3308">
                  <c:v>37544</c:v>
                </c:pt>
                <c:pt idx="3309">
                  <c:v>37545</c:v>
                </c:pt>
                <c:pt idx="3310">
                  <c:v>37546</c:v>
                </c:pt>
                <c:pt idx="3311">
                  <c:v>37547</c:v>
                </c:pt>
                <c:pt idx="3312">
                  <c:v>37550</c:v>
                </c:pt>
                <c:pt idx="3313">
                  <c:v>37551</c:v>
                </c:pt>
                <c:pt idx="3314">
                  <c:v>37552</c:v>
                </c:pt>
                <c:pt idx="3315">
                  <c:v>37553</c:v>
                </c:pt>
                <c:pt idx="3316">
                  <c:v>37554</c:v>
                </c:pt>
                <c:pt idx="3317">
                  <c:v>37557</c:v>
                </c:pt>
                <c:pt idx="3318">
                  <c:v>37558</c:v>
                </c:pt>
                <c:pt idx="3319">
                  <c:v>37559</c:v>
                </c:pt>
                <c:pt idx="3320">
                  <c:v>37560</c:v>
                </c:pt>
                <c:pt idx="3321">
                  <c:v>37561</c:v>
                </c:pt>
                <c:pt idx="3322">
                  <c:v>37564</c:v>
                </c:pt>
                <c:pt idx="3323">
                  <c:v>37565</c:v>
                </c:pt>
                <c:pt idx="3324">
                  <c:v>37566</c:v>
                </c:pt>
                <c:pt idx="3325">
                  <c:v>37567</c:v>
                </c:pt>
                <c:pt idx="3326">
                  <c:v>37568</c:v>
                </c:pt>
                <c:pt idx="3327">
                  <c:v>37571</c:v>
                </c:pt>
                <c:pt idx="3328">
                  <c:v>37572</c:v>
                </c:pt>
                <c:pt idx="3329">
                  <c:v>37573</c:v>
                </c:pt>
                <c:pt idx="3330">
                  <c:v>37574</c:v>
                </c:pt>
                <c:pt idx="3331">
                  <c:v>37575</c:v>
                </c:pt>
                <c:pt idx="3332">
                  <c:v>37578</c:v>
                </c:pt>
                <c:pt idx="3333">
                  <c:v>37579</c:v>
                </c:pt>
                <c:pt idx="3334">
                  <c:v>37580</c:v>
                </c:pt>
                <c:pt idx="3335">
                  <c:v>37581</c:v>
                </c:pt>
                <c:pt idx="3336">
                  <c:v>37582</c:v>
                </c:pt>
                <c:pt idx="3337">
                  <c:v>37585</c:v>
                </c:pt>
                <c:pt idx="3338">
                  <c:v>37586</c:v>
                </c:pt>
                <c:pt idx="3339">
                  <c:v>37587</c:v>
                </c:pt>
                <c:pt idx="3340">
                  <c:v>37589</c:v>
                </c:pt>
                <c:pt idx="3341">
                  <c:v>37592</c:v>
                </c:pt>
                <c:pt idx="3342">
                  <c:v>37593</c:v>
                </c:pt>
                <c:pt idx="3343">
                  <c:v>37594</c:v>
                </c:pt>
                <c:pt idx="3344">
                  <c:v>37595</c:v>
                </c:pt>
                <c:pt idx="3345">
                  <c:v>37596</c:v>
                </c:pt>
                <c:pt idx="3346">
                  <c:v>37599</c:v>
                </c:pt>
                <c:pt idx="3347">
                  <c:v>37600</c:v>
                </c:pt>
                <c:pt idx="3348">
                  <c:v>37601</c:v>
                </c:pt>
                <c:pt idx="3349">
                  <c:v>37602</c:v>
                </c:pt>
                <c:pt idx="3350">
                  <c:v>37603</c:v>
                </c:pt>
                <c:pt idx="3351">
                  <c:v>37606</c:v>
                </c:pt>
                <c:pt idx="3352">
                  <c:v>37607</c:v>
                </c:pt>
                <c:pt idx="3353">
                  <c:v>37608</c:v>
                </c:pt>
                <c:pt idx="3354">
                  <c:v>37609</c:v>
                </c:pt>
                <c:pt idx="3355">
                  <c:v>37610</c:v>
                </c:pt>
                <c:pt idx="3356">
                  <c:v>37613</c:v>
                </c:pt>
                <c:pt idx="3357">
                  <c:v>37614</c:v>
                </c:pt>
                <c:pt idx="3358">
                  <c:v>37616</c:v>
                </c:pt>
                <c:pt idx="3359">
                  <c:v>37617</c:v>
                </c:pt>
                <c:pt idx="3360">
                  <c:v>37620</c:v>
                </c:pt>
                <c:pt idx="3361">
                  <c:v>37621</c:v>
                </c:pt>
                <c:pt idx="3362">
                  <c:v>37623</c:v>
                </c:pt>
                <c:pt idx="3363">
                  <c:v>37624</c:v>
                </c:pt>
                <c:pt idx="3364">
                  <c:v>37627</c:v>
                </c:pt>
                <c:pt idx="3365">
                  <c:v>37628</c:v>
                </c:pt>
                <c:pt idx="3366">
                  <c:v>37629</c:v>
                </c:pt>
                <c:pt idx="3367">
                  <c:v>37630</c:v>
                </c:pt>
                <c:pt idx="3368">
                  <c:v>37631</c:v>
                </c:pt>
                <c:pt idx="3369">
                  <c:v>37634</c:v>
                </c:pt>
                <c:pt idx="3370">
                  <c:v>37635</c:v>
                </c:pt>
                <c:pt idx="3371">
                  <c:v>37636</c:v>
                </c:pt>
                <c:pt idx="3372">
                  <c:v>37637</c:v>
                </c:pt>
                <c:pt idx="3373">
                  <c:v>37638</c:v>
                </c:pt>
                <c:pt idx="3374">
                  <c:v>37642</c:v>
                </c:pt>
                <c:pt idx="3375">
                  <c:v>37643</c:v>
                </c:pt>
                <c:pt idx="3376">
                  <c:v>37644</c:v>
                </c:pt>
                <c:pt idx="3377">
                  <c:v>37645</c:v>
                </c:pt>
                <c:pt idx="3378">
                  <c:v>37648</c:v>
                </c:pt>
                <c:pt idx="3379">
                  <c:v>37649</c:v>
                </c:pt>
                <c:pt idx="3380">
                  <c:v>37650</c:v>
                </c:pt>
                <c:pt idx="3381">
                  <c:v>37651</c:v>
                </c:pt>
                <c:pt idx="3382">
                  <c:v>37652</c:v>
                </c:pt>
                <c:pt idx="3383">
                  <c:v>37655</c:v>
                </c:pt>
                <c:pt idx="3384">
                  <c:v>37656</c:v>
                </c:pt>
                <c:pt idx="3385">
                  <c:v>37657</c:v>
                </c:pt>
                <c:pt idx="3386">
                  <c:v>37658</c:v>
                </c:pt>
                <c:pt idx="3387">
                  <c:v>37659</c:v>
                </c:pt>
                <c:pt idx="3388">
                  <c:v>37662</c:v>
                </c:pt>
                <c:pt idx="3389">
                  <c:v>37663</c:v>
                </c:pt>
                <c:pt idx="3390">
                  <c:v>37664</c:v>
                </c:pt>
                <c:pt idx="3391">
                  <c:v>37665</c:v>
                </c:pt>
                <c:pt idx="3392">
                  <c:v>37666</c:v>
                </c:pt>
                <c:pt idx="3393">
                  <c:v>37670</c:v>
                </c:pt>
                <c:pt idx="3394">
                  <c:v>37671</c:v>
                </c:pt>
                <c:pt idx="3395">
                  <c:v>37672</c:v>
                </c:pt>
                <c:pt idx="3396">
                  <c:v>37673</c:v>
                </c:pt>
                <c:pt idx="3397">
                  <c:v>37676</c:v>
                </c:pt>
                <c:pt idx="3398">
                  <c:v>37677</c:v>
                </c:pt>
                <c:pt idx="3399">
                  <c:v>37678</c:v>
                </c:pt>
                <c:pt idx="3400">
                  <c:v>37679</c:v>
                </c:pt>
                <c:pt idx="3401">
                  <c:v>37680</c:v>
                </c:pt>
                <c:pt idx="3402">
                  <c:v>37683</c:v>
                </c:pt>
                <c:pt idx="3403">
                  <c:v>37684</c:v>
                </c:pt>
                <c:pt idx="3404">
                  <c:v>37685</c:v>
                </c:pt>
                <c:pt idx="3405">
                  <c:v>37686</c:v>
                </c:pt>
                <c:pt idx="3406">
                  <c:v>37687</c:v>
                </c:pt>
                <c:pt idx="3407">
                  <c:v>37690</c:v>
                </c:pt>
                <c:pt idx="3408">
                  <c:v>37691</c:v>
                </c:pt>
                <c:pt idx="3409">
                  <c:v>37692</c:v>
                </c:pt>
                <c:pt idx="3410">
                  <c:v>37693</c:v>
                </c:pt>
                <c:pt idx="3411">
                  <c:v>37694</c:v>
                </c:pt>
                <c:pt idx="3412">
                  <c:v>37697</c:v>
                </c:pt>
                <c:pt idx="3413">
                  <c:v>37698</c:v>
                </c:pt>
                <c:pt idx="3414">
                  <c:v>37699</c:v>
                </c:pt>
                <c:pt idx="3415">
                  <c:v>37700</c:v>
                </c:pt>
                <c:pt idx="3416">
                  <c:v>37701</c:v>
                </c:pt>
                <c:pt idx="3417">
                  <c:v>37704</c:v>
                </c:pt>
                <c:pt idx="3418">
                  <c:v>37705</c:v>
                </c:pt>
                <c:pt idx="3419">
                  <c:v>37706</c:v>
                </c:pt>
                <c:pt idx="3420">
                  <c:v>37707</c:v>
                </c:pt>
                <c:pt idx="3421">
                  <c:v>37708</c:v>
                </c:pt>
                <c:pt idx="3422">
                  <c:v>37711</c:v>
                </c:pt>
                <c:pt idx="3423">
                  <c:v>37712</c:v>
                </c:pt>
                <c:pt idx="3424">
                  <c:v>37713</c:v>
                </c:pt>
                <c:pt idx="3425">
                  <c:v>37714</c:v>
                </c:pt>
                <c:pt idx="3426">
                  <c:v>37715</c:v>
                </c:pt>
                <c:pt idx="3427">
                  <c:v>37718</c:v>
                </c:pt>
                <c:pt idx="3428">
                  <c:v>37719</c:v>
                </c:pt>
                <c:pt idx="3429">
                  <c:v>37720</c:v>
                </c:pt>
                <c:pt idx="3430">
                  <c:v>37721</c:v>
                </c:pt>
                <c:pt idx="3431">
                  <c:v>37722</c:v>
                </c:pt>
                <c:pt idx="3432">
                  <c:v>37725</c:v>
                </c:pt>
                <c:pt idx="3433">
                  <c:v>37726</c:v>
                </c:pt>
                <c:pt idx="3434">
                  <c:v>37727</c:v>
                </c:pt>
                <c:pt idx="3435">
                  <c:v>37728</c:v>
                </c:pt>
                <c:pt idx="3436">
                  <c:v>37732</c:v>
                </c:pt>
                <c:pt idx="3437">
                  <c:v>37733</c:v>
                </c:pt>
                <c:pt idx="3438">
                  <c:v>37734</c:v>
                </c:pt>
                <c:pt idx="3439">
                  <c:v>37735</c:v>
                </c:pt>
                <c:pt idx="3440">
                  <c:v>37736</c:v>
                </c:pt>
                <c:pt idx="3441">
                  <c:v>37739</c:v>
                </c:pt>
                <c:pt idx="3442">
                  <c:v>37740</c:v>
                </c:pt>
                <c:pt idx="3443">
                  <c:v>37741</c:v>
                </c:pt>
                <c:pt idx="3444">
                  <c:v>37742</c:v>
                </c:pt>
                <c:pt idx="3445">
                  <c:v>37743</c:v>
                </c:pt>
                <c:pt idx="3446">
                  <c:v>37746</c:v>
                </c:pt>
                <c:pt idx="3447">
                  <c:v>37747</c:v>
                </c:pt>
                <c:pt idx="3448">
                  <c:v>37748</c:v>
                </c:pt>
                <c:pt idx="3449">
                  <c:v>37749</c:v>
                </c:pt>
                <c:pt idx="3450">
                  <c:v>37750</c:v>
                </c:pt>
                <c:pt idx="3451">
                  <c:v>37753</c:v>
                </c:pt>
                <c:pt idx="3452">
                  <c:v>37754</c:v>
                </c:pt>
                <c:pt idx="3453">
                  <c:v>37755</c:v>
                </c:pt>
                <c:pt idx="3454">
                  <c:v>37756</c:v>
                </c:pt>
                <c:pt idx="3455">
                  <c:v>37757</c:v>
                </c:pt>
                <c:pt idx="3456">
                  <c:v>37760</c:v>
                </c:pt>
                <c:pt idx="3457">
                  <c:v>37761</c:v>
                </c:pt>
                <c:pt idx="3458">
                  <c:v>37762</c:v>
                </c:pt>
                <c:pt idx="3459">
                  <c:v>37763</c:v>
                </c:pt>
                <c:pt idx="3460">
                  <c:v>37764</c:v>
                </c:pt>
                <c:pt idx="3461">
                  <c:v>37768</c:v>
                </c:pt>
                <c:pt idx="3462">
                  <c:v>37769</c:v>
                </c:pt>
                <c:pt idx="3463">
                  <c:v>37770</c:v>
                </c:pt>
                <c:pt idx="3464">
                  <c:v>37771</c:v>
                </c:pt>
                <c:pt idx="3465">
                  <c:v>37774</c:v>
                </c:pt>
                <c:pt idx="3466">
                  <c:v>37775</c:v>
                </c:pt>
                <c:pt idx="3467">
                  <c:v>37776</c:v>
                </c:pt>
                <c:pt idx="3468">
                  <c:v>37777</c:v>
                </c:pt>
                <c:pt idx="3469">
                  <c:v>37778</c:v>
                </c:pt>
                <c:pt idx="3470">
                  <c:v>37781</c:v>
                </c:pt>
                <c:pt idx="3471">
                  <c:v>37782</c:v>
                </c:pt>
                <c:pt idx="3472">
                  <c:v>37783</c:v>
                </c:pt>
                <c:pt idx="3473">
                  <c:v>37784</c:v>
                </c:pt>
                <c:pt idx="3474">
                  <c:v>37785</c:v>
                </c:pt>
                <c:pt idx="3475">
                  <c:v>37788</c:v>
                </c:pt>
                <c:pt idx="3476">
                  <c:v>37789</c:v>
                </c:pt>
                <c:pt idx="3477">
                  <c:v>37790</c:v>
                </c:pt>
                <c:pt idx="3478">
                  <c:v>37791</c:v>
                </c:pt>
                <c:pt idx="3479">
                  <c:v>37792</c:v>
                </c:pt>
                <c:pt idx="3480">
                  <c:v>37795</c:v>
                </c:pt>
                <c:pt idx="3481">
                  <c:v>37796</c:v>
                </c:pt>
                <c:pt idx="3482">
                  <c:v>37797</c:v>
                </c:pt>
                <c:pt idx="3483">
                  <c:v>37798</c:v>
                </c:pt>
                <c:pt idx="3484">
                  <c:v>37799</c:v>
                </c:pt>
                <c:pt idx="3485">
                  <c:v>37802</c:v>
                </c:pt>
                <c:pt idx="3486">
                  <c:v>37803</c:v>
                </c:pt>
                <c:pt idx="3487">
                  <c:v>37804</c:v>
                </c:pt>
                <c:pt idx="3488">
                  <c:v>37805</c:v>
                </c:pt>
                <c:pt idx="3489">
                  <c:v>37809</c:v>
                </c:pt>
                <c:pt idx="3490">
                  <c:v>37810</c:v>
                </c:pt>
                <c:pt idx="3491">
                  <c:v>37811</c:v>
                </c:pt>
                <c:pt idx="3492">
                  <c:v>37812</c:v>
                </c:pt>
                <c:pt idx="3493">
                  <c:v>37813</c:v>
                </c:pt>
                <c:pt idx="3494">
                  <c:v>37816</c:v>
                </c:pt>
                <c:pt idx="3495">
                  <c:v>37817</c:v>
                </c:pt>
                <c:pt idx="3496">
                  <c:v>37818</c:v>
                </c:pt>
                <c:pt idx="3497">
                  <c:v>37819</c:v>
                </c:pt>
                <c:pt idx="3498">
                  <c:v>37820</c:v>
                </c:pt>
                <c:pt idx="3499">
                  <c:v>37823</c:v>
                </c:pt>
                <c:pt idx="3500">
                  <c:v>37824</c:v>
                </c:pt>
                <c:pt idx="3501">
                  <c:v>37825</c:v>
                </c:pt>
                <c:pt idx="3502">
                  <c:v>37826</c:v>
                </c:pt>
                <c:pt idx="3503">
                  <c:v>37827</c:v>
                </c:pt>
                <c:pt idx="3504">
                  <c:v>37830</c:v>
                </c:pt>
                <c:pt idx="3505">
                  <c:v>37831</c:v>
                </c:pt>
                <c:pt idx="3506">
                  <c:v>37832</c:v>
                </c:pt>
                <c:pt idx="3507">
                  <c:v>37833</c:v>
                </c:pt>
                <c:pt idx="3508">
                  <c:v>37834</c:v>
                </c:pt>
                <c:pt idx="3509">
                  <c:v>37837</c:v>
                </c:pt>
                <c:pt idx="3510">
                  <c:v>37838</c:v>
                </c:pt>
                <c:pt idx="3511">
                  <c:v>37839</c:v>
                </c:pt>
                <c:pt idx="3512">
                  <c:v>37840</c:v>
                </c:pt>
                <c:pt idx="3513">
                  <c:v>37841</c:v>
                </c:pt>
                <c:pt idx="3514">
                  <c:v>37844</c:v>
                </c:pt>
                <c:pt idx="3515">
                  <c:v>37845</c:v>
                </c:pt>
                <c:pt idx="3516">
                  <c:v>37846</c:v>
                </c:pt>
                <c:pt idx="3517">
                  <c:v>37847</c:v>
                </c:pt>
                <c:pt idx="3518">
                  <c:v>37848</c:v>
                </c:pt>
                <c:pt idx="3519">
                  <c:v>37851</c:v>
                </c:pt>
                <c:pt idx="3520">
                  <c:v>37852</c:v>
                </c:pt>
                <c:pt idx="3521">
                  <c:v>37853</c:v>
                </c:pt>
                <c:pt idx="3522">
                  <c:v>37854</c:v>
                </c:pt>
                <c:pt idx="3523">
                  <c:v>37855</c:v>
                </c:pt>
                <c:pt idx="3524">
                  <c:v>37858</c:v>
                </c:pt>
                <c:pt idx="3525">
                  <c:v>37859</c:v>
                </c:pt>
                <c:pt idx="3526">
                  <c:v>37860</c:v>
                </c:pt>
                <c:pt idx="3527">
                  <c:v>37861</c:v>
                </c:pt>
                <c:pt idx="3528">
                  <c:v>37862</c:v>
                </c:pt>
                <c:pt idx="3529">
                  <c:v>37866</c:v>
                </c:pt>
                <c:pt idx="3530">
                  <c:v>37867</c:v>
                </c:pt>
                <c:pt idx="3531">
                  <c:v>37868</c:v>
                </c:pt>
                <c:pt idx="3532">
                  <c:v>37869</c:v>
                </c:pt>
                <c:pt idx="3533">
                  <c:v>37872</c:v>
                </c:pt>
                <c:pt idx="3534">
                  <c:v>37873</c:v>
                </c:pt>
                <c:pt idx="3535">
                  <c:v>37874</c:v>
                </c:pt>
                <c:pt idx="3536">
                  <c:v>37875</c:v>
                </c:pt>
                <c:pt idx="3537">
                  <c:v>37876</c:v>
                </c:pt>
                <c:pt idx="3538">
                  <c:v>37879</c:v>
                </c:pt>
                <c:pt idx="3539">
                  <c:v>37880</c:v>
                </c:pt>
                <c:pt idx="3540">
                  <c:v>37881</c:v>
                </c:pt>
                <c:pt idx="3541">
                  <c:v>37882</c:v>
                </c:pt>
                <c:pt idx="3542">
                  <c:v>37883</c:v>
                </c:pt>
                <c:pt idx="3543">
                  <c:v>37886</c:v>
                </c:pt>
                <c:pt idx="3544">
                  <c:v>37887</c:v>
                </c:pt>
                <c:pt idx="3545">
                  <c:v>37888</c:v>
                </c:pt>
                <c:pt idx="3546">
                  <c:v>37889</c:v>
                </c:pt>
                <c:pt idx="3547">
                  <c:v>37890</c:v>
                </c:pt>
                <c:pt idx="3548">
                  <c:v>37893</c:v>
                </c:pt>
                <c:pt idx="3549">
                  <c:v>37894</c:v>
                </c:pt>
                <c:pt idx="3550">
                  <c:v>37895</c:v>
                </c:pt>
                <c:pt idx="3551">
                  <c:v>37896</c:v>
                </c:pt>
                <c:pt idx="3552">
                  <c:v>37897</c:v>
                </c:pt>
                <c:pt idx="3553">
                  <c:v>37900</c:v>
                </c:pt>
                <c:pt idx="3554">
                  <c:v>37901</c:v>
                </c:pt>
                <c:pt idx="3555">
                  <c:v>37902</c:v>
                </c:pt>
                <c:pt idx="3556">
                  <c:v>37903</c:v>
                </c:pt>
                <c:pt idx="3557">
                  <c:v>37904</c:v>
                </c:pt>
                <c:pt idx="3558">
                  <c:v>37907</c:v>
                </c:pt>
                <c:pt idx="3559">
                  <c:v>37908</c:v>
                </c:pt>
                <c:pt idx="3560">
                  <c:v>37909</c:v>
                </c:pt>
                <c:pt idx="3561">
                  <c:v>37910</c:v>
                </c:pt>
                <c:pt idx="3562">
                  <c:v>37911</c:v>
                </c:pt>
                <c:pt idx="3563">
                  <c:v>37914</c:v>
                </c:pt>
                <c:pt idx="3564">
                  <c:v>37915</c:v>
                </c:pt>
                <c:pt idx="3565">
                  <c:v>37916</c:v>
                </c:pt>
                <c:pt idx="3566">
                  <c:v>37917</c:v>
                </c:pt>
                <c:pt idx="3567">
                  <c:v>37918</c:v>
                </c:pt>
                <c:pt idx="3568">
                  <c:v>37921</c:v>
                </c:pt>
                <c:pt idx="3569">
                  <c:v>37922</c:v>
                </c:pt>
                <c:pt idx="3570">
                  <c:v>37923</c:v>
                </c:pt>
                <c:pt idx="3571">
                  <c:v>37924</c:v>
                </c:pt>
                <c:pt idx="3572">
                  <c:v>37925</c:v>
                </c:pt>
                <c:pt idx="3573">
                  <c:v>37928</c:v>
                </c:pt>
                <c:pt idx="3574">
                  <c:v>37929</c:v>
                </c:pt>
                <c:pt idx="3575">
                  <c:v>37930</c:v>
                </c:pt>
                <c:pt idx="3576">
                  <c:v>37931</c:v>
                </c:pt>
                <c:pt idx="3577">
                  <c:v>37932</c:v>
                </c:pt>
                <c:pt idx="3578">
                  <c:v>37935</c:v>
                </c:pt>
                <c:pt idx="3579">
                  <c:v>37936</c:v>
                </c:pt>
                <c:pt idx="3580">
                  <c:v>37937</c:v>
                </c:pt>
                <c:pt idx="3581">
                  <c:v>37938</c:v>
                </c:pt>
                <c:pt idx="3582">
                  <c:v>37939</c:v>
                </c:pt>
                <c:pt idx="3583">
                  <c:v>37942</c:v>
                </c:pt>
                <c:pt idx="3584">
                  <c:v>37943</c:v>
                </c:pt>
                <c:pt idx="3585">
                  <c:v>37944</c:v>
                </c:pt>
                <c:pt idx="3586">
                  <c:v>37945</c:v>
                </c:pt>
                <c:pt idx="3587">
                  <c:v>37946</c:v>
                </c:pt>
                <c:pt idx="3588">
                  <c:v>37949</c:v>
                </c:pt>
                <c:pt idx="3589">
                  <c:v>37950</c:v>
                </c:pt>
                <c:pt idx="3590">
                  <c:v>37951</c:v>
                </c:pt>
                <c:pt idx="3591">
                  <c:v>37953</c:v>
                </c:pt>
                <c:pt idx="3592">
                  <c:v>37956</c:v>
                </c:pt>
                <c:pt idx="3593">
                  <c:v>37957</c:v>
                </c:pt>
                <c:pt idx="3594">
                  <c:v>37958</c:v>
                </c:pt>
                <c:pt idx="3595">
                  <c:v>37959</c:v>
                </c:pt>
                <c:pt idx="3596">
                  <c:v>37960</c:v>
                </c:pt>
                <c:pt idx="3597">
                  <c:v>37963</c:v>
                </c:pt>
                <c:pt idx="3598">
                  <c:v>37964</c:v>
                </c:pt>
                <c:pt idx="3599">
                  <c:v>37965</c:v>
                </c:pt>
                <c:pt idx="3600">
                  <c:v>37966</c:v>
                </c:pt>
                <c:pt idx="3601">
                  <c:v>37967</c:v>
                </c:pt>
                <c:pt idx="3602">
                  <c:v>37970</c:v>
                </c:pt>
                <c:pt idx="3603">
                  <c:v>37971</c:v>
                </c:pt>
                <c:pt idx="3604">
                  <c:v>37972</c:v>
                </c:pt>
                <c:pt idx="3605">
                  <c:v>37973</c:v>
                </c:pt>
                <c:pt idx="3606">
                  <c:v>37974</c:v>
                </c:pt>
                <c:pt idx="3607">
                  <c:v>37977</c:v>
                </c:pt>
                <c:pt idx="3608">
                  <c:v>37978</c:v>
                </c:pt>
                <c:pt idx="3609">
                  <c:v>37979</c:v>
                </c:pt>
                <c:pt idx="3610">
                  <c:v>37981</c:v>
                </c:pt>
                <c:pt idx="3611">
                  <c:v>37984</c:v>
                </c:pt>
                <c:pt idx="3612">
                  <c:v>37985</c:v>
                </c:pt>
                <c:pt idx="3613">
                  <c:v>37986</c:v>
                </c:pt>
                <c:pt idx="3614">
                  <c:v>37988</c:v>
                </c:pt>
                <c:pt idx="3615">
                  <c:v>37991</c:v>
                </c:pt>
                <c:pt idx="3616">
                  <c:v>37992</c:v>
                </c:pt>
                <c:pt idx="3617">
                  <c:v>37993</c:v>
                </c:pt>
                <c:pt idx="3618">
                  <c:v>37994</c:v>
                </c:pt>
                <c:pt idx="3619">
                  <c:v>37995</c:v>
                </c:pt>
                <c:pt idx="3620">
                  <c:v>37998</c:v>
                </c:pt>
                <c:pt idx="3621">
                  <c:v>37999</c:v>
                </c:pt>
                <c:pt idx="3622">
                  <c:v>38000</c:v>
                </c:pt>
                <c:pt idx="3623">
                  <c:v>38001</c:v>
                </c:pt>
                <c:pt idx="3624">
                  <c:v>38002</c:v>
                </c:pt>
                <c:pt idx="3625">
                  <c:v>38006</c:v>
                </c:pt>
                <c:pt idx="3626">
                  <c:v>38007</c:v>
                </c:pt>
                <c:pt idx="3627">
                  <c:v>38008</c:v>
                </c:pt>
                <c:pt idx="3628">
                  <c:v>38009</c:v>
                </c:pt>
                <c:pt idx="3629">
                  <c:v>38012</c:v>
                </c:pt>
                <c:pt idx="3630">
                  <c:v>38013</c:v>
                </c:pt>
                <c:pt idx="3631">
                  <c:v>38014</c:v>
                </c:pt>
                <c:pt idx="3632">
                  <c:v>38015</c:v>
                </c:pt>
                <c:pt idx="3633">
                  <c:v>38016</c:v>
                </c:pt>
                <c:pt idx="3634">
                  <c:v>38019</c:v>
                </c:pt>
                <c:pt idx="3635">
                  <c:v>38020</c:v>
                </c:pt>
                <c:pt idx="3636">
                  <c:v>38021</c:v>
                </c:pt>
                <c:pt idx="3637">
                  <c:v>38022</c:v>
                </c:pt>
                <c:pt idx="3638">
                  <c:v>38023</c:v>
                </c:pt>
                <c:pt idx="3639">
                  <c:v>38026</c:v>
                </c:pt>
                <c:pt idx="3640">
                  <c:v>38027</c:v>
                </c:pt>
                <c:pt idx="3641">
                  <c:v>38028</c:v>
                </c:pt>
                <c:pt idx="3642">
                  <c:v>38029</c:v>
                </c:pt>
                <c:pt idx="3643">
                  <c:v>38030</c:v>
                </c:pt>
                <c:pt idx="3644">
                  <c:v>38034</c:v>
                </c:pt>
                <c:pt idx="3645">
                  <c:v>38035</c:v>
                </c:pt>
                <c:pt idx="3646">
                  <c:v>38036</c:v>
                </c:pt>
                <c:pt idx="3647">
                  <c:v>38037</c:v>
                </c:pt>
                <c:pt idx="3648">
                  <c:v>38040</c:v>
                </c:pt>
                <c:pt idx="3649">
                  <c:v>38041</c:v>
                </c:pt>
                <c:pt idx="3650">
                  <c:v>38042</c:v>
                </c:pt>
                <c:pt idx="3651">
                  <c:v>38043</c:v>
                </c:pt>
                <c:pt idx="3652">
                  <c:v>38044</c:v>
                </c:pt>
                <c:pt idx="3653">
                  <c:v>38047</c:v>
                </c:pt>
                <c:pt idx="3654">
                  <c:v>38048</c:v>
                </c:pt>
                <c:pt idx="3655">
                  <c:v>38049</c:v>
                </c:pt>
                <c:pt idx="3656">
                  <c:v>38050</c:v>
                </c:pt>
                <c:pt idx="3657">
                  <c:v>38051</c:v>
                </c:pt>
                <c:pt idx="3658">
                  <c:v>38054</c:v>
                </c:pt>
                <c:pt idx="3659">
                  <c:v>38055</c:v>
                </c:pt>
                <c:pt idx="3660">
                  <c:v>38056</c:v>
                </c:pt>
                <c:pt idx="3661">
                  <c:v>38057</c:v>
                </c:pt>
                <c:pt idx="3662">
                  <c:v>38058</c:v>
                </c:pt>
                <c:pt idx="3663">
                  <c:v>38061</c:v>
                </c:pt>
                <c:pt idx="3664">
                  <c:v>38062</c:v>
                </c:pt>
                <c:pt idx="3665">
                  <c:v>38063</c:v>
                </c:pt>
                <c:pt idx="3666">
                  <c:v>38064</c:v>
                </c:pt>
                <c:pt idx="3667">
                  <c:v>38065</c:v>
                </c:pt>
                <c:pt idx="3668">
                  <c:v>38068</c:v>
                </c:pt>
                <c:pt idx="3669">
                  <c:v>38069</c:v>
                </c:pt>
                <c:pt idx="3670">
                  <c:v>38070</c:v>
                </c:pt>
                <c:pt idx="3671">
                  <c:v>38071</c:v>
                </c:pt>
                <c:pt idx="3672">
                  <c:v>38072</c:v>
                </c:pt>
                <c:pt idx="3673">
                  <c:v>38075</c:v>
                </c:pt>
                <c:pt idx="3674">
                  <c:v>38076</c:v>
                </c:pt>
                <c:pt idx="3675">
                  <c:v>38077</c:v>
                </c:pt>
                <c:pt idx="3676">
                  <c:v>38078</c:v>
                </c:pt>
                <c:pt idx="3677">
                  <c:v>38079</c:v>
                </c:pt>
                <c:pt idx="3678">
                  <c:v>38082</c:v>
                </c:pt>
                <c:pt idx="3679">
                  <c:v>38083</c:v>
                </c:pt>
                <c:pt idx="3680">
                  <c:v>38084</c:v>
                </c:pt>
                <c:pt idx="3681">
                  <c:v>38085</c:v>
                </c:pt>
                <c:pt idx="3682">
                  <c:v>38089</c:v>
                </c:pt>
                <c:pt idx="3683">
                  <c:v>38090</c:v>
                </c:pt>
                <c:pt idx="3684">
                  <c:v>38091</c:v>
                </c:pt>
                <c:pt idx="3685">
                  <c:v>38092</c:v>
                </c:pt>
                <c:pt idx="3686">
                  <c:v>38093</c:v>
                </c:pt>
                <c:pt idx="3687">
                  <c:v>38096</c:v>
                </c:pt>
                <c:pt idx="3688">
                  <c:v>38097</c:v>
                </c:pt>
                <c:pt idx="3689">
                  <c:v>38098</c:v>
                </c:pt>
                <c:pt idx="3690">
                  <c:v>38099</c:v>
                </c:pt>
                <c:pt idx="3691">
                  <c:v>38100</c:v>
                </c:pt>
                <c:pt idx="3692">
                  <c:v>38103</c:v>
                </c:pt>
                <c:pt idx="3693">
                  <c:v>38104</c:v>
                </c:pt>
                <c:pt idx="3694">
                  <c:v>38105</c:v>
                </c:pt>
                <c:pt idx="3695">
                  <c:v>38106</c:v>
                </c:pt>
                <c:pt idx="3696">
                  <c:v>38107</c:v>
                </c:pt>
                <c:pt idx="3697">
                  <c:v>38110</c:v>
                </c:pt>
                <c:pt idx="3698">
                  <c:v>38111</c:v>
                </c:pt>
                <c:pt idx="3699">
                  <c:v>38112</c:v>
                </c:pt>
                <c:pt idx="3700">
                  <c:v>38113</c:v>
                </c:pt>
                <c:pt idx="3701">
                  <c:v>38114</c:v>
                </c:pt>
                <c:pt idx="3702">
                  <c:v>38117</c:v>
                </c:pt>
                <c:pt idx="3703">
                  <c:v>38118</c:v>
                </c:pt>
                <c:pt idx="3704">
                  <c:v>38119</c:v>
                </c:pt>
                <c:pt idx="3705">
                  <c:v>38120</c:v>
                </c:pt>
                <c:pt idx="3706">
                  <c:v>38121</c:v>
                </c:pt>
                <c:pt idx="3707">
                  <c:v>38124</c:v>
                </c:pt>
                <c:pt idx="3708">
                  <c:v>38125</c:v>
                </c:pt>
                <c:pt idx="3709">
                  <c:v>38126</c:v>
                </c:pt>
                <c:pt idx="3710">
                  <c:v>38127</c:v>
                </c:pt>
                <c:pt idx="3711">
                  <c:v>38128</c:v>
                </c:pt>
                <c:pt idx="3712">
                  <c:v>38131</c:v>
                </c:pt>
                <c:pt idx="3713">
                  <c:v>38132</c:v>
                </c:pt>
                <c:pt idx="3714">
                  <c:v>38133</c:v>
                </c:pt>
                <c:pt idx="3715">
                  <c:v>38134</c:v>
                </c:pt>
                <c:pt idx="3716">
                  <c:v>38135</c:v>
                </c:pt>
                <c:pt idx="3717">
                  <c:v>38139</c:v>
                </c:pt>
                <c:pt idx="3718">
                  <c:v>38140</c:v>
                </c:pt>
                <c:pt idx="3719">
                  <c:v>38141</c:v>
                </c:pt>
                <c:pt idx="3720">
                  <c:v>38142</c:v>
                </c:pt>
                <c:pt idx="3721">
                  <c:v>38145</c:v>
                </c:pt>
                <c:pt idx="3722">
                  <c:v>38146</c:v>
                </c:pt>
                <c:pt idx="3723">
                  <c:v>38147</c:v>
                </c:pt>
                <c:pt idx="3724">
                  <c:v>38148</c:v>
                </c:pt>
                <c:pt idx="3725">
                  <c:v>38152</c:v>
                </c:pt>
                <c:pt idx="3726">
                  <c:v>38153</c:v>
                </c:pt>
                <c:pt idx="3727">
                  <c:v>38154</c:v>
                </c:pt>
                <c:pt idx="3728">
                  <c:v>38155</c:v>
                </c:pt>
                <c:pt idx="3729">
                  <c:v>38156</c:v>
                </c:pt>
                <c:pt idx="3730">
                  <c:v>38159</c:v>
                </c:pt>
                <c:pt idx="3731">
                  <c:v>38160</c:v>
                </c:pt>
                <c:pt idx="3732">
                  <c:v>38161</c:v>
                </c:pt>
                <c:pt idx="3733">
                  <c:v>38162</c:v>
                </c:pt>
                <c:pt idx="3734">
                  <c:v>38163</c:v>
                </c:pt>
                <c:pt idx="3735">
                  <c:v>38166</c:v>
                </c:pt>
                <c:pt idx="3736">
                  <c:v>38167</c:v>
                </c:pt>
                <c:pt idx="3737">
                  <c:v>38168</c:v>
                </c:pt>
                <c:pt idx="3738">
                  <c:v>38169</c:v>
                </c:pt>
                <c:pt idx="3739">
                  <c:v>38170</c:v>
                </c:pt>
                <c:pt idx="3740">
                  <c:v>38174</c:v>
                </c:pt>
                <c:pt idx="3741">
                  <c:v>38175</c:v>
                </c:pt>
                <c:pt idx="3742">
                  <c:v>38176</c:v>
                </c:pt>
                <c:pt idx="3743">
                  <c:v>38177</c:v>
                </c:pt>
                <c:pt idx="3744">
                  <c:v>38180</c:v>
                </c:pt>
                <c:pt idx="3745">
                  <c:v>38181</c:v>
                </c:pt>
                <c:pt idx="3746">
                  <c:v>38182</c:v>
                </c:pt>
                <c:pt idx="3747">
                  <c:v>38183</c:v>
                </c:pt>
                <c:pt idx="3748">
                  <c:v>38184</c:v>
                </c:pt>
                <c:pt idx="3749">
                  <c:v>38187</c:v>
                </c:pt>
                <c:pt idx="3750">
                  <c:v>38188</c:v>
                </c:pt>
                <c:pt idx="3751">
                  <c:v>38189</c:v>
                </c:pt>
                <c:pt idx="3752">
                  <c:v>38190</c:v>
                </c:pt>
                <c:pt idx="3753">
                  <c:v>38191</c:v>
                </c:pt>
                <c:pt idx="3754">
                  <c:v>38194</c:v>
                </c:pt>
                <c:pt idx="3755">
                  <c:v>38195</c:v>
                </c:pt>
                <c:pt idx="3756">
                  <c:v>38196</c:v>
                </c:pt>
                <c:pt idx="3757">
                  <c:v>38197</c:v>
                </c:pt>
                <c:pt idx="3758">
                  <c:v>38198</c:v>
                </c:pt>
                <c:pt idx="3759">
                  <c:v>38201</c:v>
                </c:pt>
                <c:pt idx="3760">
                  <c:v>38202</c:v>
                </c:pt>
                <c:pt idx="3761">
                  <c:v>38203</c:v>
                </c:pt>
                <c:pt idx="3762">
                  <c:v>38204</c:v>
                </c:pt>
                <c:pt idx="3763">
                  <c:v>38205</c:v>
                </c:pt>
                <c:pt idx="3764">
                  <c:v>38208</c:v>
                </c:pt>
                <c:pt idx="3765">
                  <c:v>38209</c:v>
                </c:pt>
                <c:pt idx="3766">
                  <c:v>38210</c:v>
                </c:pt>
                <c:pt idx="3767">
                  <c:v>38211</c:v>
                </c:pt>
                <c:pt idx="3768">
                  <c:v>38212</c:v>
                </c:pt>
                <c:pt idx="3769">
                  <c:v>38215</c:v>
                </c:pt>
                <c:pt idx="3770">
                  <c:v>38216</c:v>
                </c:pt>
                <c:pt idx="3771">
                  <c:v>38217</c:v>
                </c:pt>
                <c:pt idx="3772">
                  <c:v>38218</c:v>
                </c:pt>
                <c:pt idx="3773">
                  <c:v>38219</c:v>
                </c:pt>
                <c:pt idx="3774">
                  <c:v>38222</c:v>
                </c:pt>
                <c:pt idx="3775">
                  <c:v>38223</c:v>
                </c:pt>
                <c:pt idx="3776">
                  <c:v>38224</c:v>
                </c:pt>
                <c:pt idx="3777">
                  <c:v>38225</c:v>
                </c:pt>
                <c:pt idx="3778">
                  <c:v>38226</c:v>
                </c:pt>
                <c:pt idx="3779">
                  <c:v>38229</c:v>
                </c:pt>
                <c:pt idx="3780">
                  <c:v>38230</c:v>
                </c:pt>
                <c:pt idx="3781">
                  <c:v>38231</c:v>
                </c:pt>
                <c:pt idx="3782">
                  <c:v>38232</c:v>
                </c:pt>
                <c:pt idx="3783">
                  <c:v>38233</c:v>
                </c:pt>
                <c:pt idx="3784">
                  <c:v>38237</c:v>
                </c:pt>
                <c:pt idx="3785">
                  <c:v>38238</c:v>
                </c:pt>
                <c:pt idx="3786">
                  <c:v>38239</c:v>
                </c:pt>
                <c:pt idx="3787">
                  <c:v>38240</c:v>
                </c:pt>
                <c:pt idx="3788">
                  <c:v>38243</c:v>
                </c:pt>
                <c:pt idx="3789">
                  <c:v>38244</c:v>
                </c:pt>
                <c:pt idx="3790">
                  <c:v>38245</c:v>
                </c:pt>
                <c:pt idx="3791">
                  <c:v>38246</c:v>
                </c:pt>
                <c:pt idx="3792">
                  <c:v>38247</c:v>
                </c:pt>
                <c:pt idx="3793">
                  <c:v>38250</c:v>
                </c:pt>
                <c:pt idx="3794">
                  <c:v>38251</c:v>
                </c:pt>
                <c:pt idx="3795">
                  <c:v>38252</c:v>
                </c:pt>
                <c:pt idx="3796">
                  <c:v>38253</c:v>
                </c:pt>
                <c:pt idx="3797">
                  <c:v>38254</c:v>
                </c:pt>
                <c:pt idx="3798">
                  <c:v>38257</c:v>
                </c:pt>
                <c:pt idx="3799">
                  <c:v>38258</c:v>
                </c:pt>
                <c:pt idx="3800">
                  <c:v>38259</c:v>
                </c:pt>
                <c:pt idx="3801">
                  <c:v>38260</c:v>
                </c:pt>
                <c:pt idx="3802">
                  <c:v>38261</c:v>
                </c:pt>
                <c:pt idx="3803">
                  <c:v>38264</c:v>
                </c:pt>
                <c:pt idx="3804">
                  <c:v>38265</c:v>
                </c:pt>
                <c:pt idx="3805">
                  <c:v>38266</c:v>
                </c:pt>
                <c:pt idx="3806">
                  <c:v>38267</c:v>
                </c:pt>
                <c:pt idx="3807">
                  <c:v>38268</c:v>
                </c:pt>
                <c:pt idx="3808">
                  <c:v>38271</c:v>
                </c:pt>
                <c:pt idx="3809">
                  <c:v>38272</c:v>
                </c:pt>
                <c:pt idx="3810">
                  <c:v>38273</c:v>
                </c:pt>
                <c:pt idx="3811">
                  <c:v>38274</c:v>
                </c:pt>
                <c:pt idx="3812">
                  <c:v>38275</c:v>
                </c:pt>
                <c:pt idx="3813">
                  <c:v>38278</c:v>
                </c:pt>
                <c:pt idx="3814">
                  <c:v>38279</c:v>
                </c:pt>
                <c:pt idx="3815">
                  <c:v>38280</c:v>
                </c:pt>
                <c:pt idx="3816">
                  <c:v>38281</c:v>
                </c:pt>
                <c:pt idx="3817">
                  <c:v>38282</c:v>
                </c:pt>
                <c:pt idx="3818">
                  <c:v>38285</c:v>
                </c:pt>
                <c:pt idx="3819">
                  <c:v>38286</c:v>
                </c:pt>
                <c:pt idx="3820">
                  <c:v>38287</c:v>
                </c:pt>
                <c:pt idx="3821">
                  <c:v>38288</c:v>
                </c:pt>
                <c:pt idx="3822">
                  <c:v>38289</c:v>
                </c:pt>
                <c:pt idx="3823">
                  <c:v>38292</c:v>
                </c:pt>
                <c:pt idx="3824">
                  <c:v>38293</c:v>
                </c:pt>
                <c:pt idx="3825">
                  <c:v>38294</c:v>
                </c:pt>
                <c:pt idx="3826">
                  <c:v>38295</c:v>
                </c:pt>
                <c:pt idx="3827">
                  <c:v>38296</c:v>
                </c:pt>
                <c:pt idx="3828">
                  <c:v>38299</c:v>
                </c:pt>
                <c:pt idx="3829">
                  <c:v>38300</c:v>
                </c:pt>
                <c:pt idx="3830">
                  <c:v>38301</c:v>
                </c:pt>
                <c:pt idx="3831">
                  <c:v>38302</c:v>
                </c:pt>
                <c:pt idx="3832">
                  <c:v>38303</c:v>
                </c:pt>
                <c:pt idx="3833">
                  <c:v>38306</c:v>
                </c:pt>
                <c:pt idx="3834">
                  <c:v>38307</c:v>
                </c:pt>
                <c:pt idx="3835">
                  <c:v>38308</c:v>
                </c:pt>
                <c:pt idx="3836">
                  <c:v>38309</c:v>
                </c:pt>
                <c:pt idx="3837">
                  <c:v>38310</c:v>
                </c:pt>
                <c:pt idx="3838">
                  <c:v>38313</c:v>
                </c:pt>
                <c:pt idx="3839">
                  <c:v>38314</c:v>
                </c:pt>
                <c:pt idx="3840">
                  <c:v>38315</c:v>
                </c:pt>
                <c:pt idx="3841">
                  <c:v>38317</c:v>
                </c:pt>
                <c:pt idx="3842">
                  <c:v>38320</c:v>
                </c:pt>
                <c:pt idx="3843">
                  <c:v>38321</c:v>
                </c:pt>
                <c:pt idx="3844">
                  <c:v>38322</c:v>
                </c:pt>
                <c:pt idx="3845">
                  <c:v>38323</c:v>
                </c:pt>
                <c:pt idx="3846">
                  <c:v>38324</c:v>
                </c:pt>
                <c:pt idx="3847">
                  <c:v>38327</c:v>
                </c:pt>
                <c:pt idx="3848">
                  <c:v>38328</c:v>
                </c:pt>
                <c:pt idx="3849">
                  <c:v>38329</c:v>
                </c:pt>
                <c:pt idx="3850">
                  <c:v>38330</c:v>
                </c:pt>
                <c:pt idx="3851">
                  <c:v>38331</c:v>
                </c:pt>
                <c:pt idx="3852">
                  <c:v>38334</c:v>
                </c:pt>
                <c:pt idx="3853">
                  <c:v>38335</c:v>
                </c:pt>
                <c:pt idx="3854">
                  <c:v>38336</c:v>
                </c:pt>
                <c:pt idx="3855">
                  <c:v>38337</c:v>
                </c:pt>
                <c:pt idx="3856">
                  <c:v>38338</c:v>
                </c:pt>
                <c:pt idx="3857">
                  <c:v>38341</c:v>
                </c:pt>
                <c:pt idx="3858">
                  <c:v>38342</c:v>
                </c:pt>
                <c:pt idx="3859">
                  <c:v>38343</c:v>
                </c:pt>
                <c:pt idx="3860">
                  <c:v>38344</c:v>
                </c:pt>
                <c:pt idx="3861">
                  <c:v>38348</c:v>
                </c:pt>
                <c:pt idx="3862">
                  <c:v>38349</c:v>
                </c:pt>
                <c:pt idx="3863">
                  <c:v>38350</c:v>
                </c:pt>
                <c:pt idx="3864">
                  <c:v>38351</c:v>
                </c:pt>
                <c:pt idx="3865">
                  <c:v>38352</c:v>
                </c:pt>
                <c:pt idx="3866">
                  <c:v>38355</c:v>
                </c:pt>
                <c:pt idx="3867">
                  <c:v>38356</c:v>
                </c:pt>
                <c:pt idx="3868">
                  <c:v>38357</c:v>
                </c:pt>
                <c:pt idx="3869">
                  <c:v>38358</c:v>
                </c:pt>
                <c:pt idx="3870">
                  <c:v>38359</c:v>
                </c:pt>
                <c:pt idx="3871">
                  <c:v>38362</c:v>
                </c:pt>
                <c:pt idx="3872">
                  <c:v>38363</c:v>
                </c:pt>
                <c:pt idx="3873">
                  <c:v>38364</c:v>
                </c:pt>
                <c:pt idx="3874">
                  <c:v>38365</c:v>
                </c:pt>
                <c:pt idx="3875">
                  <c:v>38366</c:v>
                </c:pt>
                <c:pt idx="3876">
                  <c:v>38370</c:v>
                </c:pt>
                <c:pt idx="3877">
                  <c:v>38371</c:v>
                </c:pt>
                <c:pt idx="3878">
                  <c:v>38372</c:v>
                </c:pt>
                <c:pt idx="3879">
                  <c:v>38373</c:v>
                </c:pt>
                <c:pt idx="3880">
                  <c:v>38376</c:v>
                </c:pt>
                <c:pt idx="3881">
                  <c:v>38377</c:v>
                </c:pt>
                <c:pt idx="3882">
                  <c:v>38378</c:v>
                </c:pt>
                <c:pt idx="3883">
                  <c:v>38379</c:v>
                </c:pt>
                <c:pt idx="3884">
                  <c:v>38380</c:v>
                </c:pt>
                <c:pt idx="3885">
                  <c:v>38383</c:v>
                </c:pt>
                <c:pt idx="3886">
                  <c:v>38384</c:v>
                </c:pt>
                <c:pt idx="3887">
                  <c:v>38385</c:v>
                </c:pt>
                <c:pt idx="3888">
                  <c:v>38386</c:v>
                </c:pt>
                <c:pt idx="3889">
                  <c:v>38387</c:v>
                </c:pt>
                <c:pt idx="3890">
                  <c:v>38390</c:v>
                </c:pt>
                <c:pt idx="3891">
                  <c:v>38391</c:v>
                </c:pt>
                <c:pt idx="3892">
                  <c:v>38392</c:v>
                </c:pt>
                <c:pt idx="3893">
                  <c:v>38393</c:v>
                </c:pt>
                <c:pt idx="3894">
                  <c:v>38394</c:v>
                </c:pt>
                <c:pt idx="3895">
                  <c:v>38397</c:v>
                </c:pt>
                <c:pt idx="3896">
                  <c:v>38398</c:v>
                </c:pt>
                <c:pt idx="3897">
                  <c:v>38399</c:v>
                </c:pt>
                <c:pt idx="3898">
                  <c:v>38400</c:v>
                </c:pt>
                <c:pt idx="3899">
                  <c:v>38401</c:v>
                </c:pt>
                <c:pt idx="3900">
                  <c:v>38405</c:v>
                </c:pt>
                <c:pt idx="3901">
                  <c:v>38406</c:v>
                </c:pt>
                <c:pt idx="3902">
                  <c:v>38407</c:v>
                </c:pt>
                <c:pt idx="3903">
                  <c:v>38408</c:v>
                </c:pt>
                <c:pt idx="3904">
                  <c:v>38411</c:v>
                </c:pt>
                <c:pt idx="3905">
                  <c:v>38412</c:v>
                </c:pt>
                <c:pt idx="3906">
                  <c:v>38413</c:v>
                </c:pt>
                <c:pt idx="3907">
                  <c:v>38414</c:v>
                </c:pt>
                <c:pt idx="3908">
                  <c:v>38415</c:v>
                </c:pt>
                <c:pt idx="3909">
                  <c:v>38418</c:v>
                </c:pt>
                <c:pt idx="3910">
                  <c:v>38419</c:v>
                </c:pt>
                <c:pt idx="3911">
                  <c:v>38420</c:v>
                </c:pt>
                <c:pt idx="3912">
                  <c:v>38421</c:v>
                </c:pt>
                <c:pt idx="3913">
                  <c:v>38422</c:v>
                </c:pt>
                <c:pt idx="3914">
                  <c:v>38425</c:v>
                </c:pt>
                <c:pt idx="3915">
                  <c:v>38426</c:v>
                </c:pt>
                <c:pt idx="3916">
                  <c:v>38427</c:v>
                </c:pt>
                <c:pt idx="3917">
                  <c:v>38428</c:v>
                </c:pt>
                <c:pt idx="3918">
                  <c:v>38429</c:v>
                </c:pt>
                <c:pt idx="3919">
                  <c:v>38432</c:v>
                </c:pt>
                <c:pt idx="3920">
                  <c:v>38433</c:v>
                </c:pt>
                <c:pt idx="3921">
                  <c:v>38434</c:v>
                </c:pt>
                <c:pt idx="3922">
                  <c:v>38435</c:v>
                </c:pt>
                <c:pt idx="3923">
                  <c:v>38439</c:v>
                </c:pt>
                <c:pt idx="3924">
                  <c:v>38440</c:v>
                </c:pt>
                <c:pt idx="3925">
                  <c:v>38441</c:v>
                </c:pt>
                <c:pt idx="3926">
                  <c:v>38442</c:v>
                </c:pt>
                <c:pt idx="3927">
                  <c:v>38443</c:v>
                </c:pt>
                <c:pt idx="3928">
                  <c:v>38446</c:v>
                </c:pt>
                <c:pt idx="3929">
                  <c:v>38447</c:v>
                </c:pt>
                <c:pt idx="3930">
                  <c:v>38448</c:v>
                </c:pt>
                <c:pt idx="3931">
                  <c:v>38449</c:v>
                </c:pt>
                <c:pt idx="3932">
                  <c:v>38450</c:v>
                </c:pt>
                <c:pt idx="3933">
                  <c:v>38453</c:v>
                </c:pt>
                <c:pt idx="3934">
                  <c:v>38454</c:v>
                </c:pt>
                <c:pt idx="3935">
                  <c:v>38455</c:v>
                </c:pt>
                <c:pt idx="3936">
                  <c:v>38456</c:v>
                </c:pt>
                <c:pt idx="3937">
                  <c:v>38457</c:v>
                </c:pt>
                <c:pt idx="3938">
                  <c:v>38460</c:v>
                </c:pt>
                <c:pt idx="3939">
                  <c:v>38461</c:v>
                </c:pt>
                <c:pt idx="3940">
                  <c:v>38462</c:v>
                </c:pt>
                <c:pt idx="3941">
                  <c:v>38463</c:v>
                </c:pt>
                <c:pt idx="3942">
                  <c:v>38464</c:v>
                </c:pt>
                <c:pt idx="3943">
                  <c:v>38467</c:v>
                </c:pt>
                <c:pt idx="3944">
                  <c:v>38468</c:v>
                </c:pt>
                <c:pt idx="3945">
                  <c:v>38469</c:v>
                </c:pt>
                <c:pt idx="3946">
                  <c:v>38470</c:v>
                </c:pt>
                <c:pt idx="3947">
                  <c:v>38471</c:v>
                </c:pt>
                <c:pt idx="3948">
                  <c:v>38474</c:v>
                </c:pt>
                <c:pt idx="3949">
                  <c:v>38475</c:v>
                </c:pt>
                <c:pt idx="3950">
                  <c:v>38476</c:v>
                </c:pt>
                <c:pt idx="3951">
                  <c:v>38477</c:v>
                </c:pt>
                <c:pt idx="3952">
                  <c:v>38478</c:v>
                </c:pt>
                <c:pt idx="3953">
                  <c:v>38481</c:v>
                </c:pt>
                <c:pt idx="3954">
                  <c:v>38482</c:v>
                </c:pt>
                <c:pt idx="3955">
                  <c:v>38483</c:v>
                </c:pt>
                <c:pt idx="3956">
                  <c:v>38484</c:v>
                </c:pt>
                <c:pt idx="3957">
                  <c:v>38485</c:v>
                </c:pt>
                <c:pt idx="3958">
                  <c:v>38488</c:v>
                </c:pt>
                <c:pt idx="3959">
                  <c:v>38489</c:v>
                </c:pt>
                <c:pt idx="3960">
                  <c:v>38490</c:v>
                </c:pt>
                <c:pt idx="3961">
                  <c:v>38491</c:v>
                </c:pt>
                <c:pt idx="3962">
                  <c:v>38492</c:v>
                </c:pt>
                <c:pt idx="3963">
                  <c:v>38495</c:v>
                </c:pt>
                <c:pt idx="3964">
                  <c:v>38496</c:v>
                </c:pt>
                <c:pt idx="3965">
                  <c:v>38497</c:v>
                </c:pt>
                <c:pt idx="3966">
                  <c:v>38498</c:v>
                </c:pt>
                <c:pt idx="3967">
                  <c:v>38499</c:v>
                </c:pt>
                <c:pt idx="3968">
                  <c:v>38503</c:v>
                </c:pt>
                <c:pt idx="3969">
                  <c:v>38504</c:v>
                </c:pt>
                <c:pt idx="3970">
                  <c:v>38505</c:v>
                </c:pt>
                <c:pt idx="3971">
                  <c:v>38506</c:v>
                </c:pt>
                <c:pt idx="3972">
                  <c:v>38509</c:v>
                </c:pt>
                <c:pt idx="3973">
                  <c:v>38510</c:v>
                </c:pt>
                <c:pt idx="3974">
                  <c:v>38511</c:v>
                </c:pt>
                <c:pt idx="3975">
                  <c:v>38512</c:v>
                </c:pt>
                <c:pt idx="3976">
                  <c:v>38513</c:v>
                </c:pt>
                <c:pt idx="3977">
                  <c:v>38516</c:v>
                </c:pt>
                <c:pt idx="3978">
                  <c:v>38517</c:v>
                </c:pt>
                <c:pt idx="3979">
                  <c:v>38518</c:v>
                </c:pt>
                <c:pt idx="3980">
                  <c:v>38519</c:v>
                </c:pt>
                <c:pt idx="3981">
                  <c:v>38520</c:v>
                </c:pt>
                <c:pt idx="3982">
                  <c:v>38523</c:v>
                </c:pt>
                <c:pt idx="3983">
                  <c:v>38524</c:v>
                </c:pt>
                <c:pt idx="3984">
                  <c:v>38525</c:v>
                </c:pt>
                <c:pt idx="3985">
                  <c:v>38526</c:v>
                </c:pt>
                <c:pt idx="3986">
                  <c:v>38527</c:v>
                </c:pt>
                <c:pt idx="3987">
                  <c:v>38530</c:v>
                </c:pt>
                <c:pt idx="3988">
                  <c:v>38531</c:v>
                </c:pt>
                <c:pt idx="3989">
                  <c:v>38532</c:v>
                </c:pt>
                <c:pt idx="3990">
                  <c:v>38533</c:v>
                </c:pt>
                <c:pt idx="3991">
                  <c:v>38534</c:v>
                </c:pt>
                <c:pt idx="3992">
                  <c:v>38538</c:v>
                </c:pt>
                <c:pt idx="3993">
                  <c:v>38539</c:v>
                </c:pt>
                <c:pt idx="3994">
                  <c:v>38540</c:v>
                </c:pt>
                <c:pt idx="3995">
                  <c:v>38541</c:v>
                </c:pt>
                <c:pt idx="3996">
                  <c:v>38544</c:v>
                </c:pt>
                <c:pt idx="3997">
                  <c:v>38545</c:v>
                </c:pt>
                <c:pt idx="3998">
                  <c:v>38546</c:v>
                </c:pt>
                <c:pt idx="3999">
                  <c:v>38547</c:v>
                </c:pt>
                <c:pt idx="4000">
                  <c:v>38548</c:v>
                </c:pt>
                <c:pt idx="4001">
                  <c:v>38551</c:v>
                </c:pt>
                <c:pt idx="4002">
                  <c:v>38552</c:v>
                </c:pt>
                <c:pt idx="4003">
                  <c:v>38553</c:v>
                </c:pt>
                <c:pt idx="4004">
                  <c:v>38554</c:v>
                </c:pt>
                <c:pt idx="4005">
                  <c:v>38555</c:v>
                </c:pt>
                <c:pt idx="4006">
                  <c:v>38558</c:v>
                </c:pt>
                <c:pt idx="4007">
                  <c:v>38559</c:v>
                </c:pt>
                <c:pt idx="4008">
                  <c:v>38560</c:v>
                </c:pt>
                <c:pt idx="4009">
                  <c:v>38561</c:v>
                </c:pt>
                <c:pt idx="4010">
                  <c:v>38562</c:v>
                </c:pt>
                <c:pt idx="4011">
                  <c:v>38565</c:v>
                </c:pt>
                <c:pt idx="4012">
                  <c:v>38566</c:v>
                </c:pt>
                <c:pt idx="4013">
                  <c:v>38567</c:v>
                </c:pt>
                <c:pt idx="4014">
                  <c:v>38568</c:v>
                </c:pt>
                <c:pt idx="4015">
                  <c:v>38569</c:v>
                </c:pt>
                <c:pt idx="4016">
                  <c:v>38572</c:v>
                </c:pt>
                <c:pt idx="4017">
                  <c:v>38573</c:v>
                </c:pt>
                <c:pt idx="4018">
                  <c:v>38574</c:v>
                </c:pt>
                <c:pt idx="4019">
                  <c:v>38575</c:v>
                </c:pt>
                <c:pt idx="4020">
                  <c:v>38576</c:v>
                </c:pt>
                <c:pt idx="4021">
                  <c:v>38579</c:v>
                </c:pt>
                <c:pt idx="4022">
                  <c:v>38580</c:v>
                </c:pt>
                <c:pt idx="4023">
                  <c:v>38581</c:v>
                </c:pt>
                <c:pt idx="4024">
                  <c:v>38582</c:v>
                </c:pt>
                <c:pt idx="4025">
                  <c:v>38583</c:v>
                </c:pt>
                <c:pt idx="4026">
                  <c:v>38586</c:v>
                </c:pt>
                <c:pt idx="4027">
                  <c:v>38587</c:v>
                </c:pt>
                <c:pt idx="4028">
                  <c:v>38588</c:v>
                </c:pt>
                <c:pt idx="4029">
                  <c:v>38589</c:v>
                </c:pt>
                <c:pt idx="4030">
                  <c:v>38590</c:v>
                </c:pt>
                <c:pt idx="4031">
                  <c:v>38593</c:v>
                </c:pt>
                <c:pt idx="4032">
                  <c:v>38594</c:v>
                </c:pt>
                <c:pt idx="4033">
                  <c:v>38595</c:v>
                </c:pt>
                <c:pt idx="4034">
                  <c:v>38596</c:v>
                </c:pt>
                <c:pt idx="4035">
                  <c:v>38597</c:v>
                </c:pt>
                <c:pt idx="4036">
                  <c:v>38601</c:v>
                </c:pt>
                <c:pt idx="4037">
                  <c:v>38602</c:v>
                </c:pt>
                <c:pt idx="4038">
                  <c:v>38603</c:v>
                </c:pt>
                <c:pt idx="4039">
                  <c:v>38604</c:v>
                </c:pt>
                <c:pt idx="4040">
                  <c:v>38607</c:v>
                </c:pt>
                <c:pt idx="4041">
                  <c:v>38608</c:v>
                </c:pt>
                <c:pt idx="4042">
                  <c:v>38609</c:v>
                </c:pt>
                <c:pt idx="4043">
                  <c:v>38610</c:v>
                </c:pt>
                <c:pt idx="4044">
                  <c:v>38611</c:v>
                </c:pt>
                <c:pt idx="4045">
                  <c:v>38614</c:v>
                </c:pt>
                <c:pt idx="4046">
                  <c:v>38615</c:v>
                </c:pt>
                <c:pt idx="4047">
                  <c:v>38616</c:v>
                </c:pt>
                <c:pt idx="4048">
                  <c:v>38617</c:v>
                </c:pt>
                <c:pt idx="4049">
                  <c:v>38618</c:v>
                </c:pt>
                <c:pt idx="4050">
                  <c:v>38621</c:v>
                </c:pt>
                <c:pt idx="4051">
                  <c:v>38622</c:v>
                </c:pt>
                <c:pt idx="4052">
                  <c:v>38623</c:v>
                </c:pt>
                <c:pt idx="4053">
                  <c:v>38624</c:v>
                </c:pt>
                <c:pt idx="4054">
                  <c:v>38625</c:v>
                </c:pt>
                <c:pt idx="4055">
                  <c:v>38628</c:v>
                </c:pt>
                <c:pt idx="4056">
                  <c:v>38629</c:v>
                </c:pt>
                <c:pt idx="4057">
                  <c:v>38630</c:v>
                </c:pt>
                <c:pt idx="4058">
                  <c:v>38631</c:v>
                </c:pt>
                <c:pt idx="4059">
                  <c:v>38632</c:v>
                </c:pt>
                <c:pt idx="4060">
                  <c:v>38635</c:v>
                </c:pt>
                <c:pt idx="4061">
                  <c:v>38636</c:v>
                </c:pt>
                <c:pt idx="4062">
                  <c:v>38637</c:v>
                </c:pt>
                <c:pt idx="4063">
                  <c:v>38638</c:v>
                </c:pt>
                <c:pt idx="4064">
                  <c:v>38639</c:v>
                </c:pt>
                <c:pt idx="4065">
                  <c:v>38642</c:v>
                </c:pt>
                <c:pt idx="4066">
                  <c:v>38643</c:v>
                </c:pt>
                <c:pt idx="4067">
                  <c:v>38644</c:v>
                </c:pt>
                <c:pt idx="4068">
                  <c:v>38645</c:v>
                </c:pt>
                <c:pt idx="4069">
                  <c:v>38646</c:v>
                </c:pt>
                <c:pt idx="4070">
                  <c:v>38649</c:v>
                </c:pt>
                <c:pt idx="4071">
                  <c:v>38650</c:v>
                </c:pt>
                <c:pt idx="4072">
                  <c:v>38651</c:v>
                </c:pt>
                <c:pt idx="4073">
                  <c:v>38652</c:v>
                </c:pt>
                <c:pt idx="4074">
                  <c:v>38653</c:v>
                </c:pt>
                <c:pt idx="4075">
                  <c:v>38656</c:v>
                </c:pt>
                <c:pt idx="4076">
                  <c:v>38657</c:v>
                </c:pt>
                <c:pt idx="4077">
                  <c:v>38658</c:v>
                </c:pt>
                <c:pt idx="4078">
                  <c:v>38659</c:v>
                </c:pt>
                <c:pt idx="4079">
                  <c:v>38660</c:v>
                </c:pt>
                <c:pt idx="4080">
                  <c:v>38663</c:v>
                </c:pt>
                <c:pt idx="4081">
                  <c:v>38664</c:v>
                </c:pt>
                <c:pt idx="4082">
                  <c:v>38665</c:v>
                </c:pt>
                <c:pt idx="4083">
                  <c:v>38666</c:v>
                </c:pt>
                <c:pt idx="4084">
                  <c:v>38667</c:v>
                </c:pt>
                <c:pt idx="4085">
                  <c:v>38670</c:v>
                </c:pt>
                <c:pt idx="4086">
                  <c:v>38671</c:v>
                </c:pt>
                <c:pt idx="4087">
                  <c:v>38672</c:v>
                </c:pt>
                <c:pt idx="4088">
                  <c:v>38673</c:v>
                </c:pt>
                <c:pt idx="4089">
                  <c:v>38674</c:v>
                </c:pt>
                <c:pt idx="4090">
                  <c:v>38677</c:v>
                </c:pt>
                <c:pt idx="4091">
                  <c:v>38678</c:v>
                </c:pt>
                <c:pt idx="4092">
                  <c:v>38679</c:v>
                </c:pt>
                <c:pt idx="4093">
                  <c:v>38681</c:v>
                </c:pt>
                <c:pt idx="4094">
                  <c:v>38684</c:v>
                </c:pt>
                <c:pt idx="4095">
                  <c:v>38685</c:v>
                </c:pt>
                <c:pt idx="4096">
                  <c:v>38686</c:v>
                </c:pt>
                <c:pt idx="4097">
                  <c:v>38687</c:v>
                </c:pt>
                <c:pt idx="4098">
                  <c:v>38688</c:v>
                </c:pt>
                <c:pt idx="4099">
                  <c:v>38691</c:v>
                </c:pt>
                <c:pt idx="4100">
                  <c:v>38692</c:v>
                </c:pt>
                <c:pt idx="4101">
                  <c:v>38693</c:v>
                </c:pt>
                <c:pt idx="4102">
                  <c:v>38694</c:v>
                </c:pt>
                <c:pt idx="4103">
                  <c:v>38695</c:v>
                </c:pt>
                <c:pt idx="4104">
                  <c:v>38698</c:v>
                </c:pt>
                <c:pt idx="4105">
                  <c:v>38699</c:v>
                </c:pt>
                <c:pt idx="4106">
                  <c:v>38700</c:v>
                </c:pt>
                <c:pt idx="4107">
                  <c:v>38701</c:v>
                </c:pt>
                <c:pt idx="4108">
                  <c:v>38702</c:v>
                </c:pt>
                <c:pt idx="4109">
                  <c:v>38705</c:v>
                </c:pt>
                <c:pt idx="4110">
                  <c:v>38706</c:v>
                </c:pt>
                <c:pt idx="4111">
                  <c:v>38707</c:v>
                </c:pt>
                <c:pt idx="4112">
                  <c:v>38708</c:v>
                </c:pt>
                <c:pt idx="4113">
                  <c:v>38709</c:v>
                </c:pt>
                <c:pt idx="4114">
                  <c:v>38713</c:v>
                </c:pt>
                <c:pt idx="4115">
                  <c:v>38714</c:v>
                </c:pt>
                <c:pt idx="4116">
                  <c:v>38715</c:v>
                </c:pt>
                <c:pt idx="4117">
                  <c:v>38716</c:v>
                </c:pt>
                <c:pt idx="4118">
                  <c:v>38720</c:v>
                </c:pt>
                <c:pt idx="4119">
                  <c:v>38721</c:v>
                </c:pt>
                <c:pt idx="4120">
                  <c:v>38722</c:v>
                </c:pt>
                <c:pt idx="4121">
                  <c:v>38723</c:v>
                </c:pt>
                <c:pt idx="4122">
                  <c:v>38726</c:v>
                </c:pt>
                <c:pt idx="4123">
                  <c:v>38727</c:v>
                </c:pt>
                <c:pt idx="4124">
                  <c:v>38728</c:v>
                </c:pt>
                <c:pt idx="4125">
                  <c:v>38729</c:v>
                </c:pt>
                <c:pt idx="4126">
                  <c:v>38730</c:v>
                </c:pt>
                <c:pt idx="4127">
                  <c:v>38734</c:v>
                </c:pt>
                <c:pt idx="4128">
                  <c:v>38735</c:v>
                </c:pt>
                <c:pt idx="4129">
                  <c:v>38736</c:v>
                </c:pt>
                <c:pt idx="4130">
                  <c:v>38737</c:v>
                </c:pt>
                <c:pt idx="4131">
                  <c:v>38740</c:v>
                </c:pt>
                <c:pt idx="4132">
                  <c:v>38741</c:v>
                </c:pt>
                <c:pt idx="4133">
                  <c:v>38742</c:v>
                </c:pt>
                <c:pt idx="4134">
                  <c:v>38743</c:v>
                </c:pt>
                <c:pt idx="4135">
                  <c:v>38744</c:v>
                </c:pt>
                <c:pt idx="4136">
                  <c:v>38747</c:v>
                </c:pt>
                <c:pt idx="4137">
                  <c:v>38748</c:v>
                </c:pt>
                <c:pt idx="4138">
                  <c:v>38749</c:v>
                </c:pt>
                <c:pt idx="4139">
                  <c:v>38750</c:v>
                </c:pt>
                <c:pt idx="4140">
                  <c:v>38751</c:v>
                </c:pt>
                <c:pt idx="4141">
                  <c:v>38754</c:v>
                </c:pt>
                <c:pt idx="4142">
                  <c:v>38755</c:v>
                </c:pt>
                <c:pt idx="4143">
                  <c:v>38756</c:v>
                </c:pt>
                <c:pt idx="4144">
                  <c:v>38757</c:v>
                </c:pt>
                <c:pt idx="4145">
                  <c:v>38758</c:v>
                </c:pt>
                <c:pt idx="4146">
                  <c:v>38761</c:v>
                </c:pt>
                <c:pt idx="4147">
                  <c:v>38762</c:v>
                </c:pt>
                <c:pt idx="4148">
                  <c:v>38763</c:v>
                </c:pt>
                <c:pt idx="4149">
                  <c:v>38764</c:v>
                </c:pt>
                <c:pt idx="4150">
                  <c:v>38765</c:v>
                </c:pt>
                <c:pt idx="4151">
                  <c:v>38769</c:v>
                </c:pt>
                <c:pt idx="4152">
                  <c:v>38770</c:v>
                </c:pt>
                <c:pt idx="4153">
                  <c:v>38771</c:v>
                </c:pt>
                <c:pt idx="4154">
                  <c:v>38772</c:v>
                </c:pt>
                <c:pt idx="4155">
                  <c:v>38775</c:v>
                </c:pt>
                <c:pt idx="4156">
                  <c:v>38776</c:v>
                </c:pt>
                <c:pt idx="4157">
                  <c:v>38777</c:v>
                </c:pt>
                <c:pt idx="4158">
                  <c:v>38778</c:v>
                </c:pt>
                <c:pt idx="4159">
                  <c:v>38779</c:v>
                </c:pt>
                <c:pt idx="4160">
                  <c:v>38782</c:v>
                </c:pt>
                <c:pt idx="4161">
                  <c:v>38783</c:v>
                </c:pt>
                <c:pt idx="4162">
                  <c:v>38784</c:v>
                </c:pt>
                <c:pt idx="4163">
                  <c:v>38785</c:v>
                </c:pt>
                <c:pt idx="4164">
                  <c:v>38786</c:v>
                </c:pt>
                <c:pt idx="4165">
                  <c:v>38789</c:v>
                </c:pt>
                <c:pt idx="4166">
                  <c:v>38790</c:v>
                </c:pt>
                <c:pt idx="4167">
                  <c:v>38791</c:v>
                </c:pt>
                <c:pt idx="4168">
                  <c:v>38792</c:v>
                </c:pt>
                <c:pt idx="4169">
                  <c:v>38793</c:v>
                </c:pt>
                <c:pt idx="4170">
                  <c:v>38796</c:v>
                </c:pt>
                <c:pt idx="4171">
                  <c:v>38797</c:v>
                </c:pt>
                <c:pt idx="4172">
                  <c:v>38798</c:v>
                </c:pt>
                <c:pt idx="4173">
                  <c:v>38799</c:v>
                </c:pt>
                <c:pt idx="4174">
                  <c:v>38800</c:v>
                </c:pt>
                <c:pt idx="4175">
                  <c:v>38803</c:v>
                </c:pt>
                <c:pt idx="4176">
                  <c:v>38804</c:v>
                </c:pt>
                <c:pt idx="4177">
                  <c:v>38805</c:v>
                </c:pt>
                <c:pt idx="4178">
                  <c:v>38806</c:v>
                </c:pt>
                <c:pt idx="4179">
                  <c:v>38807</c:v>
                </c:pt>
                <c:pt idx="4180">
                  <c:v>38810</c:v>
                </c:pt>
                <c:pt idx="4181">
                  <c:v>38811</c:v>
                </c:pt>
                <c:pt idx="4182">
                  <c:v>38812</c:v>
                </c:pt>
                <c:pt idx="4183">
                  <c:v>38813</c:v>
                </c:pt>
                <c:pt idx="4184">
                  <c:v>38814</c:v>
                </c:pt>
                <c:pt idx="4185">
                  <c:v>38817</c:v>
                </c:pt>
                <c:pt idx="4186">
                  <c:v>38818</c:v>
                </c:pt>
                <c:pt idx="4187">
                  <c:v>38819</c:v>
                </c:pt>
                <c:pt idx="4188">
                  <c:v>38820</c:v>
                </c:pt>
                <c:pt idx="4189">
                  <c:v>38824</c:v>
                </c:pt>
                <c:pt idx="4190">
                  <c:v>38825</c:v>
                </c:pt>
                <c:pt idx="4191">
                  <c:v>38826</c:v>
                </c:pt>
                <c:pt idx="4192">
                  <c:v>38827</c:v>
                </c:pt>
                <c:pt idx="4193">
                  <c:v>38828</c:v>
                </c:pt>
                <c:pt idx="4194">
                  <c:v>38831</c:v>
                </c:pt>
                <c:pt idx="4195">
                  <c:v>38832</c:v>
                </c:pt>
                <c:pt idx="4196">
                  <c:v>38833</c:v>
                </c:pt>
                <c:pt idx="4197">
                  <c:v>38834</c:v>
                </c:pt>
                <c:pt idx="4198">
                  <c:v>38835</c:v>
                </c:pt>
                <c:pt idx="4199">
                  <c:v>38838</c:v>
                </c:pt>
                <c:pt idx="4200">
                  <c:v>38839</c:v>
                </c:pt>
                <c:pt idx="4201">
                  <c:v>38840</c:v>
                </c:pt>
                <c:pt idx="4202">
                  <c:v>38841</c:v>
                </c:pt>
                <c:pt idx="4203">
                  <c:v>38842</c:v>
                </c:pt>
                <c:pt idx="4204">
                  <c:v>38845</c:v>
                </c:pt>
                <c:pt idx="4205">
                  <c:v>38846</c:v>
                </c:pt>
                <c:pt idx="4206">
                  <c:v>38847</c:v>
                </c:pt>
                <c:pt idx="4207">
                  <c:v>38848</c:v>
                </c:pt>
                <c:pt idx="4208">
                  <c:v>38849</c:v>
                </c:pt>
                <c:pt idx="4209">
                  <c:v>38852</c:v>
                </c:pt>
                <c:pt idx="4210">
                  <c:v>38853</c:v>
                </c:pt>
                <c:pt idx="4211">
                  <c:v>38854</c:v>
                </c:pt>
                <c:pt idx="4212">
                  <c:v>38855</c:v>
                </c:pt>
                <c:pt idx="4213">
                  <c:v>38856</c:v>
                </c:pt>
                <c:pt idx="4214">
                  <c:v>38859</c:v>
                </c:pt>
                <c:pt idx="4215">
                  <c:v>38860</c:v>
                </c:pt>
                <c:pt idx="4216">
                  <c:v>38861</c:v>
                </c:pt>
                <c:pt idx="4217">
                  <c:v>38862</c:v>
                </c:pt>
                <c:pt idx="4218">
                  <c:v>38863</c:v>
                </c:pt>
                <c:pt idx="4219">
                  <c:v>38867</c:v>
                </c:pt>
                <c:pt idx="4220">
                  <c:v>38868</c:v>
                </c:pt>
                <c:pt idx="4221">
                  <c:v>38869</c:v>
                </c:pt>
                <c:pt idx="4222">
                  <c:v>38870</c:v>
                </c:pt>
                <c:pt idx="4223">
                  <c:v>38873</c:v>
                </c:pt>
                <c:pt idx="4224">
                  <c:v>38874</c:v>
                </c:pt>
                <c:pt idx="4225">
                  <c:v>38875</c:v>
                </c:pt>
                <c:pt idx="4226">
                  <c:v>38876</c:v>
                </c:pt>
                <c:pt idx="4227">
                  <c:v>38877</c:v>
                </c:pt>
                <c:pt idx="4228">
                  <c:v>38880</c:v>
                </c:pt>
                <c:pt idx="4229">
                  <c:v>38881</c:v>
                </c:pt>
                <c:pt idx="4230">
                  <c:v>38882</c:v>
                </c:pt>
                <c:pt idx="4231">
                  <c:v>38883</c:v>
                </c:pt>
                <c:pt idx="4232">
                  <c:v>38884</c:v>
                </c:pt>
                <c:pt idx="4233">
                  <c:v>38887</c:v>
                </c:pt>
                <c:pt idx="4234">
                  <c:v>38888</c:v>
                </c:pt>
                <c:pt idx="4235">
                  <c:v>38889</c:v>
                </c:pt>
                <c:pt idx="4236">
                  <c:v>38890</c:v>
                </c:pt>
                <c:pt idx="4237">
                  <c:v>38891</c:v>
                </c:pt>
                <c:pt idx="4238">
                  <c:v>38894</c:v>
                </c:pt>
                <c:pt idx="4239">
                  <c:v>38895</c:v>
                </c:pt>
                <c:pt idx="4240">
                  <c:v>38896</c:v>
                </c:pt>
                <c:pt idx="4241">
                  <c:v>38897</c:v>
                </c:pt>
                <c:pt idx="4242">
                  <c:v>38898</c:v>
                </c:pt>
                <c:pt idx="4243">
                  <c:v>38901</c:v>
                </c:pt>
                <c:pt idx="4244">
                  <c:v>38903</c:v>
                </c:pt>
                <c:pt idx="4245">
                  <c:v>38904</c:v>
                </c:pt>
                <c:pt idx="4246">
                  <c:v>38905</c:v>
                </c:pt>
                <c:pt idx="4247">
                  <c:v>38908</c:v>
                </c:pt>
                <c:pt idx="4248">
                  <c:v>38909</c:v>
                </c:pt>
                <c:pt idx="4249">
                  <c:v>38910</c:v>
                </c:pt>
                <c:pt idx="4250">
                  <c:v>38911</c:v>
                </c:pt>
                <c:pt idx="4251">
                  <c:v>38912</c:v>
                </c:pt>
                <c:pt idx="4252">
                  <c:v>38915</c:v>
                </c:pt>
                <c:pt idx="4253">
                  <c:v>38916</c:v>
                </c:pt>
                <c:pt idx="4254">
                  <c:v>38917</c:v>
                </c:pt>
                <c:pt idx="4255">
                  <c:v>38918</c:v>
                </c:pt>
                <c:pt idx="4256">
                  <c:v>38919</c:v>
                </c:pt>
                <c:pt idx="4257">
                  <c:v>38922</c:v>
                </c:pt>
                <c:pt idx="4258">
                  <c:v>38923</c:v>
                </c:pt>
                <c:pt idx="4259">
                  <c:v>38924</c:v>
                </c:pt>
                <c:pt idx="4260">
                  <c:v>38925</c:v>
                </c:pt>
                <c:pt idx="4261">
                  <c:v>38926</c:v>
                </c:pt>
                <c:pt idx="4262">
                  <c:v>38929</c:v>
                </c:pt>
                <c:pt idx="4263">
                  <c:v>38930</c:v>
                </c:pt>
                <c:pt idx="4264">
                  <c:v>38931</c:v>
                </c:pt>
                <c:pt idx="4265">
                  <c:v>38932</c:v>
                </c:pt>
                <c:pt idx="4266">
                  <c:v>38933</c:v>
                </c:pt>
                <c:pt idx="4267">
                  <c:v>38936</c:v>
                </c:pt>
                <c:pt idx="4268">
                  <c:v>38937</c:v>
                </c:pt>
                <c:pt idx="4269">
                  <c:v>38938</c:v>
                </c:pt>
                <c:pt idx="4270">
                  <c:v>38939</c:v>
                </c:pt>
                <c:pt idx="4271">
                  <c:v>38940</c:v>
                </c:pt>
                <c:pt idx="4272">
                  <c:v>38943</c:v>
                </c:pt>
                <c:pt idx="4273">
                  <c:v>38944</c:v>
                </c:pt>
                <c:pt idx="4274">
                  <c:v>38945</c:v>
                </c:pt>
                <c:pt idx="4275">
                  <c:v>38946</c:v>
                </c:pt>
                <c:pt idx="4276">
                  <c:v>38947</c:v>
                </c:pt>
                <c:pt idx="4277">
                  <c:v>38950</c:v>
                </c:pt>
                <c:pt idx="4278">
                  <c:v>38951</c:v>
                </c:pt>
                <c:pt idx="4279">
                  <c:v>38952</c:v>
                </c:pt>
                <c:pt idx="4280">
                  <c:v>38953</c:v>
                </c:pt>
                <c:pt idx="4281">
                  <c:v>38954</c:v>
                </c:pt>
                <c:pt idx="4282">
                  <c:v>38957</c:v>
                </c:pt>
                <c:pt idx="4283">
                  <c:v>38958</c:v>
                </c:pt>
                <c:pt idx="4284">
                  <c:v>38959</c:v>
                </c:pt>
                <c:pt idx="4285">
                  <c:v>38960</c:v>
                </c:pt>
                <c:pt idx="4286">
                  <c:v>38961</c:v>
                </c:pt>
                <c:pt idx="4287">
                  <c:v>38965</c:v>
                </c:pt>
                <c:pt idx="4288">
                  <c:v>38966</c:v>
                </c:pt>
                <c:pt idx="4289">
                  <c:v>38967</c:v>
                </c:pt>
                <c:pt idx="4290">
                  <c:v>38968</c:v>
                </c:pt>
                <c:pt idx="4291">
                  <c:v>38971</c:v>
                </c:pt>
                <c:pt idx="4292">
                  <c:v>38972</c:v>
                </c:pt>
                <c:pt idx="4293">
                  <c:v>38973</c:v>
                </c:pt>
                <c:pt idx="4294">
                  <c:v>38974</c:v>
                </c:pt>
                <c:pt idx="4295">
                  <c:v>38975</c:v>
                </c:pt>
                <c:pt idx="4296">
                  <c:v>38978</c:v>
                </c:pt>
                <c:pt idx="4297">
                  <c:v>38979</c:v>
                </c:pt>
                <c:pt idx="4298">
                  <c:v>38980</c:v>
                </c:pt>
                <c:pt idx="4299">
                  <c:v>38981</c:v>
                </c:pt>
                <c:pt idx="4300">
                  <c:v>38982</c:v>
                </c:pt>
                <c:pt idx="4301">
                  <c:v>38985</c:v>
                </c:pt>
                <c:pt idx="4302">
                  <c:v>38986</c:v>
                </c:pt>
                <c:pt idx="4303">
                  <c:v>38987</c:v>
                </c:pt>
                <c:pt idx="4304">
                  <c:v>38988</c:v>
                </c:pt>
                <c:pt idx="4305">
                  <c:v>38989</c:v>
                </c:pt>
                <c:pt idx="4306">
                  <c:v>38992</c:v>
                </c:pt>
                <c:pt idx="4307">
                  <c:v>38993</c:v>
                </c:pt>
                <c:pt idx="4308">
                  <c:v>38994</c:v>
                </c:pt>
                <c:pt idx="4309">
                  <c:v>38995</c:v>
                </c:pt>
                <c:pt idx="4310">
                  <c:v>38996</c:v>
                </c:pt>
                <c:pt idx="4311">
                  <c:v>38999</c:v>
                </c:pt>
                <c:pt idx="4312">
                  <c:v>39000</c:v>
                </c:pt>
                <c:pt idx="4313">
                  <c:v>39001</c:v>
                </c:pt>
                <c:pt idx="4314">
                  <c:v>39002</c:v>
                </c:pt>
                <c:pt idx="4315">
                  <c:v>39003</c:v>
                </c:pt>
                <c:pt idx="4316">
                  <c:v>39006</c:v>
                </c:pt>
                <c:pt idx="4317">
                  <c:v>39007</c:v>
                </c:pt>
                <c:pt idx="4318">
                  <c:v>39008</c:v>
                </c:pt>
                <c:pt idx="4319">
                  <c:v>39009</c:v>
                </c:pt>
                <c:pt idx="4320">
                  <c:v>39010</c:v>
                </c:pt>
                <c:pt idx="4321">
                  <c:v>39013</c:v>
                </c:pt>
                <c:pt idx="4322">
                  <c:v>39014</c:v>
                </c:pt>
                <c:pt idx="4323">
                  <c:v>39015</c:v>
                </c:pt>
                <c:pt idx="4324">
                  <c:v>39016</c:v>
                </c:pt>
                <c:pt idx="4325">
                  <c:v>39017</c:v>
                </c:pt>
                <c:pt idx="4326">
                  <c:v>39020</c:v>
                </c:pt>
                <c:pt idx="4327">
                  <c:v>39021</c:v>
                </c:pt>
                <c:pt idx="4328">
                  <c:v>39022</c:v>
                </c:pt>
                <c:pt idx="4329">
                  <c:v>39023</c:v>
                </c:pt>
                <c:pt idx="4330">
                  <c:v>39024</c:v>
                </c:pt>
                <c:pt idx="4331">
                  <c:v>39027</c:v>
                </c:pt>
                <c:pt idx="4332">
                  <c:v>39028</c:v>
                </c:pt>
                <c:pt idx="4333">
                  <c:v>39029</c:v>
                </c:pt>
                <c:pt idx="4334">
                  <c:v>39030</c:v>
                </c:pt>
                <c:pt idx="4335">
                  <c:v>39031</c:v>
                </c:pt>
                <c:pt idx="4336">
                  <c:v>39034</c:v>
                </c:pt>
                <c:pt idx="4337">
                  <c:v>39035</c:v>
                </c:pt>
                <c:pt idx="4338">
                  <c:v>39036</c:v>
                </c:pt>
                <c:pt idx="4339">
                  <c:v>39037</c:v>
                </c:pt>
                <c:pt idx="4340">
                  <c:v>39038</c:v>
                </c:pt>
                <c:pt idx="4341">
                  <c:v>39041</c:v>
                </c:pt>
                <c:pt idx="4342">
                  <c:v>39042</c:v>
                </c:pt>
                <c:pt idx="4343">
                  <c:v>39043</c:v>
                </c:pt>
                <c:pt idx="4344">
                  <c:v>39045</c:v>
                </c:pt>
                <c:pt idx="4345">
                  <c:v>39048</c:v>
                </c:pt>
                <c:pt idx="4346">
                  <c:v>39049</c:v>
                </c:pt>
                <c:pt idx="4347">
                  <c:v>39050</c:v>
                </c:pt>
                <c:pt idx="4348">
                  <c:v>39051</c:v>
                </c:pt>
                <c:pt idx="4349">
                  <c:v>39052</c:v>
                </c:pt>
                <c:pt idx="4350">
                  <c:v>39055</c:v>
                </c:pt>
                <c:pt idx="4351">
                  <c:v>39056</c:v>
                </c:pt>
                <c:pt idx="4352">
                  <c:v>39057</c:v>
                </c:pt>
                <c:pt idx="4353">
                  <c:v>39058</c:v>
                </c:pt>
                <c:pt idx="4354">
                  <c:v>39059</c:v>
                </c:pt>
                <c:pt idx="4355">
                  <c:v>39062</c:v>
                </c:pt>
                <c:pt idx="4356">
                  <c:v>39063</c:v>
                </c:pt>
                <c:pt idx="4357">
                  <c:v>39064</c:v>
                </c:pt>
                <c:pt idx="4358">
                  <c:v>39065</c:v>
                </c:pt>
                <c:pt idx="4359">
                  <c:v>39066</c:v>
                </c:pt>
                <c:pt idx="4360">
                  <c:v>39069</c:v>
                </c:pt>
                <c:pt idx="4361">
                  <c:v>39070</c:v>
                </c:pt>
                <c:pt idx="4362">
                  <c:v>39071</c:v>
                </c:pt>
                <c:pt idx="4363">
                  <c:v>39072</c:v>
                </c:pt>
                <c:pt idx="4364">
                  <c:v>39073</c:v>
                </c:pt>
                <c:pt idx="4365">
                  <c:v>39077</c:v>
                </c:pt>
                <c:pt idx="4366">
                  <c:v>39078</c:v>
                </c:pt>
                <c:pt idx="4367">
                  <c:v>39079</c:v>
                </c:pt>
                <c:pt idx="4368">
                  <c:v>39080</c:v>
                </c:pt>
                <c:pt idx="4369">
                  <c:v>39085</c:v>
                </c:pt>
                <c:pt idx="4370">
                  <c:v>39086</c:v>
                </c:pt>
                <c:pt idx="4371">
                  <c:v>39087</c:v>
                </c:pt>
                <c:pt idx="4372">
                  <c:v>39090</c:v>
                </c:pt>
                <c:pt idx="4373">
                  <c:v>39091</c:v>
                </c:pt>
                <c:pt idx="4374">
                  <c:v>39092</c:v>
                </c:pt>
                <c:pt idx="4375">
                  <c:v>39093</c:v>
                </c:pt>
                <c:pt idx="4376">
                  <c:v>39094</c:v>
                </c:pt>
                <c:pt idx="4377">
                  <c:v>39098</c:v>
                </c:pt>
                <c:pt idx="4378">
                  <c:v>39099</c:v>
                </c:pt>
                <c:pt idx="4379">
                  <c:v>39100</c:v>
                </c:pt>
                <c:pt idx="4380">
                  <c:v>39101</c:v>
                </c:pt>
                <c:pt idx="4381">
                  <c:v>39104</c:v>
                </c:pt>
                <c:pt idx="4382">
                  <c:v>39105</c:v>
                </c:pt>
                <c:pt idx="4383">
                  <c:v>39106</c:v>
                </c:pt>
                <c:pt idx="4384">
                  <c:v>39107</c:v>
                </c:pt>
                <c:pt idx="4385">
                  <c:v>39108</c:v>
                </c:pt>
                <c:pt idx="4386">
                  <c:v>39111</c:v>
                </c:pt>
                <c:pt idx="4387">
                  <c:v>39112</c:v>
                </c:pt>
                <c:pt idx="4388">
                  <c:v>39113</c:v>
                </c:pt>
                <c:pt idx="4389">
                  <c:v>39114</c:v>
                </c:pt>
                <c:pt idx="4390">
                  <c:v>39115</c:v>
                </c:pt>
                <c:pt idx="4391">
                  <c:v>39118</c:v>
                </c:pt>
                <c:pt idx="4392">
                  <c:v>39119</c:v>
                </c:pt>
                <c:pt idx="4393">
                  <c:v>39120</c:v>
                </c:pt>
                <c:pt idx="4394">
                  <c:v>39121</c:v>
                </c:pt>
                <c:pt idx="4395">
                  <c:v>39122</c:v>
                </c:pt>
                <c:pt idx="4396">
                  <c:v>39125</c:v>
                </c:pt>
                <c:pt idx="4397">
                  <c:v>39126</c:v>
                </c:pt>
                <c:pt idx="4398">
                  <c:v>39127</c:v>
                </c:pt>
                <c:pt idx="4399">
                  <c:v>39128</c:v>
                </c:pt>
                <c:pt idx="4400">
                  <c:v>39129</c:v>
                </c:pt>
                <c:pt idx="4401">
                  <c:v>39133</c:v>
                </c:pt>
                <c:pt idx="4402">
                  <c:v>39134</c:v>
                </c:pt>
                <c:pt idx="4403">
                  <c:v>39135</c:v>
                </c:pt>
                <c:pt idx="4404">
                  <c:v>39136</c:v>
                </c:pt>
                <c:pt idx="4405">
                  <c:v>39139</c:v>
                </c:pt>
                <c:pt idx="4406">
                  <c:v>39140</c:v>
                </c:pt>
                <c:pt idx="4407">
                  <c:v>39141</c:v>
                </c:pt>
                <c:pt idx="4408">
                  <c:v>39142</c:v>
                </c:pt>
                <c:pt idx="4409">
                  <c:v>39143</c:v>
                </c:pt>
                <c:pt idx="4410">
                  <c:v>39146</c:v>
                </c:pt>
                <c:pt idx="4411">
                  <c:v>39147</c:v>
                </c:pt>
                <c:pt idx="4412">
                  <c:v>39148</c:v>
                </c:pt>
                <c:pt idx="4413">
                  <c:v>39149</c:v>
                </c:pt>
                <c:pt idx="4414">
                  <c:v>39150</c:v>
                </c:pt>
                <c:pt idx="4415">
                  <c:v>39153</c:v>
                </c:pt>
                <c:pt idx="4416">
                  <c:v>39154</c:v>
                </c:pt>
                <c:pt idx="4417">
                  <c:v>39155</c:v>
                </c:pt>
                <c:pt idx="4418">
                  <c:v>39156</c:v>
                </c:pt>
                <c:pt idx="4419">
                  <c:v>39157</c:v>
                </c:pt>
                <c:pt idx="4420">
                  <c:v>39160</c:v>
                </c:pt>
                <c:pt idx="4421">
                  <c:v>39161</c:v>
                </c:pt>
                <c:pt idx="4422">
                  <c:v>39162</c:v>
                </c:pt>
                <c:pt idx="4423">
                  <c:v>39163</c:v>
                </c:pt>
                <c:pt idx="4424">
                  <c:v>39164</c:v>
                </c:pt>
                <c:pt idx="4425">
                  <c:v>39167</c:v>
                </c:pt>
                <c:pt idx="4426">
                  <c:v>39168</c:v>
                </c:pt>
                <c:pt idx="4427">
                  <c:v>39169</c:v>
                </c:pt>
                <c:pt idx="4428">
                  <c:v>39170</c:v>
                </c:pt>
                <c:pt idx="4429">
                  <c:v>39171</c:v>
                </c:pt>
                <c:pt idx="4430">
                  <c:v>39174</c:v>
                </c:pt>
                <c:pt idx="4431">
                  <c:v>39175</c:v>
                </c:pt>
                <c:pt idx="4432">
                  <c:v>39176</c:v>
                </c:pt>
                <c:pt idx="4433">
                  <c:v>39177</c:v>
                </c:pt>
                <c:pt idx="4434">
                  <c:v>39181</c:v>
                </c:pt>
                <c:pt idx="4435">
                  <c:v>39182</c:v>
                </c:pt>
                <c:pt idx="4436">
                  <c:v>39183</c:v>
                </c:pt>
                <c:pt idx="4437">
                  <c:v>39184</c:v>
                </c:pt>
                <c:pt idx="4438">
                  <c:v>39185</c:v>
                </c:pt>
                <c:pt idx="4439">
                  <c:v>39188</c:v>
                </c:pt>
                <c:pt idx="4440">
                  <c:v>39189</c:v>
                </c:pt>
                <c:pt idx="4441">
                  <c:v>39190</c:v>
                </c:pt>
                <c:pt idx="4442">
                  <c:v>39191</c:v>
                </c:pt>
                <c:pt idx="4443">
                  <c:v>39192</c:v>
                </c:pt>
                <c:pt idx="4444">
                  <c:v>39195</c:v>
                </c:pt>
                <c:pt idx="4445">
                  <c:v>39196</c:v>
                </c:pt>
                <c:pt idx="4446">
                  <c:v>39197</c:v>
                </c:pt>
                <c:pt idx="4447">
                  <c:v>39198</c:v>
                </c:pt>
                <c:pt idx="4448">
                  <c:v>39199</c:v>
                </c:pt>
                <c:pt idx="4449">
                  <c:v>39202</c:v>
                </c:pt>
                <c:pt idx="4450">
                  <c:v>39203</c:v>
                </c:pt>
                <c:pt idx="4451">
                  <c:v>39204</c:v>
                </c:pt>
                <c:pt idx="4452">
                  <c:v>39205</c:v>
                </c:pt>
                <c:pt idx="4453">
                  <c:v>39206</c:v>
                </c:pt>
                <c:pt idx="4454">
                  <c:v>39209</c:v>
                </c:pt>
                <c:pt idx="4455">
                  <c:v>39210</c:v>
                </c:pt>
                <c:pt idx="4456">
                  <c:v>39211</c:v>
                </c:pt>
                <c:pt idx="4457">
                  <c:v>39212</c:v>
                </c:pt>
                <c:pt idx="4458">
                  <c:v>39213</c:v>
                </c:pt>
                <c:pt idx="4459">
                  <c:v>39216</c:v>
                </c:pt>
                <c:pt idx="4460">
                  <c:v>39217</c:v>
                </c:pt>
                <c:pt idx="4461">
                  <c:v>39218</c:v>
                </c:pt>
                <c:pt idx="4462">
                  <c:v>39219</c:v>
                </c:pt>
                <c:pt idx="4463">
                  <c:v>39220</c:v>
                </c:pt>
                <c:pt idx="4464">
                  <c:v>39223</c:v>
                </c:pt>
                <c:pt idx="4465">
                  <c:v>39224</c:v>
                </c:pt>
                <c:pt idx="4466">
                  <c:v>39225</c:v>
                </c:pt>
                <c:pt idx="4467">
                  <c:v>39226</c:v>
                </c:pt>
                <c:pt idx="4468">
                  <c:v>39227</c:v>
                </c:pt>
                <c:pt idx="4469">
                  <c:v>39231</c:v>
                </c:pt>
                <c:pt idx="4470">
                  <c:v>39232</c:v>
                </c:pt>
                <c:pt idx="4471">
                  <c:v>39233</c:v>
                </c:pt>
                <c:pt idx="4472">
                  <c:v>39234</c:v>
                </c:pt>
                <c:pt idx="4473">
                  <c:v>39237</c:v>
                </c:pt>
                <c:pt idx="4474">
                  <c:v>39238</c:v>
                </c:pt>
                <c:pt idx="4475">
                  <c:v>39239</c:v>
                </c:pt>
                <c:pt idx="4476">
                  <c:v>39240</c:v>
                </c:pt>
                <c:pt idx="4477">
                  <c:v>39241</c:v>
                </c:pt>
                <c:pt idx="4478">
                  <c:v>39244</c:v>
                </c:pt>
                <c:pt idx="4479">
                  <c:v>39245</c:v>
                </c:pt>
                <c:pt idx="4480">
                  <c:v>39246</c:v>
                </c:pt>
                <c:pt idx="4481">
                  <c:v>39247</c:v>
                </c:pt>
                <c:pt idx="4482">
                  <c:v>39248</c:v>
                </c:pt>
                <c:pt idx="4483">
                  <c:v>39251</c:v>
                </c:pt>
                <c:pt idx="4484">
                  <c:v>39252</c:v>
                </c:pt>
                <c:pt idx="4485">
                  <c:v>39253</c:v>
                </c:pt>
                <c:pt idx="4486">
                  <c:v>39254</c:v>
                </c:pt>
                <c:pt idx="4487">
                  <c:v>39255</c:v>
                </c:pt>
                <c:pt idx="4488">
                  <c:v>39258</c:v>
                </c:pt>
                <c:pt idx="4489">
                  <c:v>39259</c:v>
                </c:pt>
                <c:pt idx="4490">
                  <c:v>39260</c:v>
                </c:pt>
                <c:pt idx="4491">
                  <c:v>39261</c:v>
                </c:pt>
                <c:pt idx="4492">
                  <c:v>39262</c:v>
                </c:pt>
                <c:pt idx="4493">
                  <c:v>39265</c:v>
                </c:pt>
                <c:pt idx="4494">
                  <c:v>39266</c:v>
                </c:pt>
                <c:pt idx="4495">
                  <c:v>39268</c:v>
                </c:pt>
                <c:pt idx="4496">
                  <c:v>39269</c:v>
                </c:pt>
                <c:pt idx="4497">
                  <c:v>39272</c:v>
                </c:pt>
                <c:pt idx="4498">
                  <c:v>39273</c:v>
                </c:pt>
                <c:pt idx="4499">
                  <c:v>39274</c:v>
                </c:pt>
                <c:pt idx="4500">
                  <c:v>39275</c:v>
                </c:pt>
                <c:pt idx="4501">
                  <c:v>39276</c:v>
                </c:pt>
                <c:pt idx="4502">
                  <c:v>39279</c:v>
                </c:pt>
                <c:pt idx="4503">
                  <c:v>39280</c:v>
                </c:pt>
                <c:pt idx="4504">
                  <c:v>39281</c:v>
                </c:pt>
                <c:pt idx="4505">
                  <c:v>39282</c:v>
                </c:pt>
                <c:pt idx="4506">
                  <c:v>39283</c:v>
                </c:pt>
                <c:pt idx="4507">
                  <c:v>39286</c:v>
                </c:pt>
                <c:pt idx="4508">
                  <c:v>39287</c:v>
                </c:pt>
                <c:pt idx="4509">
                  <c:v>39288</c:v>
                </c:pt>
                <c:pt idx="4510">
                  <c:v>39289</c:v>
                </c:pt>
                <c:pt idx="4511">
                  <c:v>39290</c:v>
                </c:pt>
                <c:pt idx="4512">
                  <c:v>39293</c:v>
                </c:pt>
                <c:pt idx="4513">
                  <c:v>39294</c:v>
                </c:pt>
                <c:pt idx="4514">
                  <c:v>39295</c:v>
                </c:pt>
                <c:pt idx="4515">
                  <c:v>39296</c:v>
                </c:pt>
                <c:pt idx="4516">
                  <c:v>39297</c:v>
                </c:pt>
                <c:pt idx="4517">
                  <c:v>39300</c:v>
                </c:pt>
                <c:pt idx="4518">
                  <c:v>39301</c:v>
                </c:pt>
                <c:pt idx="4519">
                  <c:v>39302</c:v>
                </c:pt>
                <c:pt idx="4520">
                  <c:v>39303</c:v>
                </c:pt>
                <c:pt idx="4521">
                  <c:v>39304</c:v>
                </c:pt>
                <c:pt idx="4522">
                  <c:v>39307</c:v>
                </c:pt>
                <c:pt idx="4523">
                  <c:v>39308</c:v>
                </c:pt>
                <c:pt idx="4524">
                  <c:v>39309</c:v>
                </c:pt>
                <c:pt idx="4525">
                  <c:v>39310</c:v>
                </c:pt>
                <c:pt idx="4526">
                  <c:v>39311</c:v>
                </c:pt>
                <c:pt idx="4527">
                  <c:v>39314</c:v>
                </c:pt>
                <c:pt idx="4528">
                  <c:v>39315</c:v>
                </c:pt>
                <c:pt idx="4529">
                  <c:v>39316</c:v>
                </c:pt>
                <c:pt idx="4530">
                  <c:v>39317</c:v>
                </c:pt>
                <c:pt idx="4531">
                  <c:v>39318</c:v>
                </c:pt>
                <c:pt idx="4532">
                  <c:v>39321</c:v>
                </c:pt>
                <c:pt idx="4533">
                  <c:v>39322</c:v>
                </c:pt>
                <c:pt idx="4534">
                  <c:v>39323</c:v>
                </c:pt>
                <c:pt idx="4535">
                  <c:v>39324</c:v>
                </c:pt>
                <c:pt idx="4536">
                  <c:v>39325</c:v>
                </c:pt>
                <c:pt idx="4537">
                  <c:v>39329</c:v>
                </c:pt>
                <c:pt idx="4538">
                  <c:v>39330</c:v>
                </c:pt>
                <c:pt idx="4539">
                  <c:v>39331</c:v>
                </c:pt>
                <c:pt idx="4540">
                  <c:v>39332</c:v>
                </c:pt>
                <c:pt idx="4541">
                  <c:v>39335</c:v>
                </c:pt>
                <c:pt idx="4542">
                  <c:v>39336</c:v>
                </c:pt>
                <c:pt idx="4543">
                  <c:v>39337</c:v>
                </c:pt>
                <c:pt idx="4544">
                  <c:v>39338</c:v>
                </c:pt>
                <c:pt idx="4545">
                  <c:v>39339</c:v>
                </c:pt>
                <c:pt idx="4546">
                  <c:v>39342</c:v>
                </c:pt>
                <c:pt idx="4547">
                  <c:v>39343</c:v>
                </c:pt>
                <c:pt idx="4548">
                  <c:v>39344</c:v>
                </c:pt>
                <c:pt idx="4549">
                  <c:v>39345</c:v>
                </c:pt>
                <c:pt idx="4550">
                  <c:v>39346</c:v>
                </c:pt>
                <c:pt idx="4551">
                  <c:v>39349</c:v>
                </c:pt>
                <c:pt idx="4552">
                  <c:v>39350</c:v>
                </c:pt>
                <c:pt idx="4553">
                  <c:v>39351</c:v>
                </c:pt>
                <c:pt idx="4554">
                  <c:v>39352</c:v>
                </c:pt>
                <c:pt idx="4555">
                  <c:v>39353</c:v>
                </c:pt>
                <c:pt idx="4556">
                  <c:v>39356</c:v>
                </c:pt>
                <c:pt idx="4557">
                  <c:v>39357</c:v>
                </c:pt>
                <c:pt idx="4558">
                  <c:v>39358</c:v>
                </c:pt>
                <c:pt idx="4559">
                  <c:v>39359</c:v>
                </c:pt>
                <c:pt idx="4560">
                  <c:v>39360</c:v>
                </c:pt>
                <c:pt idx="4561">
                  <c:v>39363</c:v>
                </c:pt>
                <c:pt idx="4562">
                  <c:v>39364</c:v>
                </c:pt>
                <c:pt idx="4563">
                  <c:v>39365</c:v>
                </c:pt>
                <c:pt idx="4564">
                  <c:v>39366</c:v>
                </c:pt>
                <c:pt idx="4565">
                  <c:v>39367</c:v>
                </c:pt>
                <c:pt idx="4566">
                  <c:v>39370</c:v>
                </c:pt>
                <c:pt idx="4567">
                  <c:v>39371</c:v>
                </c:pt>
                <c:pt idx="4568">
                  <c:v>39372</c:v>
                </c:pt>
                <c:pt idx="4569">
                  <c:v>39373</c:v>
                </c:pt>
                <c:pt idx="4570">
                  <c:v>39374</c:v>
                </c:pt>
                <c:pt idx="4571">
                  <c:v>39377</c:v>
                </c:pt>
                <c:pt idx="4572">
                  <c:v>39378</c:v>
                </c:pt>
                <c:pt idx="4573">
                  <c:v>39379</c:v>
                </c:pt>
                <c:pt idx="4574">
                  <c:v>39380</c:v>
                </c:pt>
                <c:pt idx="4575">
                  <c:v>39381</c:v>
                </c:pt>
                <c:pt idx="4576">
                  <c:v>39384</c:v>
                </c:pt>
                <c:pt idx="4577">
                  <c:v>39385</c:v>
                </c:pt>
                <c:pt idx="4578">
                  <c:v>39386</c:v>
                </c:pt>
                <c:pt idx="4579">
                  <c:v>39387</c:v>
                </c:pt>
                <c:pt idx="4580">
                  <c:v>39388</c:v>
                </c:pt>
                <c:pt idx="4581">
                  <c:v>39391</c:v>
                </c:pt>
                <c:pt idx="4582">
                  <c:v>39392</c:v>
                </c:pt>
                <c:pt idx="4583">
                  <c:v>39393</c:v>
                </c:pt>
                <c:pt idx="4584">
                  <c:v>39394</c:v>
                </c:pt>
                <c:pt idx="4585">
                  <c:v>39395</c:v>
                </c:pt>
                <c:pt idx="4586">
                  <c:v>39398</c:v>
                </c:pt>
                <c:pt idx="4587">
                  <c:v>39399</c:v>
                </c:pt>
                <c:pt idx="4588">
                  <c:v>39400</c:v>
                </c:pt>
                <c:pt idx="4589">
                  <c:v>39401</c:v>
                </c:pt>
                <c:pt idx="4590">
                  <c:v>39402</c:v>
                </c:pt>
                <c:pt idx="4591">
                  <c:v>39405</c:v>
                </c:pt>
                <c:pt idx="4592">
                  <c:v>39406</c:v>
                </c:pt>
                <c:pt idx="4593">
                  <c:v>39407</c:v>
                </c:pt>
                <c:pt idx="4594">
                  <c:v>39409</c:v>
                </c:pt>
                <c:pt idx="4595">
                  <c:v>39412</c:v>
                </c:pt>
                <c:pt idx="4596">
                  <c:v>39413</c:v>
                </c:pt>
                <c:pt idx="4597">
                  <c:v>39414</c:v>
                </c:pt>
                <c:pt idx="4598">
                  <c:v>39415</c:v>
                </c:pt>
                <c:pt idx="4599">
                  <c:v>39416</c:v>
                </c:pt>
                <c:pt idx="4600">
                  <c:v>39419</c:v>
                </c:pt>
                <c:pt idx="4601">
                  <c:v>39420</c:v>
                </c:pt>
                <c:pt idx="4602">
                  <c:v>39421</c:v>
                </c:pt>
                <c:pt idx="4603">
                  <c:v>39422</c:v>
                </c:pt>
                <c:pt idx="4604">
                  <c:v>39423</c:v>
                </c:pt>
                <c:pt idx="4605">
                  <c:v>39426</c:v>
                </c:pt>
                <c:pt idx="4606">
                  <c:v>39427</c:v>
                </c:pt>
                <c:pt idx="4607">
                  <c:v>39428</c:v>
                </c:pt>
                <c:pt idx="4608">
                  <c:v>39429</c:v>
                </c:pt>
                <c:pt idx="4609">
                  <c:v>39430</c:v>
                </c:pt>
                <c:pt idx="4610">
                  <c:v>39433</c:v>
                </c:pt>
                <c:pt idx="4611">
                  <c:v>39434</c:v>
                </c:pt>
                <c:pt idx="4612">
                  <c:v>39435</c:v>
                </c:pt>
                <c:pt idx="4613">
                  <c:v>39436</c:v>
                </c:pt>
                <c:pt idx="4614">
                  <c:v>39437</c:v>
                </c:pt>
                <c:pt idx="4615">
                  <c:v>39440</c:v>
                </c:pt>
                <c:pt idx="4616">
                  <c:v>39442</c:v>
                </c:pt>
                <c:pt idx="4617">
                  <c:v>39443</c:v>
                </c:pt>
                <c:pt idx="4618">
                  <c:v>39444</c:v>
                </c:pt>
                <c:pt idx="4619">
                  <c:v>39447</c:v>
                </c:pt>
                <c:pt idx="4620">
                  <c:v>39449</c:v>
                </c:pt>
                <c:pt idx="4621">
                  <c:v>39450</c:v>
                </c:pt>
                <c:pt idx="4622">
                  <c:v>39451</c:v>
                </c:pt>
                <c:pt idx="4623">
                  <c:v>39454</c:v>
                </c:pt>
                <c:pt idx="4624">
                  <c:v>39455</c:v>
                </c:pt>
                <c:pt idx="4625">
                  <c:v>39456</c:v>
                </c:pt>
                <c:pt idx="4626">
                  <c:v>39457</c:v>
                </c:pt>
                <c:pt idx="4627">
                  <c:v>39458</c:v>
                </c:pt>
                <c:pt idx="4628">
                  <c:v>39461</c:v>
                </c:pt>
                <c:pt idx="4629">
                  <c:v>39462</c:v>
                </c:pt>
                <c:pt idx="4630">
                  <c:v>39463</c:v>
                </c:pt>
                <c:pt idx="4631">
                  <c:v>39464</c:v>
                </c:pt>
                <c:pt idx="4632">
                  <c:v>39465</c:v>
                </c:pt>
                <c:pt idx="4633">
                  <c:v>39469</c:v>
                </c:pt>
                <c:pt idx="4634">
                  <c:v>39470</c:v>
                </c:pt>
                <c:pt idx="4635">
                  <c:v>39471</c:v>
                </c:pt>
                <c:pt idx="4636">
                  <c:v>39472</c:v>
                </c:pt>
                <c:pt idx="4637">
                  <c:v>39475</c:v>
                </c:pt>
                <c:pt idx="4638">
                  <c:v>39476</c:v>
                </c:pt>
                <c:pt idx="4639">
                  <c:v>39477</c:v>
                </c:pt>
                <c:pt idx="4640">
                  <c:v>39478</c:v>
                </c:pt>
                <c:pt idx="4641">
                  <c:v>39479</c:v>
                </c:pt>
                <c:pt idx="4642">
                  <c:v>39482</c:v>
                </c:pt>
                <c:pt idx="4643">
                  <c:v>39483</c:v>
                </c:pt>
                <c:pt idx="4644">
                  <c:v>39484</c:v>
                </c:pt>
                <c:pt idx="4645">
                  <c:v>39485</c:v>
                </c:pt>
                <c:pt idx="4646">
                  <c:v>39486</c:v>
                </c:pt>
                <c:pt idx="4647">
                  <c:v>39489</c:v>
                </c:pt>
                <c:pt idx="4648">
                  <c:v>39490</c:v>
                </c:pt>
                <c:pt idx="4649">
                  <c:v>39491</c:v>
                </c:pt>
                <c:pt idx="4650">
                  <c:v>39492</c:v>
                </c:pt>
                <c:pt idx="4651">
                  <c:v>39493</c:v>
                </c:pt>
                <c:pt idx="4652">
                  <c:v>39497</c:v>
                </c:pt>
                <c:pt idx="4653">
                  <c:v>39498</c:v>
                </c:pt>
                <c:pt idx="4654">
                  <c:v>39499</c:v>
                </c:pt>
                <c:pt idx="4655">
                  <c:v>39500</c:v>
                </c:pt>
                <c:pt idx="4656">
                  <c:v>39503</c:v>
                </c:pt>
                <c:pt idx="4657">
                  <c:v>39504</c:v>
                </c:pt>
                <c:pt idx="4658">
                  <c:v>39505</c:v>
                </c:pt>
                <c:pt idx="4659">
                  <c:v>39506</c:v>
                </c:pt>
                <c:pt idx="4660">
                  <c:v>39507</c:v>
                </c:pt>
                <c:pt idx="4661">
                  <c:v>39510</c:v>
                </c:pt>
                <c:pt idx="4662">
                  <c:v>39511</c:v>
                </c:pt>
                <c:pt idx="4663">
                  <c:v>39512</c:v>
                </c:pt>
                <c:pt idx="4664">
                  <c:v>39513</c:v>
                </c:pt>
                <c:pt idx="4665">
                  <c:v>39514</c:v>
                </c:pt>
                <c:pt idx="4666">
                  <c:v>39517</c:v>
                </c:pt>
                <c:pt idx="4667">
                  <c:v>39518</c:v>
                </c:pt>
                <c:pt idx="4668">
                  <c:v>39519</c:v>
                </c:pt>
                <c:pt idx="4669">
                  <c:v>39520</c:v>
                </c:pt>
                <c:pt idx="4670">
                  <c:v>39521</c:v>
                </c:pt>
                <c:pt idx="4671">
                  <c:v>39524</c:v>
                </c:pt>
                <c:pt idx="4672">
                  <c:v>39525</c:v>
                </c:pt>
                <c:pt idx="4673">
                  <c:v>39526</c:v>
                </c:pt>
                <c:pt idx="4674">
                  <c:v>39527</c:v>
                </c:pt>
                <c:pt idx="4675">
                  <c:v>39531</c:v>
                </c:pt>
                <c:pt idx="4676">
                  <c:v>39532</c:v>
                </c:pt>
                <c:pt idx="4677">
                  <c:v>39533</c:v>
                </c:pt>
                <c:pt idx="4678">
                  <c:v>39534</c:v>
                </c:pt>
                <c:pt idx="4679">
                  <c:v>39535</c:v>
                </c:pt>
                <c:pt idx="4680">
                  <c:v>39538</c:v>
                </c:pt>
                <c:pt idx="4681">
                  <c:v>39539</c:v>
                </c:pt>
                <c:pt idx="4682">
                  <c:v>39540</c:v>
                </c:pt>
                <c:pt idx="4683">
                  <c:v>39541</c:v>
                </c:pt>
                <c:pt idx="4684">
                  <c:v>39542</c:v>
                </c:pt>
                <c:pt idx="4685">
                  <c:v>39545</c:v>
                </c:pt>
                <c:pt idx="4686">
                  <c:v>39546</c:v>
                </c:pt>
                <c:pt idx="4687">
                  <c:v>39547</c:v>
                </c:pt>
                <c:pt idx="4688">
                  <c:v>39548</c:v>
                </c:pt>
                <c:pt idx="4689">
                  <c:v>39549</c:v>
                </c:pt>
                <c:pt idx="4690">
                  <c:v>39552</c:v>
                </c:pt>
                <c:pt idx="4691">
                  <c:v>39553</c:v>
                </c:pt>
                <c:pt idx="4692">
                  <c:v>39554</c:v>
                </c:pt>
                <c:pt idx="4693">
                  <c:v>39555</c:v>
                </c:pt>
                <c:pt idx="4694">
                  <c:v>39556</c:v>
                </c:pt>
                <c:pt idx="4695">
                  <c:v>39559</c:v>
                </c:pt>
                <c:pt idx="4696">
                  <c:v>39560</c:v>
                </c:pt>
                <c:pt idx="4697">
                  <c:v>39561</c:v>
                </c:pt>
                <c:pt idx="4698">
                  <c:v>39562</c:v>
                </c:pt>
                <c:pt idx="4699">
                  <c:v>39563</c:v>
                </c:pt>
                <c:pt idx="4700">
                  <c:v>39566</c:v>
                </c:pt>
                <c:pt idx="4701">
                  <c:v>39567</c:v>
                </c:pt>
                <c:pt idx="4702">
                  <c:v>39568</c:v>
                </c:pt>
                <c:pt idx="4703">
                  <c:v>39569</c:v>
                </c:pt>
                <c:pt idx="4704">
                  <c:v>39570</c:v>
                </c:pt>
                <c:pt idx="4705">
                  <c:v>39573</c:v>
                </c:pt>
                <c:pt idx="4706">
                  <c:v>39574</c:v>
                </c:pt>
                <c:pt idx="4707">
                  <c:v>39575</c:v>
                </c:pt>
                <c:pt idx="4708">
                  <c:v>39576</c:v>
                </c:pt>
                <c:pt idx="4709">
                  <c:v>39577</c:v>
                </c:pt>
                <c:pt idx="4710">
                  <c:v>39580</c:v>
                </c:pt>
                <c:pt idx="4711">
                  <c:v>39581</c:v>
                </c:pt>
                <c:pt idx="4712">
                  <c:v>39582</c:v>
                </c:pt>
                <c:pt idx="4713">
                  <c:v>39583</c:v>
                </c:pt>
                <c:pt idx="4714">
                  <c:v>39584</c:v>
                </c:pt>
                <c:pt idx="4715">
                  <c:v>39587</c:v>
                </c:pt>
                <c:pt idx="4716">
                  <c:v>39588</c:v>
                </c:pt>
                <c:pt idx="4717">
                  <c:v>39589</c:v>
                </c:pt>
                <c:pt idx="4718">
                  <c:v>39590</c:v>
                </c:pt>
                <c:pt idx="4719">
                  <c:v>39591</c:v>
                </c:pt>
                <c:pt idx="4720">
                  <c:v>39595</c:v>
                </c:pt>
                <c:pt idx="4721">
                  <c:v>39596</c:v>
                </c:pt>
                <c:pt idx="4722">
                  <c:v>39597</c:v>
                </c:pt>
                <c:pt idx="4723">
                  <c:v>39598</c:v>
                </c:pt>
                <c:pt idx="4724">
                  <c:v>39601</c:v>
                </c:pt>
                <c:pt idx="4725">
                  <c:v>39602</c:v>
                </c:pt>
                <c:pt idx="4726">
                  <c:v>39603</c:v>
                </c:pt>
                <c:pt idx="4727">
                  <c:v>39604</c:v>
                </c:pt>
                <c:pt idx="4728">
                  <c:v>39605</c:v>
                </c:pt>
                <c:pt idx="4729">
                  <c:v>39608</c:v>
                </c:pt>
                <c:pt idx="4730">
                  <c:v>39609</c:v>
                </c:pt>
                <c:pt idx="4731">
                  <c:v>39610</c:v>
                </c:pt>
                <c:pt idx="4732">
                  <c:v>39611</c:v>
                </c:pt>
                <c:pt idx="4733">
                  <c:v>39612</c:v>
                </c:pt>
                <c:pt idx="4734">
                  <c:v>39615</c:v>
                </c:pt>
                <c:pt idx="4735">
                  <c:v>39616</c:v>
                </c:pt>
                <c:pt idx="4736">
                  <c:v>39617</c:v>
                </c:pt>
                <c:pt idx="4737">
                  <c:v>39618</c:v>
                </c:pt>
                <c:pt idx="4738">
                  <c:v>39619</c:v>
                </c:pt>
                <c:pt idx="4739">
                  <c:v>39622</c:v>
                </c:pt>
                <c:pt idx="4740">
                  <c:v>39623</c:v>
                </c:pt>
                <c:pt idx="4741">
                  <c:v>39624</c:v>
                </c:pt>
                <c:pt idx="4742">
                  <c:v>39625</c:v>
                </c:pt>
                <c:pt idx="4743">
                  <c:v>39626</c:v>
                </c:pt>
                <c:pt idx="4744">
                  <c:v>39629</c:v>
                </c:pt>
                <c:pt idx="4745">
                  <c:v>39630</c:v>
                </c:pt>
                <c:pt idx="4746">
                  <c:v>39631</c:v>
                </c:pt>
                <c:pt idx="4747">
                  <c:v>39632</c:v>
                </c:pt>
                <c:pt idx="4748">
                  <c:v>39636</c:v>
                </c:pt>
                <c:pt idx="4749">
                  <c:v>39637</c:v>
                </c:pt>
                <c:pt idx="4750">
                  <c:v>39638</c:v>
                </c:pt>
                <c:pt idx="4751">
                  <c:v>39639</c:v>
                </c:pt>
                <c:pt idx="4752">
                  <c:v>39640</c:v>
                </c:pt>
                <c:pt idx="4753">
                  <c:v>39643</c:v>
                </c:pt>
                <c:pt idx="4754">
                  <c:v>39644</c:v>
                </c:pt>
                <c:pt idx="4755">
                  <c:v>39645</c:v>
                </c:pt>
                <c:pt idx="4756">
                  <c:v>39646</c:v>
                </c:pt>
                <c:pt idx="4757">
                  <c:v>39647</c:v>
                </c:pt>
                <c:pt idx="4758">
                  <c:v>39650</c:v>
                </c:pt>
                <c:pt idx="4759">
                  <c:v>39651</c:v>
                </c:pt>
                <c:pt idx="4760">
                  <c:v>39652</c:v>
                </c:pt>
                <c:pt idx="4761">
                  <c:v>39653</c:v>
                </c:pt>
                <c:pt idx="4762">
                  <c:v>39654</c:v>
                </c:pt>
                <c:pt idx="4763">
                  <c:v>39657</c:v>
                </c:pt>
                <c:pt idx="4764">
                  <c:v>39658</c:v>
                </c:pt>
                <c:pt idx="4765">
                  <c:v>39659</c:v>
                </c:pt>
                <c:pt idx="4766">
                  <c:v>39660</c:v>
                </c:pt>
                <c:pt idx="4767">
                  <c:v>39661</c:v>
                </c:pt>
                <c:pt idx="4768">
                  <c:v>39664</c:v>
                </c:pt>
                <c:pt idx="4769">
                  <c:v>39665</c:v>
                </c:pt>
                <c:pt idx="4770">
                  <c:v>39666</c:v>
                </c:pt>
                <c:pt idx="4771">
                  <c:v>39667</c:v>
                </c:pt>
                <c:pt idx="4772">
                  <c:v>39668</c:v>
                </c:pt>
                <c:pt idx="4773">
                  <c:v>39671</c:v>
                </c:pt>
                <c:pt idx="4774">
                  <c:v>39672</c:v>
                </c:pt>
                <c:pt idx="4775">
                  <c:v>39673</c:v>
                </c:pt>
                <c:pt idx="4776">
                  <c:v>39674</c:v>
                </c:pt>
                <c:pt idx="4777">
                  <c:v>39675</c:v>
                </c:pt>
                <c:pt idx="4778">
                  <c:v>39678</c:v>
                </c:pt>
                <c:pt idx="4779">
                  <c:v>39679</c:v>
                </c:pt>
                <c:pt idx="4780">
                  <c:v>39680</c:v>
                </c:pt>
                <c:pt idx="4781">
                  <c:v>39681</c:v>
                </c:pt>
                <c:pt idx="4782">
                  <c:v>39682</c:v>
                </c:pt>
                <c:pt idx="4783">
                  <c:v>39685</c:v>
                </c:pt>
                <c:pt idx="4784">
                  <c:v>39686</c:v>
                </c:pt>
                <c:pt idx="4785">
                  <c:v>39687</c:v>
                </c:pt>
                <c:pt idx="4786">
                  <c:v>39688</c:v>
                </c:pt>
                <c:pt idx="4787">
                  <c:v>39689</c:v>
                </c:pt>
                <c:pt idx="4788">
                  <c:v>39693</c:v>
                </c:pt>
                <c:pt idx="4789">
                  <c:v>39694</c:v>
                </c:pt>
                <c:pt idx="4790">
                  <c:v>39695</c:v>
                </c:pt>
                <c:pt idx="4791">
                  <c:v>39696</c:v>
                </c:pt>
                <c:pt idx="4792">
                  <c:v>39699</c:v>
                </c:pt>
                <c:pt idx="4793">
                  <c:v>39700</c:v>
                </c:pt>
                <c:pt idx="4794">
                  <c:v>39701</c:v>
                </c:pt>
                <c:pt idx="4795">
                  <c:v>39702</c:v>
                </c:pt>
                <c:pt idx="4796">
                  <c:v>39703</c:v>
                </c:pt>
                <c:pt idx="4797">
                  <c:v>39706</c:v>
                </c:pt>
                <c:pt idx="4798">
                  <c:v>39707</c:v>
                </c:pt>
                <c:pt idx="4799">
                  <c:v>39708</c:v>
                </c:pt>
                <c:pt idx="4800">
                  <c:v>39709</c:v>
                </c:pt>
                <c:pt idx="4801">
                  <c:v>39710</c:v>
                </c:pt>
                <c:pt idx="4802">
                  <c:v>39713</c:v>
                </c:pt>
                <c:pt idx="4803">
                  <c:v>39714</c:v>
                </c:pt>
                <c:pt idx="4804">
                  <c:v>39715</c:v>
                </c:pt>
                <c:pt idx="4805">
                  <c:v>39716</c:v>
                </c:pt>
                <c:pt idx="4806">
                  <c:v>39717</c:v>
                </c:pt>
                <c:pt idx="4807">
                  <c:v>39720</c:v>
                </c:pt>
                <c:pt idx="4808">
                  <c:v>39721</c:v>
                </c:pt>
                <c:pt idx="4809">
                  <c:v>39722</c:v>
                </c:pt>
                <c:pt idx="4810">
                  <c:v>39723</c:v>
                </c:pt>
                <c:pt idx="4811">
                  <c:v>39724</c:v>
                </c:pt>
                <c:pt idx="4812">
                  <c:v>39727</c:v>
                </c:pt>
                <c:pt idx="4813">
                  <c:v>39728</c:v>
                </c:pt>
                <c:pt idx="4814">
                  <c:v>39729</c:v>
                </c:pt>
                <c:pt idx="4815">
                  <c:v>39730</c:v>
                </c:pt>
                <c:pt idx="4816">
                  <c:v>39731</c:v>
                </c:pt>
                <c:pt idx="4817">
                  <c:v>39734</c:v>
                </c:pt>
                <c:pt idx="4818">
                  <c:v>39735</c:v>
                </c:pt>
                <c:pt idx="4819">
                  <c:v>39736</c:v>
                </c:pt>
                <c:pt idx="4820">
                  <c:v>39737</c:v>
                </c:pt>
                <c:pt idx="4821">
                  <c:v>39738</c:v>
                </c:pt>
                <c:pt idx="4822">
                  <c:v>39741</c:v>
                </c:pt>
                <c:pt idx="4823">
                  <c:v>39742</c:v>
                </c:pt>
                <c:pt idx="4824">
                  <c:v>39743</c:v>
                </c:pt>
                <c:pt idx="4825">
                  <c:v>39744</c:v>
                </c:pt>
                <c:pt idx="4826">
                  <c:v>39745</c:v>
                </c:pt>
                <c:pt idx="4827">
                  <c:v>39748</c:v>
                </c:pt>
                <c:pt idx="4828">
                  <c:v>39749</c:v>
                </c:pt>
                <c:pt idx="4829">
                  <c:v>39750</c:v>
                </c:pt>
                <c:pt idx="4830">
                  <c:v>39751</c:v>
                </c:pt>
                <c:pt idx="4831">
                  <c:v>39752</c:v>
                </c:pt>
                <c:pt idx="4832">
                  <c:v>39755</c:v>
                </c:pt>
                <c:pt idx="4833">
                  <c:v>39756</c:v>
                </c:pt>
                <c:pt idx="4834">
                  <c:v>39757</c:v>
                </c:pt>
                <c:pt idx="4835">
                  <c:v>39758</c:v>
                </c:pt>
                <c:pt idx="4836">
                  <c:v>39759</c:v>
                </c:pt>
                <c:pt idx="4837">
                  <c:v>39762</c:v>
                </c:pt>
                <c:pt idx="4838">
                  <c:v>39763</c:v>
                </c:pt>
                <c:pt idx="4839">
                  <c:v>39764</c:v>
                </c:pt>
                <c:pt idx="4840">
                  <c:v>39765</c:v>
                </c:pt>
                <c:pt idx="4841">
                  <c:v>39766</c:v>
                </c:pt>
                <c:pt idx="4842">
                  <c:v>39769</c:v>
                </c:pt>
                <c:pt idx="4843">
                  <c:v>39770</c:v>
                </c:pt>
                <c:pt idx="4844">
                  <c:v>39771</c:v>
                </c:pt>
                <c:pt idx="4845">
                  <c:v>39772</c:v>
                </c:pt>
                <c:pt idx="4846">
                  <c:v>39773</c:v>
                </c:pt>
                <c:pt idx="4847">
                  <c:v>39776</c:v>
                </c:pt>
                <c:pt idx="4848">
                  <c:v>39777</c:v>
                </c:pt>
                <c:pt idx="4849">
                  <c:v>39778</c:v>
                </c:pt>
                <c:pt idx="4850">
                  <c:v>39780</c:v>
                </c:pt>
                <c:pt idx="4851">
                  <c:v>39783</c:v>
                </c:pt>
                <c:pt idx="4852">
                  <c:v>39784</c:v>
                </c:pt>
                <c:pt idx="4853">
                  <c:v>39785</c:v>
                </c:pt>
                <c:pt idx="4854">
                  <c:v>39786</c:v>
                </c:pt>
                <c:pt idx="4855">
                  <c:v>39787</c:v>
                </c:pt>
                <c:pt idx="4856">
                  <c:v>39790</c:v>
                </c:pt>
                <c:pt idx="4857">
                  <c:v>39791</c:v>
                </c:pt>
                <c:pt idx="4858">
                  <c:v>39792</c:v>
                </c:pt>
                <c:pt idx="4859">
                  <c:v>39793</c:v>
                </c:pt>
                <c:pt idx="4860">
                  <c:v>39794</c:v>
                </c:pt>
                <c:pt idx="4861">
                  <c:v>39797</c:v>
                </c:pt>
                <c:pt idx="4862">
                  <c:v>39798</c:v>
                </c:pt>
                <c:pt idx="4863">
                  <c:v>39799</c:v>
                </c:pt>
                <c:pt idx="4864">
                  <c:v>39800</c:v>
                </c:pt>
                <c:pt idx="4865">
                  <c:v>39801</c:v>
                </c:pt>
                <c:pt idx="4866">
                  <c:v>39804</c:v>
                </c:pt>
                <c:pt idx="4867">
                  <c:v>39805</c:v>
                </c:pt>
                <c:pt idx="4868">
                  <c:v>39806</c:v>
                </c:pt>
                <c:pt idx="4869">
                  <c:v>39808</c:v>
                </c:pt>
                <c:pt idx="4870">
                  <c:v>39811</c:v>
                </c:pt>
                <c:pt idx="4871">
                  <c:v>39812</c:v>
                </c:pt>
                <c:pt idx="4872">
                  <c:v>39813</c:v>
                </c:pt>
                <c:pt idx="4873">
                  <c:v>39815</c:v>
                </c:pt>
                <c:pt idx="4874">
                  <c:v>39818</c:v>
                </c:pt>
                <c:pt idx="4875">
                  <c:v>39819</c:v>
                </c:pt>
                <c:pt idx="4876">
                  <c:v>39820</c:v>
                </c:pt>
                <c:pt idx="4877">
                  <c:v>39821</c:v>
                </c:pt>
                <c:pt idx="4878">
                  <c:v>39822</c:v>
                </c:pt>
                <c:pt idx="4879">
                  <c:v>39825</c:v>
                </c:pt>
                <c:pt idx="4880">
                  <c:v>39826</c:v>
                </c:pt>
                <c:pt idx="4881">
                  <c:v>39827</c:v>
                </c:pt>
                <c:pt idx="4882">
                  <c:v>39828</c:v>
                </c:pt>
                <c:pt idx="4883">
                  <c:v>39829</c:v>
                </c:pt>
                <c:pt idx="4884">
                  <c:v>39833</c:v>
                </c:pt>
                <c:pt idx="4885">
                  <c:v>39834</c:v>
                </c:pt>
                <c:pt idx="4886">
                  <c:v>39835</c:v>
                </c:pt>
                <c:pt idx="4887">
                  <c:v>39836</c:v>
                </c:pt>
                <c:pt idx="4888">
                  <c:v>39839</c:v>
                </c:pt>
                <c:pt idx="4889">
                  <c:v>39840</c:v>
                </c:pt>
                <c:pt idx="4890">
                  <c:v>39841</c:v>
                </c:pt>
                <c:pt idx="4891">
                  <c:v>39842</c:v>
                </c:pt>
                <c:pt idx="4892">
                  <c:v>39843</c:v>
                </c:pt>
                <c:pt idx="4893">
                  <c:v>39846</c:v>
                </c:pt>
                <c:pt idx="4894">
                  <c:v>39847</c:v>
                </c:pt>
                <c:pt idx="4895">
                  <c:v>39848</c:v>
                </c:pt>
                <c:pt idx="4896">
                  <c:v>39849</c:v>
                </c:pt>
                <c:pt idx="4897">
                  <c:v>39850</c:v>
                </c:pt>
                <c:pt idx="4898">
                  <c:v>39853</c:v>
                </c:pt>
                <c:pt idx="4899">
                  <c:v>39854</c:v>
                </c:pt>
                <c:pt idx="4900">
                  <c:v>39855</c:v>
                </c:pt>
                <c:pt idx="4901">
                  <c:v>39856</c:v>
                </c:pt>
                <c:pt idx="4902">
                  <c:v>39857</c:v>
                </c:pt>
                <c:pt idx="4903">
                  <c:v>39861</c:v>
                </c:pt>
                <c:pt idx="4904">
                  <c:v>39862</c:v>
                </c:pt>
                <c:pt idx="4905">
                  <c:v>39863</c:v>
                </c:pt>
                <c:pt idx="4906">
                  <c:v>39864</c:v>
                </c:pt>
                <c:pt idx="4907">
                  <c:v>39867</c:v>
                </c:pt>
                <c:pt idx="4908">
                  <c:v>39868</c:v>
                </c:pt>
                <c:pt idx="4909">
                  <c:v>39869</c:v>
                </c:pt>
                <c:pt idx="4910">
                  <c:v>39870</c:v>
                </c:pt>
                <c:pt idx="4911">
                  <c:v>39871</c:v>
                </c:pt>
                <c:pt idx="4912">
                  <c:v>39874</c:v>
                </c:pt>
                <c:pt idx="4913">
                  <c:v>39875</c:v>
                </c:pt>
                <c:pt idx="4914">
                  <c:v>39876</c:v>
                </c:pt>
                <c:pt idx="4915">
                  <c:v>39877</c:v>
                </c:pt>
                <c:pt idx="4916">
                  <c:v>39878</c:v>
                </c:pt>
                <c:pt idx="4917">
                  <c:v>39881</c:v>
                </c:pt>
                <c:pt idx="4918">
                  <c:v>39882</c:v>
                </c:pt>
                <c:pt idx="4919">
                  <c:v>39883</c:v>
                </c:pt>
                <c:pt idx="4920">
                  <c:v>39884</c:v>
                </c:pt>
                <c:pt idx="4921">
                  <c:v>39885</c:v>
                </c:pt>
                <c:pt idx="4922">
                  <c:v>39888</c:v>
                </c:pt>
                <c:pt idx="4923">
                  <c:v>39889</c:v>
                </c:pt>
                <c:pt idx="4924">
                  <c:v>39890</c:v>
                </c:pt>
                <c:pt idx="4925">
                  <c:v>39891</c:v>
                </c:pt>
                <c:pt idx="4926">
                  <c:v>39892</c:v>
                </c:pt>
                <c:pt idx="4927">
                  <c:v>39895</c:v>
                </c:pt>
                <c:pt idx="4928">
                  <c:v>39896</c:v>
                </c:pt>
                <c:pt idx="4929">
                  <c:v>39897</c:v>
                </c:pt>
                <c:pt idx="4930">
                  <c:v>39898</c:v>
                </c:pt>
                <c:pt idx="4931">
                  <c:v>39899</c:v>
                </c:pt>
                <c:pt idx="4932">
                  <c:v>39902</c:v>
                </c:pt>
                <c:pt idx="4933">
                  <c:v>39903</c:v>
                </c:pt>
                <c:pt idx="4934">
                  <c:v>39904</c:v>
                </c:pt>
                <c:pt idx="4935">
                  <c:v>39905</c:v>
                </c:pt>
                <c:pt idx="4936">
                  <c:v>39906</c:v>
                </c:pt>
                <c:pt idx="4937">
                  <c:v>39909</c:v>
                </c:pt>
                <c:pt idx="4938">
                  <c:v>39910</c:v>
                </c:pt>
                <c:pt idx="4939">
                  <c:v>39911</c:v>
                </c:pt>
                <c:pt idx="4940">
                  <c:v>39912</c:v>
                </c:pt>
                <c:pt idx="4941">
                  <c:v>39916</c:v>
                </c:pt>
                <c:pt idx="4942">
                  <c:v>39917</c:v>
                </c:pt>
                <c:pt idx="4943">
                  <c:v>39918</c:v>
                </c:pt>
                <c:pt idx="4944">
                  <c:v>39919</c:v>
                </c:pt>
                <c:pt idx="4945">
                  <c:v>39920</c:v>
                </c:pt>
                <c:pt idx="4946">
                  <c:v>39923</c:v>
                </c:pt>
                <c:pt idx="4947">
                  <c:v>39924</c:v>
                </c:pt>
                <c:pt idx="4948">
                  <c:v>39925</c:v>
                </c:pt>
                <c:pt idx="4949">
                  <c:v>39926</c:v>
                </c:pt>
                <c:pt idx="4950">
                  <c:v>39927</c:v>
                </c:pt>
                <c:pt idx="4951">
                  <c:v>39930</c:v>
                </c:pt>
                <c:pt idx="4952">
                  <c:v>39931</c:v>
                </c:pt>
                <c:pt idx="4953">
                  <c:v>39932</c:v>
                </c:pt>
                <c:pt idx="4954">
                  <c:v>39933</c:v>
                </c:pt>
                <c:pt idx="4955">
                  <c:v>39934</c:v>
                </c:pt>
                <c:pt idx="4956">
                  <c:v>39937</c:v>
                </c:pt>
                <c:pt idx="4957">
                  <c:v>39938</c:v>
                </c:pt>
                <c:pt idx="4958">
                  <c:v>39939</c:v>
                </c:pt>
                <c:pt idx="4959">
                  <c:v>39940</c:v>
                </c:pt>
                <c:pt idx="4960">
                  <c:v>39941</c:v>
                </c:pt>
                <c:pt idx="4961">
                  <c:v>39944</c:v>
                </c:pt>
                <c:pt idx="4962">
                  <c:v>39945</c:v>
                </c:pt>
                <c:pt idx="4963">
                  <c:v>39946</c:v>
                </c:pt>
                <c:pt idx="4964">
                  <c:v>39947</c:v>
                </c:pt>
                <c:pt idx="4965">
                  <c:v>39948</c:v>
                </c:pt>
                <c:pt idx="4966">
                  <c:v>39951</c:v>
                </c:pt>
                <c:pt idx="4967">
                  <c:v>39952</c:v>
                </c:pt>
                <c:pt idx="4968">
                  <c:v>39953</c:v>
                </c:pt>
                <c:pt idx="4969">
                  <c:v>39954</c:v>
                </c:pt>
                <c:pt idx="4970">
                  <c:v>39955</c:v>
                </c:pt>
                <c:pt idx="4971">
                  <c:v>39959</c:v>
                </c:pt>
                <c:pt idx="4972">
                  <c:v>39960</c:v>
                </c:pt>
                <c:pt idx="4973">
                  <c:v>39961</c:v>
                </c:pt>
                <c:pt idx="4974">
                  <c:v>39962</c:v>
                </c:pt>
                <c:pt idx="4975">
                  <c:v>39965</c:v>
                </c:pt>
                <c:pt idx="4976">
                  <c:v>39966</c:v>
                </c:pt>
                <c:pt idx="4977">
                  <c:v>39967</c:v>
                </c:pt>
                <c:pt idx="4978">
                  <c:v>39968</c:v>
                </c:pt>
                <c:pt idx="4979">
                  <c:v>39969</c:v>
                </c:pt>
                <c:pt idx="4980">
                  <c:v>39972</c:v>
                </c:pt>
                <c:pt idx="4981">
                  <c:v>39973</c:v>
                </c:pt>
                <c:pt idx="4982">
                  <c:v>39974</c:v>
                </c:pt>
                <c:pt idx="4983">
                  <c:v>39975</c:v>
                </c:pt>
                <c:pt idx="4984">
                  <c:v>39976</c:v>
                </c:pt>
                <c:pt idx="4985">
                  <c:v>39979</c:v>
                </c:pt>
                <c:pt idx="4986">
                  <c:v>39980</c:v>
                </c:pt>
                <c:pt idx="4987">
                  <c:v>39981</c:v>
                </c:pt>
                <c:pt idx="4988">
                  <c:v>39982</c:v>
                </c:pt>
                <c:pt idx="4989">
                  <c:v>39983</c:v>
                </c:pt>
                <c:pt idx="4990">
                  <c:v>39986</c:v>
                </c:pt>
                <c:pt idx="4991">
                  <c:v>39987</c:v>
                </c:pt>
                <c:pt idx="4992">
                  <c:v>39988</c:v>
                </c:pt>
                <c:pt idx="4993">
                  <c:v>39989</c:v>
                </c:pt>
                <c:pt idx="4994">
                  <c:v>39990</c:v>
                </c:pt>
                <c:pt idx="4995">
                  <c:v>39993</c:v>
                </c:pt>
                <c:pt idx="4996">
                  <c:v>39994</c:v>
                </c:pt>
                <c:pt idx="4997">
                  <c:v>39995</c:v>
                </c:pt>
                <c:pt idx="4998">
                  <c:v>39996</c:v>
                </c:pt>
                <c:pt idx="4999">
                  <c:v>40000</c:v>
                </c:pt>
                <c:pt idx="5000">
                  <c:v>40001</c:v>
                </c:pt>
                <c:pt idx="5001">
                  <c:v>40002</c:v>
                </c:pt>
                <c:pt idx="5002">
                  <c:v>40003</c:v>
                </c:pt>
                <c:pt idx="5003">
                  <c:v>40004</c:v>
                </c:pt>
                <c:pt idx="5004">
                  <c:v>40007</c:v>
                </c:pt>
                <c:pt idx="5005">
                  <c:v>40008</c:v>
                </c:pt>
                <c:pt idx="5006">
                  <c:v>40009</c:v>
                </c:pt>
                <c:pt idx="5007">
                  <c:v>40010</c:v>
                </c:pt>
                <c:pt idx="5008">
                  <c:v>40011</c:v>
                </c:pt>
                <c:pt idx="5009">
                  <c:v>40014</c:v>
                </c:pt>
                <c:pt idx="5010">
                  <c:v>40015</c:v>
                </c:pt>
                <c:pt idx="5011">
                  <c:v>40016</c:v>
                </c:pt>
                <c:pt idx="5012">
                  <c:v>40017</c:v>
                </c:pt>
                <c:pt idx="5013">
                  <c:v>40018</c:v>
                </c:pt>
                <c:pt idx="5014">
                  <c:v>40021</c:v>
                </c:pt>
                <c:pt idx="5015">
                  <c:v>40022</c:v>
                </c:pt>
                <c:pt idx="5016">
                  <c:v>40023</c:v>
                </c:pt>
                <c:pt idx="5017">
                  <c:v>40024</c:v>
                </c:pt>
                <c:pt idx="5018">
                  <c:v>40025</c:v>
                </c:pt>
                <c:pt idx="5019">
                  <c:v>40028</c:v>
                </c:pt>
                <c:pt idx="5020">
                  <c:v>40029</c:v>
                </c:pt>
                <c:pt idx="5021">
                  <c:v>40030</c:v>
                </c:pt>
                <c:pt idx="5022">
                  <c:v>40031</c:v>
                </c:pt>
                <c:pt idx="5023">
                  <c:v>40032</c:v>
                </c:pt>
                <c:pt idx="5024">
                  <c:v>40035</c:v>
                </c:pt>
                <c:pt idx="5025">
                  <c:v>40036</c:v>
                </c:pt>
                <c:pt idx="5026">
                  <c:v>40037</c:v>
                </c:pt>
                <c:pt idx="5027">
                  <c:v>40038</c:v>
                </c:pt>
                <c:pt idx="5028">
                  <c:v>40039</c:v>
                </c:pt>
                <c:pt idx="5029">
                  <c:v>40042</c:v>
                </c:pt>
                <c:pt idx="5030">
                  <c:v>40043</c:v>
                </c:pt>
                <c:pt idx="5031">
                  <c:v>40044</c:v>
                </c:pt>
                <c:pt idx="5032">
                  <c:v>40045</c:v>
                </c:pt>
                <c:pt idx="5033">
                  <c:v>40046</c:v>
                </c:pt>
                <c:pt idx="5034">
                  <c:v>40049</c:v>
                </c:pt>
                <c:pt idx="5035">
                  <c:v>40050</c:v>
                </c:pt>
                <c:pt idx="5036">
                  <c:v>40051</c:v>
                </c:pt>
                <c:pt idx="5037">
                  <c:v>40052</c:v>
                </c:pt>
                <c:pt idx="5038">
                  <c:v>40053</c:v>
                </c:pt>
                <c:pt idx="5039">
                  <c:v>40056</c:v>
                </c:pt>
                <c:pt idx="5040">
                  <c:v>40057</c:v>
                </c:pt>
                <c:pt idx="5041">
                  <c:v>40058</c:v>
                </c:pt>
                <c:pt idx="5042">
                  <c:v>40059</c:v>
                </c:pt>
                <c:pt idx="5043">
                  <c:v>40060</c:v>
                </c:pt>
                <c:pt idx="5044">
                  <c:v>40064</c:v>
                </c:pt>
                <c:pt idx="5045">
                  <c:v>40065</c:v>
                </c:pt>
                <c:pt idx="5046">
                  <c:v>40066</c:v>
                </c:pt>
                <c:pt idx="5047">
                  <c:v>40067</c:v>
                </c:pt>
                <c:pt idx="5048">
                  <c:v>40070</c:v>
                </c:pt>
                <c:pt idx="5049">
                  <c:v>40071</c:v>
                </c:pt>
                <c:pt idx="5050">
                  <c:v>40072</c:v>
                </c:pt>
                <c:pt idx="5051">
                  <c:v>40073</c:v>
                </c:pt>
                <c:pt idx="5052">
                  <c:v>40074</c:v>
                </c:pt>
                <c:pt idx="5053">
                  <c:v>40077</c:v>
                </c:pt>
                <c:pt idx="5054">
                  <c:v>40078</c:v>
                </c:pt>
                <c:pt idx="5055">
                  <c:v>40079</c:v>
                </c:pt>
                <c:pt idx="5056">
                  <c:v>40080</c:v>
                </c:pt>
                <c:pt idx="5057">
                  <c:v>40081</c:v>
                </c:pt>
                <c:pt idx="5058">
                  <c:v>40084</c:v>
                </c:pt>
                <c:pt idx="5059">
                  <c:v>40085</c:v>
                </c:pt>
                <c:pt idx="5060">
                  <c:v>40086</c:v>
                </c:pt>
                <c:pt idx="5061">
                  <c:v>40087</c:v>
                </c:pt>
                <c:pt idx="5062">
                  <c:v>40088</c:v>
                </c:pt>
                <c:pt idx="5063">
                  <c:v>40091</c:v>
                </c:pt>
                <c:pt idx="5064">
                  <c:v>40092</c:v>
                </c:pt>
                <c:pt idx="5065">
                  <c:v>40093</c:v>
                </c:pt>
                <c:pt idx="5066">
                  <c:v>40094</c:v>
                </c:pt>
                <c:pt idx="5067">
                  <c:v>40095</c:v>
                </c:pt>
                <c:pt idx="5068">
                  <c:v>40098</c:v>
                </c:pt>
                <c:pt idx="5069">
                  <c:v>40099</c:v>
                </c:pt>
                <c:pt idx="5070">
                  <c:v>40100</c:v>
                </c:pt>
                <c:pt idx="5071">
                  <c:v>40101</c:v>
                </c:pt>
                <c:pt idx="5072">
                  <c:v>40102</c:v>
                </c:pt>
                <c:pt idx="5073">
                  <c:v>40105</c:v>
                </c:pt>
                <c:pt idx="5074">
                  <c:v>40106</c:v>
                </c:pt>
                <c:pt idx="5075">
                  <c:v>40107</c:v>
                </c:pt>
                <c:pt idx="5076">
                  <c:v>40108</c:v>
                </c:pt>
                <c:pt idx="5077">
                  <c:v>40109</c:v>
                </c:pt>
                <c:pt idx="5078">
                  <c:v>40112</c:v>
                </c:pt>
                <c:pt idx="5079">
                  <c:v>40113</c:v>
                </c:pt>
                <c:pt idx="5080">
                  <c:v>40114</c:v>
                </c:pt>
                <c:pt idx="5081">
                  <c:v>40115</c:v>
                </c:pt>
                <c:pt idx="5082">
                  <c:v>40116</c:v>
                </c:pt>
                <c:pt idx="5083">
                  <c:v>40119</c:v>
                </c:pt>
                <c:pt idx="5084">
                  <c:v>40120</c:v>
                </c:pt>
                <c:pt idx="5085">
                  <c:v>40121</c:v>
                </c:pt>
                <c:pt idx="5086">
                  <c:v>40122</c:v>
                </c:pt>
                <c:pt idx="5087">
                  <c:v>40123</c:v>
                </c:pt>
                <c:pt idx="5088">
                  <c:v>40126</c:v>
                </c:pt>
                <c:pt idx="5089">
                  <c:v>40127</c:v>
                </c:pt>
                <c:pt idx="5090">
                  <c:v>40128</c:v>
                </c:pt>
                <c:pt idx="5091">
                  <c:v>40129</c:v>
                </c:pt>
                <c:pt idx="5092">
                  <c:v>40130</c:v>
                </c:pt>
                <c:pt idx="5093">
                  <c:v>40133</c:v>
                </c:pt>
                <c:pt idx="5094">
                  <c:v>40134</c:v>
                </c:pt>
                <c:pt idx="5095">
                  <c:v>40135</c:v>
                </c:pt>
                <c:pt idx="5096">
                  <c:v>40136</c:v>
                </c:pt>
                <c:pt idx="5097">
                  <c:v>40137</c:v>
                </c:pt>
                <c:pt idx="5098">
                  <c:v>40140</c:v>
                </c:pt>
                <c:pt idx="5099">
                  <c:v>40141</c:v>
                </c:pt>
                <c:pt idx="5100">
                  <c:v>40142</c:v>
                </c:pt>
                <c:pt idx="5101">
                  <c:v>40144</c:v>
                </c:pt>
                <c:pt idx="5102">
                  <c:v>40147</c:v>
                </c:pt>
                <c:pt idx="5103">
                  <c:v>40148</c:v>
                </c:pt>
                <c:pt idx="5104">
                  <c:v>40149</c:v>
                </c:pt>
                <c:pt idx="5105">
                  <c:v>40150</c:v>
                </c:pt>
                <c:pt idx="5106">
                  <c:v>40151</c:v>
                </c:pt>
                <c:pt idx="5107">
                  <c:v>40154</c:v>
                </c:pt>
                <c:pt idx="5108">
                  <c:v>40155</c:v>
                </c:pt>
                <c:pt idx="5109">
                  <c:v>40156</c:v>
                </c:pt>
                <c:pt idx="5110">
                  <c:v>40157</c:v>
                </c:pt>
                <c:pt idx="5111">
                  <c:v>40158</c:v>
                </c:pt>
                <c:pt idx="5112">
                  <c:v>40161</c:v>
                </c:pt>
                <c:pt idx="5113">
                  <c:v>40162</c:v>
                </c:pt>
                <c:pt idx="5114">
                  <c:v>40163</c:v>
                </c:pt>
                <c:pt idx="5115">
                  <c:v>40164</c:v>
                </c:pt>
                <c:pt idx="5116">
                  <c:v>40165</c:v>
                </c:pt>
                <c:pt idx="5117">
                  <c:v>40168</c:v>
                </c:pt>
                <c:pt idx="5118">
                  <c:v>40169</c:v>
                </c:pt>
                <c:pt idx="5119">
                  <c:v>40170</c:v>
                </c:pt>
                <c:pt idx="5120">
                  <c:v>40171</c:v>
                </c:pt>
                <c:pt idx="5121">
                  <c:v>40175</c:v>
                </c:pt>
                <c:pt idx="5122">
                  <c:v>40176</c:v>
                </c:pt>
                <c:pt idx="5123">
                  <c:v>40177</c:v>
                </c:pt>
                <c:pt idx="5124">
                  <c:v>40178</c:v>
                </c:pt>
                <c:pt idx="5125">
                  <c:v>40182</c:v>
                </c:pt>
                <c:pt idx="5126">
                  <c:v>40183</c:v>
                </c:pt>
                <c:pt idx="5127">
                  <c:v>40184</c:v>
                </c:pt>
                <c:pt idx="5128">
                  <c:v>40185</c:v>
                </c:pt>
                <c:pt idx="5129">
                  <c:v>40186</c:v>
                </c:pt>
                <c:pt idx="5130">
                  <c:v>40189</c:v>
                </c:pt>
                <c:pt idx="5131">
                  <c:v>40190</c:v>
                </c:pt>
                <c:pt idx="5132">
                  <c:v>40191</c:v>
                </c:pt>
                <c:pt idx="5133">
                  <c:v>40192</c:v>
                </c:pt>
                <c:pt idx="5134">
                  <c:v>40193</c:v>
                </c:pt>
                <c:pt idx="5135">
                  <c:v>40197</c:v>
                </c:pt>
                <c:pt idx="5136">
                  <c:v>40198</c:v>
                </c:pt>
                <c:pt idx="5137">
                  <c:v>40199</c:v>
                </c:pt>
                <c:pt idx="5138">
                  <c:v>40200</c:v>
                </c:pt>
                <c:pt idx="5139">
                  <c:v>40203</c:v>
                </c:pt>
                <c:pt idx="5140">
                  <c:v>40204</c:v>
                </c:pt>
                <c:pt idx="5141">
                  <c:v>40205</c:v>
                </c:pt>
                <c:pt idx="5142">
                  <c:v>40206</c:v>
                </c:pt>
                <c:pt idx="5143">
                  <c:v>40207</c:v>
                </c:pt>
                <c:pt idx="5144">
                  <c:v>40210</c:v>
                </c:pt>
                <c:pt idx="5145">
                  <c:v>40211</c:v>
                </c:pt>
                <c:pt idx="5146">
                  <c:v>40212</c:v>
                </c:pt>
                <c:pt idx="5147">
                  <c:v>40213</c:v>
                </c:pt>
                <c:pt idx="5148">
                  <c:v>40214</c:v>
                </c:pt>
                <c:pt idx="5149">
                  <c:v>40217</c:v>
                </c:pt>
                <c:pt idx="5150">
                  <c:v>40218</c:v>
                </c:pt>
                <c:pt idx="5151">
                  <c:v>40219</c:v>
                </c:pt>
                <c:pt idx="5152">
                  <c:v>40220</c:v>
                </c:pt>
                <c:pt idx="5153">
                  <c:v>40221</c:v>
                </c:pt>
                <c:pt idx="5154">
                  <c:v>40225</c:v>
                </c:pt>
                <c:pt idx="5155">
                  <c:v>40226</c:v>
                </c:pt>
                <c:pt idx="5156">
                  <c:v>40227</c:v>
                </c:pt>
                <c:pt idx="5157">
                  <c:v>40228</c:v>
                </c:pt>
                <c:pt idx="5158">
                  <c:v>40231</c:v>
                </c:pt>
                <c:pt idx="5159">
                  <c:v>40232</c:v>
                </c:pt>
                <c:pt idx="5160">
                  <c:v>40233</c:v>
                </c:pt>
                <c:pt idx="5161">
                  <c:v>40234</c:v>
                </c:pt>
                <c:pt idx="5162">
                  <c:v>40235</c:v>
                </c:pt>
                <c:pt idx="5163">
                  <c:v>40238</c:v>
                </c:pt>
                <c:pt idx="5164">
                  <c:v>40239</c:v>
                </c:pt>
                <c:pt idx="5165">
                  <c:v>40240</c:v>
                </c:pt>
                <c:pt idx="5166">
                  <c:v>40241</c:v>
                </c:pt>
                <c:pt idx="5167">
                  <c:v>40242</c:v>
                </c:pt>
                <c:pt idx="5168">
                  <c:v>40245</c:v>
                </c:pt>
                <c:pt idx="5169">
                  <c:v>40246</c:v>
                </c:pt>
                <c:pt idx="5170">
                  <c:v>40247</c:v>
                </c:pt>
                <c:pt idx="5171">
                  <c:v>40248</c:v>
                </c:pt>
                <c:pt idx="5172">
                  <c:v>40249</c:v>
                </c:pt>
                <c:pt idx="5173">
                  <c:v>40252</c:v>
                </c:pt>
                <c:pt idx="5174">
                  <c:v>40253</c:v>
                </c:pt>
                <c:pt idx="5175">
                  <c:v>40254</c:v>
                </c:pt>
                <c:pt idx="5176">
                  <c:v>40255</c:v>
                </c:pt>
                <c:pt idx="5177">
                  <c:v>40256</c:v>
                </c:pt>
                <c:pt idx="5178">
                  <c:v>40259</c:v>
                </c:pt>
                <c:pt idx="5179">
                  <c:v>40260</c:v>
                </c:pt>
                <c:pt idx="5180">
                  <c:v>40261</c:v>
                </c:pt>
                <c:pt idx="5181">
                  <c:v>40262</c:v>
                </c:pt>
                <c:pt idx="5182">
                  <c:v>40263</c:v>
                </c:pt>
                <c:pt idx="5183">
                  <c:v>40266</c:v>
                </c:pt>
                <c:pt idx="5184">
                  <c:v>40267</c:v>
                </c:pt>
                <c:pt idx="5185">
                  <c:v>40268</c:v>
                </c:pt>
                <c:pt idx="5186">
                  <c:v>40269</c:v>
                </c:pt>
                <c:pt idx="5187">
                  <c:v>40273</c:v>
                </c:pt>
                <c:pt idx="5188">
                  <c:v>40274</c:v>
                </c:pt>
                <c:pt idx="5189">
                  <c:v>40275</c:v>
                </c:pt>
                <c:pt idx="5190">
                  <c:v>40276</c:v>
                </c:pt>
                <c:pt idx="5191">
                  <c:v>40277</c:v>
                </c:pt>
                <c:pt idx="5192">
                  <c:v>40280</c:v>
                </c:pt>
                <c:pt idx="5193">
                  <c:v>40281</c:v>
                </c:pt>
                <c:pt idx="5194">
                  <c:v>40282</c:v>
                </c:pt>
                <c:pt idx="5195">
                  <c:v>40283</c:v>
                </c:pt>
                <c:pt idx="5196">
                  <c:v>40284</c:v>
                </c:pt>
                <c:pt idx="5197">
                  <c:v>40287</c:v>
                </c:pt>
                <c:pt idx="5198">
                  <c:v>40288</c:v>
                </c:pt>
                <c:pt idx="5199">
                  <c:v>40289</c:v>
                </c:pt>
                <c:pt idx="5200">
                  <c:v>40290</c:v>
                </c:pt>
                <c:pt idx="5201">
                  <c:v>40291</c:v>
                </c:pt>
                <c:pt idx="5202">
                  <c:v>40294</c:v>
                </c:pt>
                <c:pt idx="5203">
                  <c:v>40295</c:v>
                </c:pt>
                <c:pt idx="5204">
                  <c:v>40296</c:v>
                </c:pt>
                <c:pt idx="5205">
                  <c:v>40297</c:v>
                </c:pt>
                <c:pt idx="5206">
                  <c:v>40298</c:v>
                </c:pt>
                <c:pt idx="5207">
                  <c:v>40301</c:v>
                </c:pt>
                <c:pt idx="5208">
                  <c:v>40302</c:v>
                </c:pt>
                <c:pt idx="5209">
                  <c:v>40303</c:v>
                </c:pt>
                <c:pt idx="5210">
                  <c:v>40304</c:v>
                </c:pt>
                <c:pt idx="5211">
                  <c:v>40305</c:v>
                </c:pt>
                <c:pt idx="5212">
                  <c:v>40308</c:v>
                </c:pt>
                <c:pt idx="5213">
                  <c:v>40309</c:v>
                </c:pt>
                <c:pt idx="5214">
                  <c:v>40310</c:v>
                </c:pt>
                <c:pt idx="5215">
                  <c:v>40311</c:v>
                </c:pt>
                <c:pt idx="5216">
                  <c:v>40312</c:v>
                </c:pt>
                <c:pt idx="5217">
                  <c:v>40315</c:v>
                </c:pt>
                <c:pt idx="5218">
                  <c:v>40316</c:v>
                </c:pt>
                <c:pt idx="5219">
                  <c:v>40317</c:v>
                </c:pt>
                <c:pt idx="5220">
                  <c:v>40318</c:v>
                </c:pt>
                <c:pt idx="5221">
                  <c:v>40319</c:v>
                </c:pt>
                <c:pt idx="5222">
                  <c:v>40322</c:v>
                </c:pt>
                <c:pt idx="5223">
                  <c:v>40323</c:v>
                </c:pt>
                <c:pt idx="5224">
                  <c:v>40324</c:v>
                </c:pt>
                <c:pt idx="5225">
                  <c:v>40325</c:v>
                </c:pt>
                <c:pt idx="5226">
                  <c:v>40326</c:v>
                </c:pt>
                <c:pt idx="5227">
                  <c:v>40330</c:v>
                </c:pt>
                <c:pt idx="5228">
                  <c:v>40331</c:v>
                </c:pt>
                <c:pt idx="5229">
                  <c:v>40332</c:v>
                </c:pt>
                <c:pt idx="5230">
                  <c:v>40333</c:v>
                </c:pt>
                <c:pt idx="5231">
                  <c:v>40336</c:v>
                </c:pt>
                <c:pt idx="5232">
                  <c:v>40337</c:v>
                </c:pt>
                <c:pt idx="5233">
                  <c:v>40338</c:v>
                </c:pt>
                <c:pt idx="5234">
                  <c:v>40339</c:v>
                </c:pt>
                <c:pt idx="5235">
                  <c:v>40340</c:v>
                </c:pt>
                <c:pt idx="5236">
                  <c:v>40343</c:v>
                </c:pt>
                <c:pt idx="5237">
                  <c:v>40344</c:v>
                </c:pt>
                <c:pt idx="5238">
                  <c:v>40345</c:v>
                </c:pt>
                <c:pt idx="5239">
                  <c:v>40346</c:v>
                </c:pt>
                <c:pt idx="5240">
                  <c:v>40347</c:v>
                </c:pt>
                <c:pt idx="5241">
                  <c:v>40350</c:v>
                </c:pt>
                <c:pt idx="5242">
                  <c:v>40351</c:v>
                </c:pt>
                <c:pt idx="5243">
                  <c:v>40352</c:v>
                </c:pt>
                <c:pt idx="5244">
                  <c:v>40353</c:v>
                </c:pt>
                <c:pt idx="5245">
                  <c:v>40354</c:v>
                </c:pt>
                <c:pt idx="5246">
                  <c:v>40357</c:v>
                </c:pt>
                <c:pt idx="5247">
                  <c:v>40358</c:v>
                </c:pt>
                <c:pt idx="5248">
                  <c:v>40359</c:v>
                </c:pt>
                <c:pt idx="5249">
                  <c:v>40360</c:v>
                </c:pt>
                <c:pt idx="5250">
                  <c:v>40361</c:v>
                </c:pt>
                <c:pt idx="5251">
                  <c:v>40365</c:v>
                </c:pt>
                <c:pt idx="5252">
                  <c:v>40366</c:v>
                </c:pt>
                <c:pt idx="5253">
                  <c:v>40367</c:v>
                </c:pt>
                <c:pt idx="5254">
                  <c:v>40368</c:v>
                </c:pt>
                <c:pt idx="5255">
                  <c:v>40371</c:v>
                </c:pt>
                <c:pt idx="5256">
                  <c:v>40372</c:v>
                </c:pt>
                <c:pt idx="5257">
                  <c:v>40373</c:v>
                </c:pt>
                <c:pt idx="5258">
                  <c:v>40374</c:v>
                </c:pt>
                <c:pt idx="5259">
                  <c:v>40375</c:v>
                </c:pt>
                <c:pt idx="5260">
                  <c:v>40378</c:v>
                </c:pt>
                <c:pt idx="5261">
                  <c:v>40379</c:v>
                </c:pt>
                <c:pt idx="5262">
                  <c:v>40380</c:v>
                </c:pt>
                <c:pt idx="5263">
                  <c:v>40381</c:v>
                </c:pt>
                <c:pt idx="5264">
                  <c:v>40382</c:v>
                </c:pt>
                <c:pt idx="5265">
                  <c:v>40385</c:v>
                </c:pt>
                <c:pt idx="5266">
                  <c:v>40386</c:v>
                </c:pt>
                <c:pt idx="5267">
                  <c:v>40387</c:v>
                </c:pt>
                <c:pt idx="5268">
                  <c:v>40388</c:v>
                </c:pt>
                <c:pt idx="5269">
                  <c:v>40389</c:v>
                </c:pt>
                <c:pt idx="5270">
                  <c:v>40392</c:v>
                </c:pt>
                <c:pt idx="5271">
                  <c:v>40393</c:v>
                </c:pt>
                <c:pt idx="5272">
                  <c:v>40394</c:v>
                </c:pt>
                <c:pt idx="5273">
                  <c:v>40395</c:v>
                </c:pt>
                <c:pt idx="5274">
                  <c:v>40396</c:v>
                </c:pt>
                <c:pt idx="5275">
                  <c:v>40399</c:v>
                </c:pt>
                <c:pt idx="5276">
                  <c:v>40400</c:v>
                </c:pt>
                <c:pt idx="5277">
                  <c:v>40401</c:v>
                </c:pt>
                <c:pt idx="5278">
                  <c:v>40402</c:v>
                </c:pt>
                <c:pt idx="5279">
                  <c:v>40403</c:v>
                </c:pt>
                <c:pt idx="5280">
                  <c:v>40406</c:v>
                </c:pt>
                <c:pt idx="5281">
                  <c:v>40407</c:v>
                </c:pt>
                <c:pt idx="5282">
                  <c:v>40408</c:v>
                </c:pt>
                <c:pt idx="5283">
                  <c:v>40409</c:v>
                </c:pt>
                <c:pt idx="5284">
                  <c:v>40410</c:v>
                </c:pt>
                <c:pt idx="5285">
                  <c:v>40413</c:v>
                </c:pt>
                <c:pt idx="5286">
                  <c:v>40414</c:v>
                </c:pt>
                <c:pt idx="5287">
                  <c:v>40415</c:v>
                </c:pt>
                <c:pt idx="5288">
                  <c:v>40416</c:v>
                </c:pt>
                <c:pt idx="5289">
                  <c:v>40417</c:v>
                </c:pt>
                <c:pt idx="5290">
                  <c:v>40420</c:v>
                </c:pt>
                <c:pt idx="5291">
                  <c:v>40421</c:v>
                </c:pt>
                <c:pt idx="5292">
                  <c:v>40422</c:v>
                </c:pt>
                <c:pt idx="5293">
                  <c:v>40423</c:v>
                </c:pt>
                <c:pt idx="5294">
                  <c:v>40424</c:v>
                </c:pt>
                <c:pt idx="5295">
                  <c:v>40428</c:v>
                </c:pt>
                <c:pt idx="5296">
                  <c:v>40429</c:v>
                </c:pt>
                <c:pt idx="5297">
                  <c:v>40430</c:v>
                </c:pt>
                <c:pt idx="5298">
                  <c:v>40431</c:v>
                </c:pt>
                <c:pt idx="5299">
                  <c:v>40434</c:v>
                </c:pt>
                <c:pt idx="5300">
                  <c:v>40435</c:v>
                </c:pt>
                <c:pt idx="5301">
                  <c:v>40436</c:v>
                </c:pt>
                <c:pt idx="5302">
                  <c:v>40437</c:v>
                </c:pt>
                <c:pt idx="5303">
                  <c:v>40438</c:v>
                </c:pt>
                <c:pt idx="5304">
                  <c:v>40441</c:v>
                </c:pt>
                <c:pt idx="5305">
                  <c:v>40442</c:v>
                </c:pt>
                <c:pt idx="5306">
                  <c:v>40443</c:v>
                </c:pt>
                <c:pt idx="5307">
                  <c:v>40444</c:v>
                </c:pt>
                <c:pt idx="5308">
                  <c:v>40445</c:v>
                </c:pt>
                <c:pt idx="5309">
                  <c:v>40448</c:v>
                </c:pt>
                <c:pt idx="5310">
                  <c:v>40449</c:v>
                </c:pt>
                <c:pt idx="5311">
                  <c:v>40450</c:v>
                </c:pt>
                <c:pt idx="5312">
                  <c:v>40451</c:v>
                </c:pt>
                <c:pt idx="5313">
                  <c:v>40452</c:v>
                </c:pt>
                <c:pt idx="5314">
                  <c:v>40455</c:v>
                </c:pt>
                <c:pt idx="5315">
                  <c:v>40456</c:v>
                </c:pt>
                <c:pt idx="5316">
                  <c:v>40457</c:v>
                </c:pt>
                <c:pt idx="5317">
                  <c:v>40458</c:v>
                </c:pt>
                <c:pt idx="5318">
                  <c:v>40459</c:v>
                </c:pt>
                <c:pt idx="5319">
                  <c:v>40462</c:v>
                </c:pt>
                <c:pt idx="5320">
                  <c:v>40463</c:v>
                </c:pt>
                <c:pt idx="5321">
                  <c:v>40464</c:v>
                </c:pt>
                <c:pt idx="5322">
                  <c:v>40465</c:v>
                </c:pt>
                <c:pt idx="5323">
                  <c:v>40466</c:v>
                </c:pt>
                <c:pt idx="5324">
                  <c:v>40469</c:v>
                </c:pt>
                <c:pt idx="5325">
                  <c:v>40470</c:v>
                </c:pt>
                <c:pt idx="5326">
                  <c:v>40471</c:v>
                </c:pt>
                <c:pt idx="5327">
                  <c:v>40472</c:v>
                </c:pt>
                <c:pt idx="5328">
                  <c:v>40473</c:v>
                </c:pt>
                <c:pt idx="5329">
                  <c:v>40476</c:v>
                </c:pt>
                <c:pt idx="5330">
                  <c:v>40477</c:v>
                </c:pt>
                <c:pt idx="5331">
                  <c:v>40478</c:v>
                </c:pt>
                <c:pt idx="5332">
                  <c:v>40479</c:v>
                </c:pt>
                <c:pt idx="5333">
                  <c:v>40480</c:v>
                </c:pt>
                <c:pt idx="5334">
                  <c:v>40483</c:v>
                </c:pt>
                <c:pt idx="5335">
                  <c:v>40484</c:v>
                </c:pt>
                <c:pt idx="5336">
                  <c:v>40485</c:v>
                </c:pt>
                <c:pt idx="5337">
                  <c:v>40486</c:v>
                </c:pt>
                <c:pt idx="5338">
                  <c:v>40487</c:v>
                </c:pt>
                <c:pt idx="5339">
                  <c:v>40490</c:v>
                </c:pt>
                <c:pt idx="5340">
                  <c:v>40491</c:v>
                </c:pt>
                <c:pt idx="5341">
                  <c:v>40492</c:v>
                </c:pt>
                <c:pt idx="5342">
                  <c:v>40493</c:v>
                </c:pt>
                <c:pt idx="5343">
                  <c:v>40494</c:v>
                </c:pt>
                <c:pt idx="5344">
                  <c:v>40497</c:v>
                </c:pt>
                <c:pt idx="5345">
                  <c:v>40498</c:v>
                </c:pt>
                <c:pt idx="5346">
                  <c:v>40499</c:v>
                </c:pt>
                <c:pt idx="5347">
                  <c:v>40500</c:v>
                </c:pt>
                <c:pt idx="5348">
                  <c:v>40501</c:v>
                </c:pt>
                <c:pt idx="5349">
                  <c:v>40504</c:v>
                </c:pt>
                <c:pt idx="5350">
                  <c:v>40505</c:v>
                </c:pt>
                <c:pt idx="5351">
                  <c:v>40506</c:v>
                </c:pt>
                <c:pt idx="5352">
                  <c:v>40508</c:v>
                </c:pt>
                <c:pt idx="5353">
                  <c:v>40511</c:v>
                </c:pt>
                <c:pt idx="5354">
                  <c:v>40512</c:v>
                </c:pt>
                <c:pt idx="5355">
                  <c:v>40513</c:v>
                </c:pt>
                <c:pt idx="5356">
                  <c:v>40514</c:v>
                </c:pt>
                <c:pt idx="5357">
                  <c:v>40515</c:v>
                </c:pt>
                <c:pt idx="5358">
                  <c:v>40518</c:v>
                </c:pt>
                <c:pt idx="5359">
                  <c:v>40519</c:v>
                </c:pt>
                <c:pt idx="5360">
                  <c:v>40520</c:v>
                </c:pt>
                <c:pt idx="5361">
                  <c:v>40521</c:v>
                </c:pt>
                <c:pt idx="5362">
                  <c:v>40522</c:v>
                </c:pt>
                <c:pt idx="5363">
                  <c:v>40525</c:v>
                </c:pt>
                <c:pt idx="5364">
                  <c:v>40526</c:v>
                </c:pt>
                <c:pt idx="5365">
                  <c:v>40527</c:v>
                </c:pt>
                <c:pt idx="5366">
                  <c:v>40528</c:v>
                </c:pt>
                <c:pt idx="5367">
                  <c:v>40529</c:v>
                </c:pt>
                <c:pt idx="5368">
                  <c:v>40532</c:v>
                </c:pt>
                <c:pt idx="5369">
                  <c:v>40533</c:v>
                </c:pt>
                <c:pt idx="5370">
                  <c:v>40534</c:v>
                </c:pt>
                <c:pt idx="5371">
                  <c:v>40535</c:v>
                </c:pt>
                <c:pt idx="5372">
                  <c:v>40539</c:v>
                </c:pt>
                <c:pt idx="5373">
                  <c:v>40540</c:v>
                </c:pt>
                <c:pt idx="5374">
                  <c:v>40541</c:v>
                </c:pt>
                <c:pt idx="5375">
                  <c:v>40542</c:v>
                </c:pt>
                <c:pt idx="5376">
                  <c:v>40543</c:v>
                </c:pt>
                <c:pt idx="5377">
                  <c:v>40546</c:v>
                </c:pt>
                <c:pt idx="5378">
                  <c:v>40547</c:v>
                </c:pt>
                <c:pt idx="5379">
                  <c:v>40548</c:v>
                </c:pt>
                <c:pt idx="5380">
                  <c:v>40549</c:v>
                </c:pt>
                <c:pt idx="5381">
                  <c:v>40550</c:v>
                </c:pt>
                <c:pt idx="5382">
                  <c:v>40553</c:v>
                </c:pt>
                <c:pt idx="5383">
                  <c:v>40554</c:v>
                </c:pt>
                <c:pt idx="5384">
                  <c:v>40555</c:v>
                </c:pt>
                <c:pt idx="5385">
                  <c:v>40556</c:v>
                </c:pt>
                <c:pt idx="5386">
                  <c:v>40557</c:v>
                </c:pt>
                <c:pt idx="5387">
                  <c:v>40561</c:v>
                </c:pt>
                <c:pt idx="5388">
                  <c:v>40562</c:v>
                </c:pt>
                <c:pt idx="5389">
                  <c:v>40563</c:v>
                </c:pt>
                <c:pt idx="5390">
                  <c:v>40564</c:v>
                </c:pt>
                <c:pt idx="5391">
                  <c:v>40567</c:v>
                </c:pt>
                <c:pt idx="5392">
                  <c:v>40568</c:v>
                </c:pt>
                <c:pt idx="5393">
                  <c:v>40569</c:v>
                </c:pt>
                <c:pt idx="5394">
                  <c:v>40570</c:v>
                </c:pt>
                <c:pt idx="5395">
                  <c:v>40571</c:v>
                </c:pt>
                <c:pt idx="5396">
                  <c:v>40574</c:v>
                </c:pt>
                <c:pt idx="5397">
                  <c:v>40575</c:v>
                </c:pt>
                <c:pt idx="5398">
                  <c:v>40576</c:v>
                </c:pt>
                <c:pt idx="5399">
                  <c:v>40577</c:v>
                </c:pt>
                <c:pt idx="5400">
                  <c:v>40578</c:v>
                </c:pt>
                <c:pt idx="5401">
                  <c:v>40581</c:v>
                </c:pt>
                <c:pt idx="5402">
                  <c:v>40582</c:v>
                </c:pt>
                <c:pt idx="5403">
                  <c:v>40583</c:v>
                </c:pt>
                <c:pt idx="5404">
                  <c:v>40584</c:v>
                </c:pt>
                <c:pt idx="5405">
                  <c:v>40585</c:v>
                </c:pt>
                <c:pt idx="5406">
                  <c:v>40588</c:v>
                </c:pt>
                <c:pt idx="5407">
                  <c:v>40589</c:v>
                </c:pt>
                <c:pt idx="5408">
                  <c:v>40590</c:v>
                </c:pt>
                <c:pt idx="5409">
                  <c:v>40591</c:v>
                </c:pt>
                <c:pt idx="5410">
                  <c:v>40592</c:v>
                </c:pt>
                <c:pt idx="5411">
                  <c:v>40596</c:v>
                </c:pt>
                <c:pt idx="5412">
                  <c:v>40597</c:v>
                </c:pt>
                <c:pt idx="5413">
                  <c:v>40598</c:v>
                </c:pt>
                <c:pt idx="5414">
                  <c:v>40599</c:v>
                </c:pt>
                <c:pt idx="5415">
                  <c:v>40602</c:v>
                </c:pt>
                <c:pt idx="5416">
                  <c:v>40603</c:v>
                </c:pt>
                <c:pt idx="5417">
                  <c:v>40604</c:v>
                </c:pt>
                <c:pt idx="5418">
                  <c:v>40605</c:v>
                </c:pt>
                <c:pt idx="5419">
                  <c:v>40606</c:v>
                </c:pt>
                <c:pt idx="5420">
                  <c:v>40609</c:v>
                </c:pt>
                <c:pt idx="5421">
                  <c:v>40610</c:v>
                </c:pt>
                <c:pt idx="5422">
                  <c:v>40611</c:v>
                </c:pt>
                <c:pt idx="5423">
                  <c:v>40612</c:v>
                </c:pt>
                <c:pt idx="5424">
                  <c:v>40613</c:v>
                </c:pt>
                <c:pt idx="5425">
                  <c:v>40616</c:v>
                </c:pt>
                <c:pt idx="5426">
                  <c:v>40617</c:v>
                </c:pt>
                <c:pt idx="5427">
                  <c:v>40618</c:v>
                </c:pt>
                <c:pt idx="5428">
                  <c:v>40619</c:v>
                </c:pt>
                <c:pt idx="5429">
                  <c:v>40620</c:v>
                </c:pt>
                <c:pt idx="5430">
                  <c:v>40623</c:v>
                </c:pt>
                <c:pt idx="5431">
                  <c:v>40624</c:v>
                </c:pt>
                <c:pt idx="5432">
                  <c:v>40625</c:v>
                </c:pt>
                <c:pt idx="5433">
                  <c:v>40626</c:v>
                </c:pt>
                <c:pt idx="5434">
                  <c:v>40627</c:v>
                </c:pt>
                <c:pt idx="5435">
                  <c:v>40630</c:v>
                </c:pt>
                <c:pt idx="5436">
                  <c:v>40631</c:v>
                </c:pt>
                <c:pt idx="5437">
                  <c:v>40632</c:v>
                </c:pt>
                <c:pt idx="5438">
                  <c:v>40633</c:v>
                </c:pt>
                <c:pt idx="5439">
                  <c:v>40634</c:v>
                </c:pt>
                <c:pt idx="5440">
                  <c:v>40637</c:v>
                </c:pt>
                <c:pt idx="5441">
                  <c:v>40638</c:v>
                </c:pt>
                <c:pt idx="5442">
                  <c:v>40639</c:v>
                </c:pt>
                <c:pt idx="5443">
                  <c:v>40640</c:v>
                </c:pt>
                <c:pt idx="5444">
                  <c:v>40641</c:v>
                </c:pt>
                <c:pt idx="5445">
                  <c:v>40644</c:v>
                </c:pt>
                <c:pt idx="5446">
                  <c:v>40645</c:v>
                </c:pt>
                <c:pt idx="5447">
                  <c:v>40646</c:v>
                </c:pt>
                <c:pt idx="5448">
                  <c:v>40647</c:v>
                </c:pt>
                <c:pt idx="5449">
                  <c:v>40648</c:v>
                </c:pt>
                <c:pt idx="5450">
                  <c:v>40651</c:v>
                </c:pt>
                <c:pt idx="5451">
                  <c:v>40652</c:v>
                </c:pt>
                <c:pt idx="5452">
                  <c:v>40653</c:v>
                </c:pt>
                <c:pt idx="5453">
                  <c:v>40654</c:v>
                </c:pt>
                <c:pt idx="5454">
                  <c:v>40658</c:v>
                </c:pt>
                <c:pt idx="5455">
                  <c:v>40659</c:v>
                </c:pt>
                <c:pt idx="5456">
                  <c:v>40660</c:v>
                </c:pt>
                <c:pt idx="5457">
                  <c:v>40661</c:v>
                </c:pt>
                <c:pt idx="5458">
                  <c:v>40662</c:v>
                </c:pt>
                <c:pt idx="5459">
                  <c:v>40665</c:v>
                </c:pt>
                <c:pt idx="5460">
                  <c:v>40666</c:v>
                </c:pt>
                <c:pt idx="5461">
                  <c:v>40667</c:v>
                </c:pt>
                <c:pt idx="5462">
                  <c:v>40668</c:v>
                </c:pt>
                <c:pt idx="5463">
                  <c:v>40669</c:v>
                </c:pt>
                <c:pt idx="5464">
                  <c:v>40672</c:v>
                </c:pt>
                <c:pt idx="5465">
                  <c:v>40673</c:v>
                </c:pt>
                <c:pt idx="5466">
                  <c:v>40674</c:v>
                </c:pt>
                <c:pt idx="5467">
                  <c:v>40675</c:v>
                </c:pt>
                <c:pt idx="5468">
                  <c:v>40676</c:v>
                </c:pt>
                <c:pt idx="5469">
                  <c:v>40679</c:v>
                </c:pt>
                <c:pt idx="5470">
                  <c:v>40680</c:v>
                </c:pt>
                <c:pt idx="5471">
                  <c:v>40681</c:v>
                </c:pt>
                <c:pt idx="5472">
                  <c:v>40682</c:v>
                </c:pt>
                <c:pt idx="5473">
                  <c:v>40683</c:v>
                </c:pt>
                <c:pt idx="5474">
                  <c:v>40686</c:v>
                </c:pt>
                <c:pt idx="5475">
                  <c:v>40687</c:v>
                </c:pt>
                <c:pt idx="5476">
                  <c:v>40688</c:v>
                </c:pt>
                <c:pt idx="5477">
                  <c:v>40689</c:v>
                </c:pt>
                <c:pt idx="5478">
                  <c:v>40690</c:v>
                </c:pt>
                <c:pt idx="5479">
                  <c:v>40694</c:v>
                </c:pt>
                <c:pt idx="5480">
                  <c:v>40695</c:v>
                </c:pt>
                <c:pt idx="5481">
                  <c:v>40696</c:v>
                </c:pt>
                <c:pt idx="5482">
                  <c:v>40697</c:v>
                </c:pt>
                <c:pt idx="5483">
                  <c:v>40700</c:v>
                </c:pt>
                <c:pt idx="5484">
                  <c:v>40701</c:v>
                </c:pt>
                <c:pt idx="5485">
                  <c:v>40702</c:v>
                </c:pt>
                <c:pt idx="5486">
                  <c:v>40703</c:v>
                </c:pt>
                <c:pt idx="5487">
                  <c:v>40704</c:v>
                </c:pt>
                <c:pt idx="5488">
                  <c:v>40707</c:v>
                </c:pt>
                <c:pt idx="5489">
                  <c:v>40708</c:v>
                </c:pt>
                <c:pt idx="5490">
                  <c:v>40709</c:v>
                </c:pt>
                <c:pt idx="5491">
                  <c:v>40710</c:v>
                </c:pt>
                <c:pt idx="5492">
                  <c:v>40711</c:v>
                </c:pt>
                <c:pt idx="5493">
                  <c:v>40714</c:v>
                </c:pt>
                <c:pt idx="5494">
                  <c:v>40715</c:v>
                </c:pt>
                <c:pt idx="5495">
                  <c:v>40716</c:v>
                </c:pt>
                <c:pt idx="5496">
                  <c:v>40717</c:v>
                </c:pt>
                <c:pt idx="5497">
                  <c:v>40718</c:v>
                </c:pt>
                <c:pt idx="5498">
                  <c:v>40721</c:v>
                </c:pt>
                <c:pt idx="5499">
                  <c:v>40722</c:v>
                </c:pt>
                <c:pt idx="5500">
                  <c:v>40723</c:v>
                </c:pt>
                <c:pt idx="5501">
                  <c:v>40724</c:v>
                </c:pt>
                <c:pt idx="5502">
                  <c:v>40725</c:v>
                </c:pt>
                <c:pt idx="5503">
                  <c:v>40729</c:v>
                </c:pt>
                <c:pt idx="5504">
                  <c:v>40730</c:v>
                </c:pt>
                <c:pt idx="5505">
                  <c:v>40731</c:v>
                </c:pt>
                <c:pt idx="5506">
                  <c:v>40732</c:v>
                </c:pt>
                <c:pt idx="5507">
                  <c:v>40735</c:v>
                </c:pt>
                <c:pt idx="5508">
                  <c:v>40736</c:v>
                </c:pt>
                <c:pt idx="5509">
                  <c:v>40737</c:v>
                </c:pt>
                <c:pt idx="5510">
                  <c:v>40738</c:v>
                </c:pt>
                <c:pt idx="5511">
                  <c:v>40739</c:v>
                </c:pt>
                <c:pt idx="5512">
                  <c:v>40742</c:v>
                </c:pt>
                <c:pt idx="5513">
                  <c:v>40743</c:v>
                </c:pt>
                <c:pt idx="5514">
                  <c:v>40744</c:v>
                </c:pt>
                <c:pt idx="5515">
                  <c:v>40745</c:v>
                </c:pt>
                <c:pt idx="5516">
                  <c:v>40746</c:v>
                </c:pt>
                <c:pt idx="5517">
                  <c:v>40749</c:v>
                </c:pt>
                <c:pt idx="5518">
                  <c:v>40750</c:v>
                </c:pt>
                <c:pt idx="5519">
                  <c:v>40751</c:v>
                </c:pt>
                <c:pt idx="5520">
                  <c:v>40752</c:v>
                </c:pt>
                <c:pt idx="5521">
                  <c:v>40753</c:v>
                </c:pt>
                <c:pt idx="5522">
                  <c:v>40756</c:v>
                </c:pt>
                <c:pt idx="5523">
                  <c:v>40757</c:v>
                </c:pt>
                <c:pt idx="5524">
                  <c:v>40758</c:v>
                </c:pt>
                <c:pt idx="5525">
                  <c:v>40759</c:v>
                </c:pt>
                <c:pt idx="5526">
                  <c:v>40760</c:v>
                </c:pt>
                <c:pt idx="5527">
                  <c:v>40763</c:v>
                </c:pt>
                <c:pt idx="5528">
                  <c:v>40764</c:v>
                </c:pt>
                <c:pt idx="5529">
                  <c:v>40765</c:v>
                </c:pt>
                <c:pt idx="5530">
                  <c:v>40766</c:v>
                </c:pt>
                <c:pt idx="5531">
                  <c:v>40767</c:v>
                </c:pt>
                <c:pt idx="5532">
                  <c:v>40770</c:v>
                </c:pt>
                <c:pt idx="5533">
                  <c:v>40771</c:v>
                </c:pt>
                <c:pt idx="5534">
                  <c:v>40772</c:v>
                </c:pt>
                <c:pt idx="5535">
                  <c:v>40773</c:v>
                </c:pt>
                <c:pt idx="5536">
                  <c:v>40774</c:v>
                </c:pt>
                <c:pt idx="5537">
                  <c:v>40777</c:v>
                </c:pt>
                <c:pt idx="5538">
                  <c:v>40778</c:v>
                </c:pt>
                <c:pt idx="5539">
                  <c:v>40779</c:v>
                </c:pt>
                <c:pt idx="5540">
                  <c:v>40780</c:v>
                </c:pt>
                <c:pt idx="5541">
                  <c:v>40781</c:v>
                </c:pt>
                <c:pt idx="5542">
                  <c:v>40784</c:v>
                </c:pt>
                <c:pt idx="5543">
                  <c:v>40785</c:v>
                </c:pt>
                <c:pt idx="5544">
                  <c:v>40786</c:v>
                </c:pt>
                <c:pt idx="5545">
                  <c:v>40787</c:v>
                </c:pt>
                <c:pt idx="5546">
                  <c:v>40788</c:v>
                </c:pt>
                <c:pt idx="5547">
                  <c:v>40792</c:v>
                </c:pt>
                <c:pt idx="5548">
                  <c:v>40793</c:v>
                </c:pt>
                <c:pt idx="5549">
                  <c:v>40794</c:v>
                </c:pt>
                <c:pt idx="5550">
                  <c:v>40795</c:v>
                </c:pt>
                <c:pt idx="5551">
                  <c:v>40798</c:v>
                </c:pt>
                <c:pt idx="5552">
                  <c:v>40799</c:v>
                </c:pt>
                <c:pt idx="5553">
                  <c:v>40800</c:v>
                </c:pt>
                <c:pt idx="5554">
                  <c:v>40801</c:v>
                </c:pt>
                <c:pt idx="5555">
                  <c:v>40802</c:v>
                </c:pt>
                <c:pt idx="5556">
                  <c:v>40805</c:v>
                </c:pt>
                <c:pt idx="5557">
                  <c:v>40806</c:v>
                </c:pt>
                <c:pt idx="5558">
                  <c:v>40807</c:v>
                </c:pt>
                <c:pt idx="5559">
                  <c:v>40808</c:v>
                </c:pt>
                <c:pt idx="5560">
                  <c:v>40809</c:v>
                </c:pt>
                <c:pt idx="5561">
                  <c:v>40812</c:v>
                </c:pt>
                <c:pt idx="5562">
                  <c:v>40813</c:v>
                </c:pt>
                <c:pt idx="5563">
                  <c:v>40814</c:v>
                </c:pt>
                <c:pt idx="5564">
                  <c:v>40815</c:v>
                </c:pt>
                <c:pt idx="5565">
                  <c:v>40816</c:v>
                </c:pt>
                <c:pt idx="5566">
                  <c:v>40819</c:v>
                </c:pt>
                <c:pt idx="5567">
                  <c:v>40820</c:v>
                </c:pt>
                <c:pt idx="5568">
                  <c:v>40821</c:v>
                </c:pt>
                <c:pt idx="5569">
                  <c:v>40822</c:v>
                </c:pt>
                <c:pt idx="5570">
                  <c:v>40823</c:v>
                </c:pt>
                <c:pt idx="5571">
                  <c:v>40826</c:v>
                </c:pt>
                <c:pt idx="5572">
                  <c:v>40827</c:v>
                </c:pt>
                <c:pt idx="5573">
                  <c:v>40828</c:v>
                </c:pt>
                <c:pt idx="5574">
                  <c:v>40829</c:v>
                </c:pt>
                <c:pt idx="5575">
                  <c:v>40830</c:v>
                </c:pt>
                <c:pt idx="5576">
                  <c:v>40833</c:v>
                </c:pt>
                <c:pt idx="5577">
                  <c:v>40834</c:v>
                </c:pt>
                <c:pt idx="5578">
                  <c:v>40835</c:v>
                </c:pt>
                <c:pt idx="5579">
                  <c:v>40836</c:v>
                </c:pt>
                <c:pt idx="5580">
                  <c:v>40837</c:v>
                </c:pt>
                <c:pt idx="5581">
                  <c:v>40840</c:v>
                </c:pt>
                <c:pt idx="5582">
                  <c:v>40841</c:v>
                </c:pt>
                <c:pt idx="5583">
                  <c:v>40842</c:v>
                </c:pt>
                <c:pt idx="5584">
                  <c:v>40843</c:v>
                </c:pt>
                <c:pt idx="5585">
                  <c:v>40844</c:v>
                </c:pt>
                <c:pt idx="5586">
                  <c:v>40847</c:v>
                </c:pt>
                <c:pt idx="5587">
                  <c:v>40848</c:v>
                </c:pt>
                <c:pt idx="5588">
                  <c:v>40849</c:v>
                </c:pt>
                <c:pt idx="5589">
                  <c:v>40850</c:v>
                </c:pt>
                <c:pt idx="5590">
                  <c:v>40851</c:v>
                </c:pt>
                <c:pt idx="5591">
                  <c:v>40854</c:v>
                </c:pt>
                <c:pt idx="5592">
                  <c:v>40855</c:v>
                </c:pt>
                <c:pt idx="5593">
                  <c:v>40856</c:v>
                </c:pt>
                <c:pt idx="5594">
                  <c:v>40857</c:v>
                </c:pt>
                <c:pt idx="5595">
                  <c:v>40858</c:v>
                </c:pt>
                <c:pt idx="5596">
                  <c:v>40861</c:v>
                </c:pt>
                <c:pt idx="5597">
                  <c:v>40862</c:v>
                </c:pt>
                <c:pt idx="5598">
                  <c:v>40863</c:v>
                </c:pt>
                <c:pt idx="5599">
                  <c:v>40864</c:v>
                </c:pt>
                <c:pt idx="5600">
                  <c:v>40865</c:v>
                </c:pt>
                <c:pt idx="5601">
                  <c:v>40868</c:v>
                </c:pt>
                <c:pt idx="5602">
                  <c:v>40869</c:v>
                </c:pt>
                <c:pt idx="5603">
                  <c:v>40870</c:v>
                </c:pt>
                <c:pt idx="5604">
                  <c:v>40872</c:v>
                </c:pt>
                <c:pt idx="5605">
                  <c:v>40875</c:v>
                </c:pt>
                <c:pt idx="5606">
                  <c:v>40876</c:v>
                </c:pt>
                <c:pt idx="5607">
                  <c:v>40877</c:v>
                </c:pt>
                <c:pt idx="5608">
                  <c:v>40878</c:v>
                </c:pt>
                <c:pt idx="5609">
                  <c:v>40879</c:v>
                </c:pt>
                <c:pt idx="5610">
                  <c:v>40882</c:v>
                </c:pt>
                <c:pt idx="5611">
                  <c:v>40883</c:v>
                </c:pt>
                <c:pt idx="5612">
                  <c:v>40884</c:v>
                </c:pt>
                <c:pt idx="5613">
                  <c:v>40885</c:v>
                </c:pt>
                <c:pt idx="5614">
                  <c:v>40886</c:v>
                </c:pt>
                <c:pt idx="5615">
                  <c:v>40889</c:v>
                </c:pt>
                <c:pt idx="5616">
                  <c:v>40890</c:v>
                </c:pt>
                <c:pt idx="5617">
                  <c:v>40891</c:v>
                </c:pt>
                <c:pt idx="5618">
                  <c:v>40892</c:v>
                </c:pt>
                <c:pt idx="5619">
                  <c:v>40893</c:v>
                </c:pt>
                <c:pt idx="5620">
                  <c:v>40896</c:v>
                </c:pt>
                <c:pt idx="5621">
                  <c:v>40897</c:v>
                </c:pt>
                <c:pt idx="5622">
                  <c:v>40898</c:v>
                </c:pt>
                <c:pt idx="5623">
                  <c:v>40899</c:v>
                </c:pt>
                <c:pt idx="5624">
                  <c:v>40900</c:v>
                </c:pt>
                <c:pt idx="5625">
                  <c:v>40904</c:v>
                </c:pt>
                <c:pt idx="5626">
                  <c:v>40905</c:v>
                </c:pt>
                <c:pt idx="5627">
                  <c:v>40906</c:v>
                </c:pt>
                <c:pt idx="5628">
                  <c:v>40907</c:v>
                </c:pt>
                <c:pt idx="5629">
                  <c:v>40911</c:v>
                </c:pt>
                <c:pt idx="5630">
                  <c:v>40912</c:v>
                </c:pt>
                <c:pt idx="5631">
                  <c:v>40913</c:v>
                </c:pt>
                <c:pt idx="5632">
                  <c:v>40914</c:v>
                </c:pt>
                <c:pt idx="5633">
                  <c:v>40917</c:v>
                </c:pt>
                <c:pt idx="5634">
                  <c:v>40918</c:v>
                </c:pt>
                <c:pt idx="5635">
                  <c:v>40919</c:v>
                </c:pt>
                <c:pt idx="5636">
                  <c:v>40920</c:v>
                </c:pt>
                <c:pt idx="5637">
                  <c:v>40921</c:v>
                </c:pt>
                <c:pt idx="5638">
                  <c:v>40925</c:v>
                </c:pt>
                <c:pt idx="5639">
                  <c:v>40926</c:v>
                </c:pt>
                <c:pt idx="5640">
                  <c:v>40927</c:v>
                </c:pt>
                <c:pt idx="5641">
                  <c:v>40928</c:v>
                </c:pt>
                <c:pt idx="5642">
                  <c:v>40931</c:v>
                </c:pt>
                <c:pt idx="5643">
                  <c:v>40932</c:v>
                </c:pt>
                <c:pt idx="5644">
                  <c:v>40933</c:v>
                </c:pt>
                <c:pt idx="5645">
                  <c:v>40934</c:v>
                </c:pt>
                <c:pt idx="5646">
                  <c:v>40935</c:v>
                </c:pt>
                <c:pt idx="5647">
                  <c:v>40938</c:v>
                </c:pt>
                <c:pt idx="5648">
                  <c:v>40939</c:v>
                </c:pt>
                <c:pt idx="5649">
                  <c:v>40940</c:v>
                </c:pt>
                <c:pt idx="5650">
                  <c:v>40941</c:v>
                </c:pt>
                <c:pt idx="5651">
                  <c:v>40942</c:v>
                </c:pt>
                <c:pt idx="5652">
                  <c:v>40945</c:v>
                </c:pt>
                <c:pt idx="5653">
                  <c:v>40946</c:v>
                </c:pt>
                <c:pt idx="5654">
                  <c:v>40947</c:v>
                </c:pt>
                <c:pt idx="5655">
                  <c:v>40948</c:v>
                </c:pt>
                <c:pt idx="5656">
                  <c:v>40949</c:v>
                </c:pt>
                <c:pt idx="5657">
                  <c:v>40952</c:v>
                </c:pt>
                <c:pt idx="5658">
                  <c:v>40953</c:v>
                </c:pt>
                <c:pt idx="5659">
                  <c:v>40954</c:v>
                </c:pt>
                <c:pt idx="5660">
                  <c:v>40955</c:v>
                </c:pt>
                <c:pt idx="5661">
                  <c:v>40956</c:v>
                </c:pt>
                <c:pt idx="5662">
                  <c:v>40960</c:v>
                </c:pt>
                <c:pt idx="5663">
                  <c:v>40961</c:v>
                </c:pt>
                <c:pt idx="5664">
                  <c:v>40962</c:v>
                </c:pt>
                <c:pt idx="5665">
                  <c:v>40963</c:v>
                </c:pt>
                <c:pt idx="5666">
                  <c:v>40966</c:v>
                </c:pt>
                <c:pt idx="5667">
                  <c:v>40967</c:v>
                </c:pt>
                <c:pt idx="5668">
                  <c:v>40968</c:v>
                </c:pt>
                <c:pt idx="5669">
                  <c:v>40969</c:v>
                </c:pt>
                <c:pt idx="5670">
                  <c:v>40970</c:v>
                </c:pt>
                <c:pt idx="5671">
                  <c:v>40973</c:v>
                </c:pt>
                <c:pt idx="5672">
                  <c:v>40974</c:v>
                </c:pt>
                <c:pt idx="5673">
                  <c:v>40975</c:v>
                </c:pt>
                <c:pt idx="5674">
                  <c:v>40976</c:v>
                </c:pt>
                <c:pt idx="5675">
                  <c:v>40977</c:v>
                </c:pt>
                <c:pt idx="5676">
                  <c:v>40980</c:v>
                </c:pt>
                <c:pt idx="5677">
                  <c:v>40981</c:v>
                </c:pt>
                <c:pt idx="5678">
                  <c:v>40982</c:v>
                </c:pt>
                <c:pt idx="5679">
                  <c:v>40983</c:v>
                </c:pt>
                <c:pt idx="5680">
                  <c:v>40984</c:v>
                </c:pt>
                <c:pt idx="5681">
                  <c:v>40987</c:v>
                </c:pt>
                <c:pt idx="5682">
                  <c:v>40988</c:v>
                </c:pt>
                <c:pt idx="5683">
                  <c:v>40989</c:v>
                </c:pt>
                <c:pt idx="5684">
                  <c:v>40990</c:v>
                </c:pt>
                <c:pt idx="5685">
                  <c:v>40991</c:v>
                </c:pt>
                <c:pt idx="5686">
                  <c:v>40994</c:v>
                </c:pt>
                <c:pt idx="5687">
                  <c:v>40995</c:v>
                </c:pt>
                <c:pt idx="5688">
                  <c:v>40996</c:v>
                </c:pt>
                <c:pt idx="5689">
                  <c:v>40997</c:v>
                </c:pt>
                <c:pt idx="5690">
                  <c:v>40998</c:v>
                </c:pt>
                <c:pt idx="5691">
                  <c:v>41001</c:v>
                </c:pt>
                <c:pt idx="5692">
                  <c:v>41002</c:v>
                </c:pt>
                <c:pt idx="5693">
                  <c:v>41003</c:v>
                </c:pt>
                <c:pt idx="5694">
                  <c:v>41004</c:v>
                </c:pt>
                <c:pt idx="5695">
                  <c:v>41008</c:v>
                </c:pt>
                <c:pt idx="5696">
                  <c:v>41009</c:v>
                </c:pt>
                <c:pt idx="5697">
                  <c:v>41010</c:v>
                </c:pt>
                <c:pt idx="5698">
                  <c:v>41011</c:v>
                </c:pt>
                <c:pt idx="5699">
                  <c:v>41012</c:v>
                </c:pt>
                <c:pt idx="5700">
                  <c:v>41015</c:v>
                </c:pt>
                <c:pt idx="5701">
                  <c:v>41016</c:v>
                </c:pt>
                <c:pt idx="5702">
                  <c:v>41017</c:v>
                </c:pt>
                <c:pt idx="5703">
                  <c:v>41018</c:v>
                </c:pt>
                <c:pt idx="5704">
                  <c:v>41019</c:v>
                </c:pt>
                <c:pt idx="5705">
                  <c:v>41022</c:v>
                </c:pt>
                <c:pt idx="5706">
                  <c:v>41023</c:v>
                </c:pt>
                <c:pt idx="5707">
                  <c:v>41024</c:v>
                </c:pt>
                <c:pt idx="5708">
                  <c:v>41025</c:v>
                </c:pt>
                <c:pt idx="5709">
                  <c:v>41026</c:v>
                </c:pt>
                <c:pt idx="5710">
                  <c:v>41029</c:v>
                </c:pt>
                <c:pt idx="5711">
                  <c:v>41030</c:v>
                </c:pt>
                <c:pt idx="5712">
                  <c:v>41031</c:v>
                </c:pt>
                <c:pt idx="5713">
                  <c:v>41032</c:v>
                </c:pt>
                <c:pt idx="5714">
                  <c:v>41033</c:v>
                </c:pt>
                <c:pt idx="5715">
                  <c:v>41036</c:v>
                </c:pt>
                <c:pt idx="5716">
                  <c:v>41037</c:v>
                </c:pt>
                <c:pt idx="5717">
                  <c:v>41038</c:v>
                </c:pt>
                <c:pt idx="5718">
                  <c:v>41039</c:v>
                </c:pt>
                <c:pt idx="5719">
                  <c:v>41040</c:v>
                </c:pt>
                <c:pt idx="5720">
                  <c:v>41043</c:v>
                </c:pt>
                <c:pt idx="5721">
                  <c:v>41044</c:v>
                </c:pt>
                <c:pt idx="5722">
                  <c:v>41045</c:v>
                </c:pt>
                <c:pt idx="5723">
                  <c:v>41046</c:v>
                </c:pt>
                <c:pt idx="5724">
                  <c:v>41047</c:v>
                </c:pt>
                <c:pt idx="5725">
                  <c:v>41050</c:v>
                </c:pt>
                <c:pt idx="5726">
                  <c:v>41051</c:v>
                </c:pt>
                <c:pt idx="5727">
                  <c:v>41052</c:v>
                </c:pt>
                <c:pt idx="5728">
                  <c:v>41053</c:v>
                </c:pt>
                <c:pt idx="5729">
                  <c:v>41054</c:v>
                </c:pt>
                <c:pt idx="5730">
                  <c:v>41058</c:v>
                </c:pt>
                <c:pt idx="5731">
                  <c:v>41059</c:v>
                </c:pt>
                <c:pt idx="5732">
                  <c:v>41060</c:v>
                </c:pt>
                <c:pt idx="5733">
                  <c:v>41061</c:v>
                </c:pt>
                <c:pt idx="5734">
                  <c:v>41064</c:v>
                </c:pt>
                <c:pt idx="5735">
                  <c:v>41065</c:v>
                </c:pt>
                <c:pt idx="5736">
                  <c:v>41066</c:v>
                </c:pt>
                <c:pt idx="5737">
                  <c:v>41067</c:v>
                </c:pt>
                <c:pt idx="5738">
                  <c:v>41068</c:v>
                </c:pt>
                <c:pt idx="5739">
                  <c:v>41071</c:v>
                </c:pt>
                <c:pt idx="5740">
                  <c:v>41072</c:v>
                </c:pt>
                <c:pt idx="5741">
                  <c:v>41073</c:v>
                </c:pt>
                <c:pt idx="5742">
                  <c:v>41074</c:v>
                </c:pt>
                <c:pt idx="5743">
                  <c:v>41075</c:v>
                </c:pt>
                <c:pt idx="5744">
                  <c:v>41078</c:v>
                </c:pt>
                <c:pt idx="5745">
                  <c:v>41079</c:v>
                </c:pt>
                <c:pt idx="5746">
                  <c:v>41080</c:v>
                </c:pt>
                <c:pt idx="5747">
                  <c:v>41081</c:v>
                </c:pt>
                <c:pt idx="5748">
                  <c:v>41082</c:v>
                </c:pt>
                <c:pt idx="5749">
                  <c:v>41085</c:v>
                </c:pt>
                <c:pt idx="5750">
                  <c:v>41086</c:v>
                </c:pt>
                <c:pt idx="5751">
                  <c:v>41087</c:v>
                </c:pt>
                <c:pt idx="5752">
                  <c:v>41088</c:v>
                </c:pt>
                <c:pt idx="5753">
                  <c:v>41089</c:v>
                </c:pt>
                <c:pt idx="5754">
                  <c:v>41092</c:v>
                </c:pt>
                <c:pt idx="5755">
                  <c:v>41093</c:v>
                </c:pt>
                <c:pt idx="5756">
                  <c:v>41095</c:v>
                </c:pt>
                <c:pt idx="5757">
                  <c:v>41096</c:v>
                </c:pt>
                <c:pt idx="5758">
                  <c:v>41099</c:v>
                </c:pt>
                <c:pt idx="5759">
                  <c:v>41100</c:v>
                </c:pt>
                <c:pt idx="5760">
                  <c:v>41101</c:v>
                </c:pt>
                <c:pt idx="5761">
                  <c:v>41102</c:v>
                </c:pt>
                <c:pt idx="5762">
                  <c:v>41103</c:v>
                </c:pt>
                <c:pt idx="5763">
                  <c:v>41106</c:v>
                </c:pt>
                <c:pt idx="5764">
                  <c:v>41107</c:v>
                </c:pt>
                <c:pt idx="5765">
                  <c:v>41108</c:v>
                </c:pt>
                <c:pt idx="5766">
                  <c:v>41109</c:v>
                </c:pt>
                <c:pt idx="5767">
                  <c:v>41110</c:v>
                </c:pt>
                <c:pt idx="5768">
                  <c:v>41113</c:v>
                </c:pt>
                <c:pt idx="5769">
                  <c:v>41114</c:v>
                </c:pt>
                <c:pt idx="5770">
                  <c:v>41115</c:v>
                </c:pt>
                <c:pt idx="5771">
                  <c:v>41116</c:v>
                </c:pt>
                <c:pt idx="5772">
                  <c:v>41117</c:v>
                </c:pt>
                <c:pt idx="5773">
                  <c:v>41120</c:v>
                </c:pt>
                <c:pt idx="5774">
                  <c:v>41121</c:v>
                </c:pt>
                <c:pt idx="5775">
                  <c:v>41122</c:v>
                </c:pt>
                <c:pt idx="5776">
                  <c:v>41123</c:v>
                </c:pt>
                <c:pt idx="5777">
                  <c:v>41124</c:v>
                </c:pt>
                <c:pt idx="5778">
                  <c:v>41127</c:v>
                </c:pt>
                <c:pt idx="5779">
                  <c:v>41128</c:v>
                </c:pt>
                <c:pt idx="5780">
                  <c:v>41129</c:v>
                </c:pt>
                <c:pt idx="5781">
                  <c:v>41130</c:v>
                </c:pt>
                <c:pt idx="5782">
                  <c:v>41131</c:v>
                </c:pt>
                <c:pt idx="5783">
                  <c:v>41134</c:v>
                </c:pt>
                <c:pt idx="5784">
                  <c:v>41135</c:v>
                </c:pt>
                <c:pt idx="5785">
                  <c:v>41136</c:v>
                </c:pt>
                <c:pt idx="5786">
                  <c:v>41137</c:v>
                </c:pt>
                <c:pt idx="5787">
                  <c:v>41138</c:v>
                </c:pt>
                <c:pt idx="5788">
                  <c:v>41141</c:v>
                </c:pt>
                <c:pt idx="5789">
                  <c:v>41142</c:v>
                </c:pt>
                <c:pt idx="5790">
                  <c:v>41143</c:v>
                </c:pt>
                <c:pt idx="5791">
                  <c:v>41144</c:v>
                </c:pt>
                <c:pt idx="5792">
                  <c:v>41145</c:v>
                </c:pt>
                <c:pt idx="5793">
                  <c:v>41148</c:v>
                </c:pt>
                <c:pt idx="5794">
                  <c:v>41149</c:v>
                </c:pt>
                <c:pt idx="5795">
                  <c:v>41150</c:v>
                </c:pt>
                <c:pt idx="5796">
                  <c:v>41151</c:v>
                </c:pt>
                <c:pt idx="5797">
                  <c:v>41152</c:v>
                </c:pt>
                <c:pt idx="5798">
                  <c:v>41156</c:v>
                </c:pt>
                <c:pt idx="5799">
                  <c:v>41157</c:v>
                </c:pt>
                <c:pt idx="5800">
                  <c:v>41158</c:v>
                </c:pt>
                <c:pt idx="5801">
                  <c:v>41159</c:v>
                </c:pt>
                <c:pt idx="5802">
                  <c:v>41162</c:v>
                </c:pt>
                <c:pt idx="5803">
                  <c:v>41163</c:v>
                </c:pt>
                <c:pt idx="5804">
                  <c:v>41164</c:v>
                </c:pt>
                <c:pt idx="5805">
                  <c:v>41165</c:v>
                </c:pt>
                <c:pt idx="5806">
                  <c:v>41166</c:v>
                </c:pt>
                <c:pt idx="5807">
                  <c:v>41169</c:v>
                </c:pt>
                <c:pt idx="5808">
                  <c:v>41170</c:v>
                </c:pt>
                <c:pt idx="5809">
                  <c:v>41171</c:v>
                </c:pt>
                <c:pt idx="5810">
                  <c:v>41172</c:v>
                </c:pt>
                <c:pt idx="5811">
                  <c:v>41173</c:v>
                </c:pt>
                <c:pt idx="5812">
                  <c:v>41176</c:v>
                </c:pt>
                <c:pt idx="5813">
                  <c:v>41177</c:v>
                </c:pt>
                <c:pt idx="5814">
                  <c:v>41178</c:v>
                </c:pt>
                <c:pt idx="5815">
                  <c:v>41179</c:v>
                </c:pt>
                <c:pt idx="5816">
                  <c:v>41180</c:v>
                </c:pt>
                <c:pt idx="5817">
                  <c:v>41183</c:v>
                </c:pt>
                <c:pt idx="5818">
                  <c:v>41184</c:v>
                </c:pt>
                <c:pt idx="5819">
                  <c:v>41185</c:v>
                </c:pt>
                <c:pt idx="5820">
                  <c:v>41186</c:v>
                </c:pt>
                <c:pt idx="5821">
                  <c:v>41187</c:v>
                </c:pt>
                <c:pt idx="5822">
                  <c:v>41190</c:v>
                </c:pt>
                <c:pt idx="5823">
                  <c:v>41191</c:v>
                </c:pt>
                <c:pt idx="5824">
                  <c:v>41192</c:v>
                </c:pt>
                <c:pt idx="5825">
                  <c:v>41193</c:v>
                </c:pt>
                <c:pt idx="5826">
                  <c:v>41194</c:v>
                </c:pt>
                <c:pt idx="5827">
                  <c:v>41197</c:v>
                </c:pt>
                <c:pt idx="5828">
                  <c:v>41198</c:v>
                </c:pt>
                <c:pt idx="5829">
                  <c:v>41199</c:v>
                </c:pt>
                <c:pt idx="5830">
                  <c:v>41200</c:v>
                </c:pt>
                <c:pt idx="5831">
                  <c:v>41201</c:v>
                </c:pt>
                <c:pt idx="5832">
                  <c:v>41204</c:v>
                </c:pt>
                <c:pt idx="5833">
                  <c:v>41205</c:v>
                </c:pt>
                <c:pt idx="5834">
                  <c:v>41206</c:v>
                </c:pt>
                <c:pt idx="5835">
                  <c:v>41207</c:v>
                </c:pt>
                <c:pt idx="5836">
                  <c:v>41208</c:v>
                </c:pt>
                <c:pt idx="5837">
                  <c:v>41213</c:v>
                </c:pt>
                <c:pt idx="5838">
                  <c:v>41214</c:v>
                </c:pt>
                <c:pt idx="5839">
                  <c:v>41215</c:v>
                </c:pt>
                <c:pt idx="5840">
                  <c:v>41218</c:v>
                </c:pt>
                <c:pt idx="5841">
                  <c:v>41219</c:v>
                </c:pt>
                <c:pt idx="5842">
                  <c:v>41220</c:v>
                </c:pt>
                <c:pt idx="5843">
                  <c:v>41221</c:v>
                </c:pt>
                <c:pt idx="5844">
                  <c:v>41222</c:v>
                </c:pt>
                <c:pt idx="5845">
                  <c:v>41225</c:v>
                </c:pt>
                <c:pt idx="5846">
                  <c:v>41226</c:v>
                </c:pt>
                <c:pt idx="5847">
                  <c:v>41227</c:v>
                </c:pt>
                <c:pt idx="5848">
                  <c:v>41228</c:v>
                </c:pt>
                <c:pt idx="5849">
                  <c:v>41229</c:v>
                </c:pt>
                <c:pt idx="5850">
                  <c:v>41232</c:v>
                </c:pt>
                <c:pt idx="5851">
                  <c:v>41233</c:v>
                </c:pt>
                <c:pt idx="5852">
                  <c:v>41234</c:v>
                </c:pt>
                <c:pt idx="5853">
                  <c:v>41236</c:v>
                </c:pt>
                <c:pt idx="5854">
                  <c:v>41239</c:v>
                </c:pt>
                <c:pt idx="5855">
                  <c:v>41240</c:v>
                </c:pt>
                <c:pt idx="5856">
                  <c:v>41241</c:v>
                </c:pt>
                <c:pt idx="5857">
                  <c:v>41242</c:v>
                </c:pt>
                <c:pt idx="5858">
                  <c:v>41243</c:v>
                </c:pt>
                <c:pt idx="5859">
                  <c:v>41246</c:v>
                </c:pt>
                <c:pt idx="5860">
                  <c:v>41247</c:v>
                </c:pt>
                <c:pt idx="5861">
                  <c:v>41248</c:v>
                </c:pt>
                <c:pt idx="5862">
                  <c:v>41249</c:v>
                </c:pt>
                <c:pt idx="5863">
                  <c:v>41250</c:v>
                </c:pt>
                <c:pt idx="5864">
                  <c:v>41253</c:v>
                </c:pt>
                <c:pt idx="5865">
                  <c:v>41254</c:v>
                </c:pt>
                <c:pt idx="5866">
                  <c:v>41255</c:v>
                </c:pt>
                <c:pt idx="5867">
                  <c:v>41256</c:v>
                </c:pt>
                <c:pt idx="5868">
                  <c:v>41257</c:v>
                </c:pt>
                <c:pt idx="5869">
                  <c:v>41260</c:v>
                </c:pt>
                <c:pt idx="5870">
                  <c:v>41261</c:v>
                </c:pt>
                <c:pt idx="5871">
                  <c:v>41262</c:v>
                </c:pt>
                <c:pt idx="5872">
                  <c:v>41263</c:v>
                </c:pt>
                <c:pt idx="5873">
                  <c:v>41264</c:v>
                </c:pt>
                <c:pt idx="5874">
                  <c:v>41267</c:v>
                </c:pt>
                <c:pt idx="5875">
                  <c:v>41269</c:v>
                </c:pt>
                <c:pt idx="5876">
                  <c:v>41270</c:v>
                </c:pt>
                <c:pt idx="5877">
                  <c:v>41271</c:v>
                </c:pt>
                <c:pt idx="5878">
                  <c:v>41274</c:v>
                </c:pt>
                <c:pt idx="5879">
                  <c:v>41276</c:v>
                </c:pt>
                <c:pt idx="5880">
                  <c:v>41277</c:v>
                </c:pt>
                <c:pt idx="5881">
                  <c:v>41278</c:v>
                </c:pt>
                <c:pt idx="5882">
                  <c:v>41281</c:v>
                </c:pt>
                <c:pt idx="5883">
                  <c:v>41282</c:v>
                </c:pt>
                <c:pt idx="5884">
                  <c:v>41283</c:v>
                </c:pt>
                <c:pt idx="5885">
                  <c:v>41284</c:v>
                </c:pt>
                <c:pt idx="5886">
                  <c:v>41285</c:v>
                </c:pt>
                <c:pt idx="5887">
                  <c:v>41288</c:v>
                </c:pt>
                <c:pt idx="5888">
                  <c:v>41289</c:v>
                </c:pt>
                <c:pt idx="5889">
                  <c:v>41290</c:v>
                </c:pt>
                <c:pt idx="5890">
                  <c:v>41291</c:v>
                </c:pt>
                <c:pt idx="5891">
                  <c:v>41292</c:v>
                </c:pt>
                <c:pt idx="5892">
                  <c:v>41296</c:v>
                </c:pt>
                <c:pt idx="5893">
                  <c:v>41297</c:v>
                </c:pt>
                <c:pt idx="5894">
                  <c:v>41298</c:v>
                </c:pt>
                <c:pt idx="5895">
                  <c:v>41299</c:v>
                </c:pt>
                <c:pt idx="5896">
                  <c:v>41302</c:v>
                </c:pt>
                <c:pt idx="5897">
                  <c:v>41303</c:v>
                </c:pt>
                <c:pt idx="5898">
                  <c:v>41304</c:v>
                </c:pt>
                <c:pt idx="5899">
                  <c:v>41305</c:v>
                </c:pt>
                <c:pt idx="5900">
                  <c:v>41306</c:v>
                </c:pt>
                <c:pt idx="5901">
                  <c:v>41309</c:v>
                </c:pt>
                <c:pt idx="5902">
                  <c:v>41310</c:v>
                </c:pt>
                <c:pt idx="5903">
                  <c:v>41311</c:v>
                </c:pt>
                <c:pt idx="5904">
                  <c:v>41312</c:v>
                </c:pt>
                <c:pt idx="5905">
                  <c:v>41313</c:v>
                </c:pt>
                <c:pt idx="5906">
                  <c:v>41316</c:v>
                </c:pt>
                <c:pt idx="5907">
                  <c:v>41317</c:v>
                </c:pt>
                <c:pt idx="5908">
                  <c:v>41318</c:v>
                </c:pt>
                <c:pt idx="5909">
                  <c:v>41319</c:v>
                </c:pt>
                <c:pt idx="5910">
                  <c:v>41320</c:v>
                </c:pt>
                <c:pt idx="5911">
                  <c:v>41324</c:v>
                </c:pt>
                <c:pt idx="5912">
                  <c:v>41325</c:v>
                </c:pt>
                <c:pt idx="5913">
                  <c:v>41326</c:v>
                </c:pt>
                <c:pt idx="5914">
                  <c:v>41327</c:v>
                </c:pt>
                <c:pt idx="5915">
                  <c:v>41330</c:v>
                </c:pt>
                <c:pt idx="5916">
                  <c:v>41331</c:v>
                </c:pt>
                <c:pt idx="5917">
                  <c:v>41332</c:v>
                </c:pt>
                <c:pt idx="5918">
                  <c:v>41333</c:v>
                </c:pt>
                <c:pt idx="5919">
                  <c:v>41334</c:v>
                </c:pt>
                <c:pt idx="5920">
                  <c:v>41337</c:v>
                </c:pt>
                <c:pt idx="5921">
                  <c:v>41338</c:v>
                </c:pt>
                <c:pt idx="5922">
                  <c:v>41339</c:v>
                </c:pt>
                <c:pt idx="5923">
                  <c:v>41340</c:v>
                </c:pt>
                <c:pt idx="5924">
                  <c:v>41341</c:v>
                </c:pt>
                <c:pt idx="5925">
                  <c:v>41344</c:v>
                </c:pt>
                <c:pt idx="5926">
                  <c:v>41345</c:v>
                </c:pt>
                <c:pt idx="5927">
                  <c:v>41346</c:v>
                </c:pt>
                <c:pt idx="5928">
                  <c:v>41347</c:v>
                </c:pt>
                <c:pt idx="5929">
                  <c:v>41348</c:v>
                </c:pt>
                <c:pt idx="5930">
                  <c:v>41351</c:v>
                </c:pt>
                <c:pt idx="5931">
                  <c:v>41352</c:v>
                </c:pt>
                <c:pt idx="5932">
                  <c:v>41353</c:v>
                </c:pt>
                <c:pt idx="5933">
                  <c:v>41354</c:v>
                </c:pt>
                <c:pt idx="5934">
                  <c:v>41355</c:v>
                </c:pt>
                <c:pt idx="5935">
                  <c:v>41358</c:v>
                </c:pt>
                <c:pt idx="5936">
                  <c:v>41359</c:v>
                </c:pt>
                <c:pt idx="5937">
                  <c:v>41360</c:v>
                </c:pt>
                <c:pt idx="5938">
                  <c:v>41361</c:v>
                </c:pt>
                <c:pt idx="5939">
                  <c:v>41365</c:v>
                </c:pt>
                <c:pt idx="5940">
                  <c:v>41366</c:v>
                </c:pt>
                <c:pt idx="5941">
                  <c:v>41367</c:v>
                </c:pt>
                <c:pt idx="5942">
                  <c:v>41368</c:v>
                </c:pt>
                <c:pt idx="5943">
                  <c:v>41369</c:v>
                </c:pt>
                <c:pt idx="5944">
                  <c:v>41372</c:v>
                </c:pt>
                <c:pt idx="5945">
                  <c:v>41373</c:v>
                </c:pt>
                <c:pt idx="5946">
                  <c:v>41374</c:v>
                </c:pt>
                <c:pt idx="5947">
                  <c:v>41375</c:v>
                </c:pt>
                <c:pt idx="5948">
                  <c:v>41376</c:v>
                </c:pt>
                <c:pt idx="5949">
                  <c:v>41379</c:v>
                </c:pt>
                <c:pt idx="5950">
                  <c:v>41380</c:v>
                </c:pt>
                <c:pt idx="5951">
                  <c:v>41381</c:v>
                </c:pt>
                <c:pt idx="5952">
                  <c:v>41382</c:v>
                </c:pt>
                <c:pt idx="5953">
                  <c:v>41383</c:v>
                </c:pt>
                <c:pt idx="5954">
                  <c:v>41386</c:v>
                </c:pt>
                <c:pt idx="5955">
                  <c:v>41387</c:v>
                </c:pt>
                <c:pt idx="5956">
                  <c:v>41388</c:v>
                </c:pt>
                <c:pt idx="5957">
                  <c:v>41389</c:v>
                </c:pt>
                <c:pt idx="5958">
                  <c:v>41390</c:v>
                </c:pt>
                <c:pt idx="5959">
                  <c:v>41393</c:v>
                </c:pt>
                <c:pt idx="5960">
                  <c:v>41394</c:v>
                </c:pt>
                <c:pt idx="5961">
                  <c:v>41395</c:v>
                </c:pt>
                <c:pt idx="5962">
                  <c:v>41396</c:v>
                </c:pt>
                <c:pt idx="5963">
                  <c:v>41397</c:v>
                </c:pt>
                <c:pt idx="5964">
                  <c:v>41400</c:v>
                </c:pt>
                <c:pt idx="5965">
                  <c:v>41401</c:v>
                </c:pt>
                <c:pt idx="5966">
                  <c:v>41402</c:v>
                </c:pt>
                <c:pt idx="5967">
                  <c:v>41403</c:v>
                </c:pt>
                <c:pt idx="5968">
                  <c:v>41404</c:v>
                </c:pt>
                <c:pt idx="5969">
                  <c:v>41407</c:v>
                </c:pt>
                <c:pt idx="5970">
                  <c:v>41408</c:v>
                </c:pt>
                <c:pt idx="5971">
                  <c:v>41409</c:v>
                </c:pt>
                <c:pt idx="5972">
                  <c:v>41410</c:v>
                </c:pt>
                <c:pt idx="5973">
                  <c:v>41411</c:v>
                </c:pt>
                <c:pt idx="5974">
                  <c:v>41414</c:v>
                </c:pt>
                <c:pt idx="5975">
                  <c:v>41415</c:v>
                </c:pt>
                <c:pt idx="5976">
                  <c:v>41416</c:v>
                </c:pt>
                <c:pt idx="5977">
                  <c:v>41417</c:v>
                </c:pt>
                <c:pt idx="5978">
                  <c:v>41418</c:v>
                </c:pt>
                <c:pt idx="5979">
                  <c:v>41422</c:v>
                </c:pt>
                <c:pt idx="5980">
                  <c:v>41423</c:v>
                </c:pt>
                <c:pt idx="5981">
                  <c:v>41424</c:v>
                </c:pt>
                <c:pt idx="5982">
                  <c:v>41425</c:v>
                </c:pt>
                <c:pt idx="5983">
                  <c:v>41428</c:v>
                </c:pt>
                <c:pt idx="5984">
                  <c:v>41429</c:v>
                </c:pt>
                <c:pt idx="5985">
                  <c:v>41430</c:v>
                </c:pt>
                <c:pt idx="5986">
                  <c:v>41431</c:v>
                </c:pt>
                <c:pt idx="5987">
                  <c:v>41432</c:v>
                </c:pt>
                <c:pt idx="5988">
                  <c:v>41435</c:v>
                </c:pt>
                <c:pt idx="5989">
                  <c:v>41436</c:v>
                </c:pt>
                <c:pt idx="5990">
                  <c:v>41437</c:v>
                </c:pt>
                <c:pt idx="5991">
                  <c:v>41438</c:v>
                </c:pt>
                <c:pt idx="5992">
                  <c:v>41439</c:v>
                </c:pt>
                <c:pt idx="5993">
                  <c:v>41442</c:v>
                </c:pt>
                <c:pt idx="5994">
                  <c:v>41443</c:v>
                </c:pt>
                <c:pt idx="5995">
                  <c:v>41444</c:v>
                </c:pt>
                <c:pt idx="5996">
                  <c:v>41445</c:v>
                </c:pt>
                <c:pt idx="5997">
                  <c:v>41446</c:v>
                </c:pt>
                <c:pt idx="5998">
                  <c:v>41449</c:v>
                </c:pt>
                <c:pt idx="5999">
                  <c:v>41450</c:v>
                </c:pt>
                <c:pt idx="6000">
                  <c:v>41451</c:v>
                </c:pt>
                <c:pt idx="6001">
                  <c:v>41452</c:v>
                </c:pt>
                <c:pt idx="6002">
                  <c:v>41453</c:v>
                </c:pt>
                <c:pt idx="6003">
                  <c:v>41456</c:v>
                </c:pt>
                <c:pt idx="6004">
                  <c:v>41457</c:v>
                </c:pt>
                <c:pt idx="6005">
                  <c:v>41458</c:v>
                </c:pt>
                <c:pt idx="6006">
                  <c:v>41460</c:v>
                </c:pt>
                <c:pt idx="6007">
                  <c:v>41463</c:v>
                </c:pt>
                <c:pt idx="6008">
                  <c:v>41464</c:v>
                </c:pt>
                <c:pt idx="6009">
                  <c:v>41465</c:v>
                </c:pt>
                <c:pt idx="6010">
                  <c:v>41466</c:v>
                </c:pt>
                <c:pt idx="6011">
                  <c:v>41467</c:v>
                </c:pt>
                <c:pt idx="6012">
                  <c:v>41470</c:v>
                </c:pt>
                <c:pt idx="6013">
                  <c:v>41471</c:v>
                </c:pt>
                <c:pt idx="6014">
                  <c:v>41472</c:v>
                </c:pt>
                <c:pt idx="6015">
                  <c:v>41473</c:v>
                </c:pt>
                <c:pt idx="6016">
                  <c:v>41474</c:v>
                </c:pt>
                <c:pt idx="6017">
                  <c:v>41477</c:v>
                </c:pt>
                <c:pt idx="6018">
                  <c:v>41478</c:v>
                </c:pt>
                <c:pt idx="6019">
                  <c:v>41479</c:v>
                </c:pt>
                <c:pt idx="6020">
                  <c:v>41480</c:v>
                </c:pt>
                <c:pt idx="6021">
                  <c:v>41481</c:v>
                </c:pt>
                <c:pt idx="6022">
                  <c:v>41484</c:v>
                </c:pt>
                <c:pt idx="6023">
                  <c:v>41485</c:v>
                </c:pt>
                <c:pt idx="6024">
                  <c:v>41486</c:v>
                </c:pt>
                <c:pt idx="6025">
                  <c:v>41487</c:v>
                </c:pt>
                <c:pt idx="6026">
                  <c:v>41488</c:v>
                </c:pt>
                <c:pt idx="6027">
                  <c:v>41491</c:v>
                </c:pt>
                <c:pt idx="6028">
                  <c:v>41492</c:v>
                </c:pt>
                <c:pt idx="6029">
                  <c:v>41493</c:v>
                </c:pt>
                <c:pt idx="6030">
                  <c:v>41494</c:v>
                </c:pt>
                <c:pt idx="6031">
                  <c:v>41495</c:v>
                </c:pt>
                <c:pt idx="6032">
                  <c:v>41498</c:v>
                </c:pt>
                <c:pt idx="6033">
                  <c:v>41499</c:v>
                </c:pt>
                <c:pt idx="6034">
                  <c:v>41500</c:v>
                </c:pt>
                <c:pt idx="6035">
                  <c:v>41501</c:v>
                </c:pt>
                <c:pt idx="6036">
                  <c:v>41502</c:v>
                </c:pt>
                <c:pt idx="6037">
                  <c:v>41505</c:v>
                </c:pt>
                <c:pt idx="6038">
                  <c:v>41506</c:v>
                </c:pt>
                <c:pt idx="6039">
                  <c:v>41507</c:v>
                </c:pt>
                <c:pt idx="6040">
                  <c:v>41508</c:v>
                </c:pt>
                <c:pt idx="6041">
                  <c:v>41509</c:v>
                </c:pt>
                <c:pt idx="6042">
                  <c:v>41512</c:v>
                </c:pt>
                <c:pt idx="6043">
                  <c:v>41513</c:v>
                </c:pt>
                <c:pt idx="6044">
                  <c:v>41514</c:v>
                </c:pt>
                <c:pt idx="6045">
                  <c:v>41515</c:v>
                </c:pt>
                <c:pt idx="6046">
                  <c:v>41516</c:v>
                </c:pt>
                <c:pt idx="6047">
                  <c:v>41520</c:v>
                </c:pt>
                <c:pt idx="6048">
                  <c:v>41521</c:v>
                </c:pt>
                <c:pt idx="6049">
                  <c:v>41522</c:v>
                </c:pt>
                <c:pt idx="6050">
                  <c:v>41523</c:v>
                </c:pt>
                <c:pt idx="6051">
                  <c:v>41526</c:v>
                </c:pt>
                <c:pt idx="6052">
                  <c:v>41527</c:v>
                </c:pt>
                <c:pt idx="6053">
                  <c:v>41528</c:v>
                </c:pt>
                <c:pt idx="6054">
                  <c:v>41529</c:v>
                </c:pt>
                <c:pt idx="6055">
                  <c:v>41530</c:v>
                </c:pt>
                <c:pt idx="6056">
                  <c:v>41533</c:v>
                </c:pt>
                <c:pt idx="6057">
                  <c:v>41534</c:v>
                </c:pt>
                <c:pt idx="6058">
                  <c:v>41535</c:v>
                </c:pt>
                <c:pt idx="6059">
                  <c:v>41536</c:v>
                </c:pt>
                <c:pt idx="6060">
                  <c:v>41537</c:v>
                </c:pt>
                <c:pt idx="6061">
                  <c:v>41540</c:v>
                </c:pt>
                <c:pt idx="6062">
                  <c:v>41541</c:v>
                </c:pt>
                <c:pt idx="6063">
                  <c:v>41542</c:v>
                </c:pt>
                <c:pt idx="6064">
                  <c:v>41543</c:v>
                </c:pt>
                <c:pt idx="6065">
                  <c:v>41544</c:v>
                </c:pt>
                <c:pt idx="6066">
                  <c:v>41547</c:v>
                </c:pt>
                <c:pt idx="6067">
                  <c:v>41548</c:v>
                </c:pt>
                <c:pt idx="6068">
                  <c:v>41549</c:v>
                </c:pt>
                <c:pt idx="6069">
                  <c:v>41550</c:v>
                </c:pt>
                <c:pt idx="6070">
                  <c:v>41551</c:v>
                </c:pt>
                <c:pt idx="6071">
                  <c:v>41554</c:v>
                </c:pt>
                <c:pt idx="6072">
                  <c:v>41555</c:v>
                </c:pt>
                <c:pt idx="6073">
                  <c:v>41556</c:v>
                </c:pt>
                <c:pt idx="6074">
                  <c:v>41557</c:v>
                </c:pt>
                <c:pt idx="6075">
                  <c:v>41558</c:v>
                </c:pt>
                <c:pt idx="6076">
                  <c:v>41561</c:v>
                </c:pt>
                <c:pt idx="6077">
                  <c:v>41562</c:v>
                </c:pt>
                <c:pt idx="6078">
                  <c:v>41563</c:v>
                </c:pt>
                <c:pt idx="6079">
                  <c:v>41564</c:v>
                </c:pt>
                <c:pt idx="6080">
                  <c:v>41565</c:v>
                </c:pt>
                <c:pt idx="6081">
                  <c:v>41568</c:v>
                </c:pt>
                <c:pt idx="6082">
                  <c:v>41569</c:v>
                </c:pt>
                <c:pt idx="6083">
                  <c:v>41570</c:v>
                </c:pt>
                <c:pt idx="6084">
                  <c:v>41571</c:v>
                </c:pt>
                <c:pt idx="6085">
                  <c:v>41572</c:v>
                </c:pt>
                <c:pt idx="6086">
                  <c:v>41575</c:v>
                </c:pt>
                <c:pt idx="6087">
                  <c:v>41576</c:v>
                </c:pt>
                <c:pt idx="6088">
                  <c:v>41577</c:v>
                </c:pt>
                <c:pt idx="6089">
                  <c:v>41578</c:v>
                </c:pt>
                <c:pt idx="6090">
                  <c:v>41579</c:v>
                </c:pt>
                <c:pt idx="6091">
                  <c:v>41582</c:v>
                </c:pt>
                <c:pt idx="6092">
                  <c:v>41583</c:v>
                </c:pt>
                <c:pt idx="6093">
                  <c:v>41584</c:v>
                </c:pt>
                <c:pt idx="6094">
                  <c:v>41585</c:v>
                </c:pt>
                <c:pt idx="6095">
                  <c:v>41586</c:v>
                </c:pt>
                <c:pt idx="6096">
                  <c:v>41589</c:v>
                </c:pt>
                <c:pt idx="6097">
                  <c:v>41590</c:v>
                </c:pt>
                <c:pt idx="6098">
                  <c:v>41591</c:v>
                </c:pt>
                <c:pt idx="6099">
                  <c:v>41592</c:v>
                </c:pt>
                <c:pt idx="6100">
                  <c:v>41593</c:v>
                </c:pt>
                <c:pt idx="6101">
                  <c:v>41596</c:v>
                </c:pt>
                <c:pt idx="6102">
                  <c:v>41597</c:v>
                </c:pt>
                <c:pt idx="6103">
                  <c:v>41598</c:v>
                </c:pt>
                <c:pt idx="6104">
                  <c:v>41599</c:v>
                </c:pt>
                <c:pt idx="6105">
                  <c:v>41600</c:v>
                </c:pt>
                <c:pt idx="6106">
                  <c:v>41603</c:v>
                </c:pt>
                <c:pt idx="6107">
                  <c:v>41604</c:v>
                </c:pt>
                <c:pt idx="6108">
                  <c:v>41605</c:v>
                </c:pt>
                <c:pt idx="6109">
                  <c:v>41607</c:v>
                </c:pt>
                <c:pt idx="6110">
                  <c:v>41610</c:v>
                </c:pt>
                <c:pt idx="6111">
                  <c:v>41611</c:v>
                </c:pt>
                <c:pt idx="6112">
                  <c:v>41612</c:v>
                </c:pt>
                <c:pt idx="6113">
                  <c:v>41613</c:v>
                </c:pt>
                <c:pt idx="6114">
                  <c:v>41614</c:v>
                </c:pt>
                <c:pt idx="6115">
                  <c:v>41617</c:v>
                </c:pt>
                <c:pt idx="6116">
                  <c:v>41618</c:v>
                </c:pt>
                <c:pt idx="6117">
                  <c:v>41619</c:v>
                </c:pt>
                <c:pt idx="6118">
                  <c:v>41620</c:v>
                </c:pt>
                <c:pt idx="6119">
                  <c:v>41621</c:v>
                </c:pt>
                <c:pt idx="6120">
                  <c:v>41624</c:v>
                </c:pt>
                <c:pt idx="6121">
                  <c:v>41625</c:v>
                </c:pt>
                <c:pt idx="6122">
                  <c:v>41626</c:v>
                </c:pt>
                <c:pt idx="6123">
                  <c:v>41627</c:v>
                </c:pt>
                <c:pt idx="6124">
                  <c:v>41628</c:v>
                </c:pt>
                <c:pt idx="6125">
                  <c:v>41631</c:v>
                </c:pt>
                <c:pt idx="6126">
                  <c:v>41632</c:v>
                </c:pt>
                <c:pt idx="6127">
                  <c:v>41634</c:v>
                </c:pt>
                <c:pt idx="6128">
                  <c:v>41635</c:v>
                </c:pt>
                <c:pt idx="6129">
                  <c:v>41638</c:v>
                </c:pt>
                <c:pt idx="6130">
                  <c:v>41639</c:v>
                </c:pt>
                <c:pt idx="6131">
                  <c:v>41641</c:v>
                </c:pt>
                <c:pt idx="6132">
                  <c:v>41642</c:v>
                </c:pt>
                <c:pt idx="6133">
                  <c:v>41645</c:v>
                </c:pt>
                <c:pt idx="6134">
                  <c:v>41646</c:v>
                </c:pt>
                <c:pt idx="6135">
                  <c:v>41647</c:v>
                </c:pt>
                <c:pt idx="6136">
                  <c:v>41648</c:v>
                </c:pt>
                <c:pt idx="6137">
                  <c:v>41649</c:v>
                </c:pt>
                <c:pt idx="6138">
                  <c:v>41652</c:v>
                </c:pt>
                <c:pt idx="6139">
                  <c:v>41653</c:v>
                </c:pt>
                <c:pt idx="6140">
                  <c:v>41654</c:v>
                </c:pt>
                <c:pt idx="6141">
                  <c:v>41655</c:v>
                </c:pt>
                <c:pt idx="6142">
                  <c:v>41656</c:v>
                </c:pt>
                <c:pt idx="6143">
                  <c:v>41660</c:v>
                </c:pt>
                <c:pt idx="6144">
                  <c:v>41661</c:v>
                </c:pt>
                <c:pt idx="6145">
                  <c:v>41662</c:v>
                </c:pt>
                <c:pt idx="6146">
                  <c:v>41663</c:v>
                </c:pt>
                <c:pt idx="6147">
                  <c:v>41666</c:v>
                </c:pt>
                <c:pt idx="6148">
                  <c:v>41667</c:v>
                </c:pt>
                <c:pt idx="6149">
                  <c:v>41668</c:v>
                </c:pt>
                <c:pt idx="6150">
                  <c:v>41669</c:v>
                </c:pt>
                <c:pt idx="6151">
                  <c:v>41670</c:v>
                </c:pt>
                <c:pt idx="6152">
                  <c:v>41673</c:v>
                </c:pt>
                <c:pt idx="6153">
                  <c:v>41674</c:v>
                </c:pt>
                <c:pt idx="6154">
                  <c:v>41675</c:v>
                </c:pt>
                <c:pt idx="6155">
                  <c:v>41676</c:v>
                </c:pt>
                <c:pt idx="6156">
                  <c:v>41677</c:v>
                </c:pt>
                <c:pt idx="6157">
                  <c:v>41680</c:v>
                </c:pt>
                <c:pt idx="6158">
                  <c:v>41681</c:v>
                </c:pt>
                <c:pt idx="6159">
                  <c:v>41682</c:v>
                </c:pt>
                <c:pt idx="6160">
                  <c:v>41683</c:v>
                </c:pt>
                <c:pt idx="6161">
                  <c:v>41684</c:v>
                </c:pt>
                <c:pt idx="6162">
                  <c:v>41688</c:v>
                </c:pt>
                <c:pt idx="6163">
                  <c:v>41689</c:v>
                </c:pt>
                <c:pt idx="6164">
                  <c:v>41690</c:v>
                </c:pt>
                <c:pt idx="6165">
                  <c:v>41691</c:v>
                </c:pt>
                <c:pt idx="6166">
                  <c:v>41694</c:v>
                </c:pt>
                <c:pt idx="6167">
                  <c:v>41695</c:v>
                </c:pt>
                <c:pt idx="6168">
                  <c:v>41696</c:v>
                </c:pt>
                <c:pt idx="6169">
                  <c:v>41697</c:v>
                </c:pt>
                <c:pt idx="6170">
                  <c:v>41698</c:v>
                </c:pt>
                <c:pt idx="6171">
                  <c:v>41701</c:v>
                </c:pt>
                <c:pt idx="6172">
                  <c:v>41702</c:v>
                </c:pt>
                <c:pt idx="6173">
                  <c:v>41703</c:v>
                </c:pt>
                <c:pt idx="6174">
                  <c:v>41704</c:v>
                </c:pt>
                <c:pt idx="6175">
                  <c:v>41705</c:v>
                </c:pt>
                <c:pt idx="6176">
                  <c:v>41708</c:v>
                </c:pt>
                <c:pt idx="6177">
                  <c:v>41709</c:v>
                </c:pt>
                <c:pt idx="6178">
                  <c:v>41710</c:v>
                </c:pt>
                <c:pt idx="6179">
                  <c:v>41711</c:v>
                </c:pt>
                <c:pt idx="6180">
                  <c:v>41712</c:v>
                </c:pt>
                <c:pt idx="6181">
                  <c:v>41715</c:v>
                </c:pt>
                <c:pt idx="6182">
                  <c:v>41716</c:v>
                </c:pt>
                <c:pt idx="6183">
                  <c:v>41717</c:v>
                </c:pt>
                <c:pt idx="6184">
                  <c:v>41718</c:v>
                </c:pt>
                <c:pt idx="6185">
                  <c:v>41719</c:v>
                </c:pt>
                <c:pt idx="6186">
                  <c:v>41722</c:v>
                </c:pt>
                <c:pt idx="6187">
                  <c:v>41723</c:v>
                </c:pt>
                <c:pt idx="6188">
                  <c:v>41724</c:v>
                </c:pt>
                <c:pt idx="6189">
                  <c:v>41725</c:v>
                </c:pt>
                <c:pt idx="6190">
                  <c:v>41726</c:v>
                </c:pt>
                <c:pt idx="6191">
                  <c:v>41729</c:v>
                </c:pt>
                <c:pt idx="6192">
                  <c:v>41730</c:v>
                </c:pt>
                <c:pt idx="6193">
                  <c:v>41731</c:v>
                </c:pt>
                <c:pt idx="6194">
                  <c:v>41732</c:v>
                </c:pt>
                <c:pt idx="6195">
                  <c:v>41733</c:v>
                </c:pt>
                <c:pt idx="6196">
                  <c:v>41736</c:v>
                </c:pt>
                <c:pt idx="6197">
                  <c:v>41737</c:v>
                </c:pt>
                <c:pt idx="6198">
                  <c:v>41738</c:v>
                </c:pt>
                <c:pt idx="6199">
                  <c:v>41739</c:v>
                </c:pt>
                <c:pt idx="6200">
                  <c:v>41740</c:v>
                </c:pt>
                <c:pt idx="6201">
                  <c:v>41743</c:v>
                </c:pt>
                <c:pt idx="6202">
                  <c:v>41744</c:v>
                </c:pt>
                <c:pt idx="6203">
                  <c:v>41745</c:v>
                </c:pt>
                <c:pt idx="6204">
                  <c:v>41746</c:v>
                </c:pt>
                <c:pt idx="6205">
                  <c:v>41750</c:v>
                </c:pt>
                <c:pt idx="6206">
                  <c:v>41751</c:v>
                </c:pt>
                <c:pt idx="6207">
                  <c:v>41752</c:v>
                </c:pt>
                <c:pt idx="6208">
                  <c:v>41753</c:v>
                </c:pt>
                <c:pt idx="6209">
                  <c:v>41754</c:v>
                </c:pt>
                <c:pt idx="6210">
                  <c:v>41757</c:v>
                </c:pt>
                <c:pt idx="6211">
                  <c:v>41758</c:v>
                </c:pt>
                <c:pt idx="6212">
                  <c:v>41759</c:v>
                </c:pt>
                <c:pt idx="6213">
                  <c:v>41760</c:v>
                </c:pt>
                <c:pt idx="6214">
                  <c:v>41761</c:v>
                </c:pt>
                <c:pt idx="6215">
                  <c:v>41764</c:v>
                </c:pt>
                <c:pt idx="6216">
                  <c:v>41765</c:v>
                </c:pt>
                <c:pt idx="6217">
                  <c:v>41766</c:v>
                </c:pt>
                <c:pt idx="6218">
                  <c:v>41767</c:v>
                </c:pt>
                <c:pt idx="6219">
                  <c:v>41768</c:v>
                </c:pt>
                <c:pt idx="6220">
                  <c:v>41771</c:v>
                </c:pt>
                <c:pt idx="6221">
                  <c:v>41772</c:v>
                </c:pt>
                <c:pt idx="6222">
                  <c:v>41773</c:v>
                </c:pt>
                <c:pt idx="6223">
                  <c:v>41774</c:v>
                </c:pt>
                <c:pt idx="6224">
                  <c:v>41775</c:v>
                </c:pt>
                <c:pt idx="6225">
                  <c:v>41778</c:v>
                </c:pt>
                <c:pt idx="6226">
                  <c:v>41779</c:v>
                </c:pt>
                <c:pt idx="6227">
                  <c:v>41780</c:v>
                </c:pt>
                <c:pt idx="6228">
                  <c:v>41781</c:v>
                </c:pt>
                <c:pt idx="6229">
                  <c:v>41782</c:v>
                </c:pt>
                <c:pt idx="6230">
                  <c:v>41786</c:v>
                </c:pt>
                <c:pt idx="6231">
                  <c:v>41787</c:v>
                </c:pt>
                <c:pt idx="6232">
                  <c:v>41788</c:v>
                </c:pt>
                <c:pt idx="6233">
                  <c:v>41789</c:v>
                </c:pt>
                <c:pt idx="6234">
                  <c:v>41792</c:v>
                </c:pt>
                <c:pt idx="6235">
                  <c:v>41793</c:v>
                </c:pt>
                <c:pt idx="6236">
                  <c:v>41794</c:v>
                </c:pt>
                <c:pt idx="6237">
                  <c:v>41795</c:v>
                </c:pt>
                <c:pt idx="6238">
                  <c:v>41796</c:v>
                </c:pt>
                <c:pt idx="6239">
                  <c:v>41799</c:v>
                </c:pt>
                <c:pt idx="6240">
                  <c:v>41800</c:v>
                </c:pt>
                <c:pt idx="6241">
                  <c:v>41801</c:v>
                </c:pt>
                <c:pt idx="6242">
                  <c:v>41802</c:v>
                </c:pt>
                <c:pt idx="6243">
                  <c:v>41803</c:v>
                </c:pt>
                <c:pt idx="6244">
                  <c:v>41806</c:v>
                </c:pt>
                <c:pt idx="6245">
                  <c:v>41807</c:v>
                </c:pt>
                <c:pt idx="6246">
                  <c:v>41808</c:v>
                </c:pt>
                <c:pt idx="6247">
                  <c:v>41809</c:v>
                </c:pt>
                <c:pt idx="6248">
                  <c:v>41810</c:v>
                </c:pt>
                <c:pt idx="6249">
                  <c:v>41813</c:v>
                </c:pt>
                <c:pt idx="6250">
                  <c:v>41814</c:v>
                </c:pt>
                <c:pt idx="6251">
                  <c:v>41815</c:v>
                </c:pt>
                <c:pt idx="6252">
                  <c:v>41816</c:v>
                </c:pt>
                <c:pt idx="6253">
                  <c:v>41817</c:v>
                </c:pt>
                <c:pt idx="6254">
                  <c:v>41820</c:v>
                </c:pt>
                <c:pt idx="6255">
                  <c:v>41821</c:v>
                </c:pt>
                <c:pt idx="6256">
                  <c:v>41822</c:v>
                </c:pt>
                <c:pt idx="6257">
                  <c:v>41823</c:v>
                </c:pt>
                <c:pt idx="6258">
                  <c:v>41827</c:v>
                </c:pt>
                <c:pt idx="6259">
                  <c:v>41828</c:v>
                </c:pt>
                <c:pt idx="6260">
                  <c:v>41829</c:v>
                </c:pt>
                <c:pt idx="6261">
                  <c:v>41830</c:v>
                </c:pt>
                <c:pt idx="6262">
                  <c:v>41831</c:v>
                </c:pt>
                <c:pt idx="6263">
                  <c:v>41834</c:v>
                </c:pt>
                <c:pt idx="6264">
                  <c:v>41835</c:v>
                </c:pt>
                <c:pt idx="6265">
                  <c:v>41836</c:v>
                </c:pt>
                <c:pt idx="6266">
                  <c:v>41837</c:v>
                </c:pt>
                <c:pt idx="6267">
                  <c:v>41838</c:v>
                </c:pt>
                <c:pt idx="6268">
                  <c:v>41841</c:v>
                </c:pt>
                <c:pt idx="6269">
                  <c:v>41842</c:v>
                </c:pt>
                <c:pt idx="6270">
                  <c:v>41843</c:v>
                </c:pt>
                <c:pt idx="6271">
                  <c:v>41844</c:v>
                </c:pt>
                <c:pt idx="6272">
                  <c:v>41845</c:v>
                </c:pt>
                <c:pt idx="6273">
                  <c:v>41848</c:v>
                </c:pt>
                <c:pt idx="6274">
                  <c:v>41849</c:v>
                </c:pt>
                <c:pt idx="6275">
                  <c:v>41850</c:v>
                </c:pt>
                <c:pt idx="6276">
                  <c:v>41851</c:v>
                </c:pt>
                <c:pt idx="6277">
                  <c:v>41852</c:v>
                </c:pt>
                <c:pt idx="6278">
                  <c:v>41855</c:v>
                </c:pt>
                <c:pt idx="6279">
                  <c:v>41856</c:v>
                </c:pt>
                <c:pt idx="6280">
                  <c:v>41857</c:v>
                </c:pt>
                <c:pt idx="6281">
                  <c:v>41858</c:v>
                </c:pt>
                <c:pt idx="6282">
                  <c:v>41859</c:v>
                </c:pt>
                <c:pt idx="6283">
                  <c:v>41862</c:v>
                </c:pt>
                <c:pt idx="6284">
                  <c:v>41863</c:v>
                </c:pt>
                <c:pt idx="6285">
                  <c:v>41864</c:v>
                </c:pt>
                <c:pt idx="6286">
                  <c:v>41865</c:v>
                </c:pt>
                <c:pt idx="6287">
                  <c:v>41866</c:v>
                </c:pt>
                <c:pt idx="6288">
                  <c:v>41869</c:v>
                </c:pt>
                <c:pt idx="6289">
                  <c:v>41870</c:v>
                </c:pt>
                <c:pt idx="6290">
                  <c:v>41871</c:v>
                </c:pt>
                <c:pt idx="6291">
                  <c:v>41872</c:v>
                </c:pt>
                <c:pt idx="6292">
                  <c:v>41873</c:v>
                </c:pt>
                <c:pt idx="6293">
                  <c:v>41876</c:v>
                </c:pt>
                <c:pt idx="6294">
                  <c:v>41877</c:v>
                </c:pt>
                <c:pt idx="6295">
                  <c:v>41878</c:v>
                </c:pt>
                <c:pt idx="6296">
                  <c:v>41879</c:v>
                </c:pt>
                <c:pt idx="6297">
                  <c:v>41880</c:v>
                </c:pt>
                <c:pt idx="6298">
                  <c:v>41884</c:v>
                </c:pt>
                <c:pt idx="6299">
                  <c:v>41885</c:v>
                </c:pt>
                <c:pt idx="6300">
                  <c:v>41886</c:v>
                </c:pt>
                <c:pt idx="6301">
                  <c:v>41887</c:v>
                </c:pt>
                <c:pt idx="6302">
                  <c:v>41890</c:v>
                </c:pt>
                <c:pt idx="6303">
                  <c:v>41891</c:v>
                </c:pt>
                <c:pt idx="6304">
                  <c:v>41892</c:v>
                </c:pt>
                <c:pt idx="6305">
                  <c:v>41893</c:v>
                </c:pt>
                <c:pt idx="6306">
                  <c:v>41894</c:v>
                </c:pt>
                <c:pt idx="6307">
                  <c:v>41897</c:v>
                </c:pt>
                <c:pt idx="6308">
                  <c:v>41898</c:v>
                </c:pt>
                <c:pt idx="6309">
                  <c:v>41899</c:v>
                </c:pt>
                <c:pt idx="6310">
                  <c:v>41900</c:v>
                </c:pt>
                <c:pt idx="6311">
                  <c:v>41901</c:v>
                </c:pt>
                <c:pt idx="6312">
                  <c:v>41904</c:v>
                </c:pt>
                <c:pt idx="6313">
                  <c:v>41905</c:v>
                </c:pt>
                <c:pt idx="6314">
                  <c:v>41906</c:v>
                </c:pt>
                <c:pt idx="6315">
                  <c:v>41907</c:v>
                </c:pt>
                <c:pt idx="6316">
                  <c:v>41908</c:v>
                </c:pt>
                <c:pt idx="6317">
                  <c:v>41911</c:v>
                </c:pt>
                <c:pt idx="6318">
                  <c:v>41912</c:v>
                </c:pt>
                <c:pt idx="6319">
                  <c:v>41913</c:v>
                </c:pt>
                <c:pt idx="6320">
                  <c:v>41914</c:v>
                </c:pt>
                <c:pt idx="6321">
                  <c:v>41915</c:v>
                </c:pt>
                <c:pt idx="6322">
                  <c:v>41918</c:v>
                </c:pt>
                <c:pt idx="6323">
                  <c:v>41919</c:v>
                </c:pt>
                <c:pt idx="6324">
                  <c:v>41920</c:v>
                </c:pt>
                <c:pt idx="6325">
                  <c:v>41921</c:v>
                </c:pt>
                <c:pt idx="6326">
                  <c:v>41922</c:v>
                </c:pt>
                <c:pt idx="6327">
                  <c:v>41925</c:v>
                </c:pt>
                <c:pt idx="6328">
                  <c:v>41926</c:v>
                </c:pt>
                <c:pt idx="6329">
                  <c:v>41927</c:v>
                </c:pt>
                <c:pt idx="6330">
                  <c:v>41928</c:v>
                </c:pt>
                <c:pt idx="6331">
                  <c:v>41929</c:v>
                </c:pt>
                <c:pt idx="6332">
                  <c:v>41932</c:v>
                </c:pt>
                <c:pt idx="6333">
                  <c:v>41933</c:v>
                </c:pt>
                <c:pt idx="6334">
                  <c:v>41934</c:v>
                </c:pt>
                <c:pt idx="6335">
                  <c:v>41935</c:v>
                </c:pt>
                <c:pt idx="6336">
                  <c:v>41936</c:v>
                </c:pt>
                <c:pt idx="6337">
                  <c:v>41939</c:v>
                </c:pt>
                <c:pt idx="6338">
                  <c:v>41940</c:v>
                </c:pt>
                <c:pt idx="6339">
                  <c:v>41941</c:v>
                </c:pt>
                <c:pt idx="6340">
                  <c:v>41942</c:v>
                </c:pt>
                <c:pt idx="6341">
                  <c:v>41943</c:v>
                </c:pt>
                <c:pt idx="6342">
                  <c:v>41946</c:v>
                </c:pt>
                <c:pt idx="6343">
                  <c:v>41947</c:v>
                </c:pt>
                <c:pt idx="6344">
                  <c:v>41948</c:v>
                </c:pt>
                <c:pt idx="6345">
                  <c:v>41949</c:v>
                </c:pt>
                <c:pt idx="6346">
                  <c:v>41950</c:v>
                </c:pt>
                <c:pt idx="6347">
                  <c:v>41953</c:v>
                </c:pt>
                <c:pt idx="6348">
                  <c:v>41954</c:v>
                </c:pt>
                <c:pt idx="6349">
                  <c:v>41955</c:v>
                </c:pt>
                <c:pt idx="6350">
                  <c:v>41956</c:v>
                </c:pt>
                <c:pt idx="6351">
                  <c:v>41957</c:v>
                </c:pt>
                <c:pt idx="6352">
                  <c:v>41960</c:v>
                </c:pt>
                <c:pt idx="6353">
                  <c:v>41961</c:v>
                </c:pt>
                <c:pt idx="6354">
                  <c:v>41962</c:v>
                </c:pt>
                <c:pt idx="6355">
                  <c:v>41963</c:v>
                </c:pt>
                <c:pt idx="6356">
                  <c:v>41964</c:v>
                </c:pt>
                <c:pt idx="6357">
                  <c:v>41967</c:v>
                </c:pt>
                <c:pt idx="6358">
                  <c:v>41968</c:v>
                </c:pt>
                <c:pt idx="6359">
                  <c:v>41969</c:v>
                </c:pt>
                <c:pt idx="6360">
                  <c:v>41971</c:v>
                </c:pt>
                <c:pt idx="6361">
                  <c:v>41974</c:v>
                </c:pt>
                <c:pt idx="6362">
                  <c:v>41975</c:v>
                </c:pt>
                <c:pt idx="6363">
                  <c:v>41976</c:v>
                </c:pt>
                <c:pt idx="6364">
                  <c:v>41977</c:v>
                </c:pt>
                <c:pt idx="6365">
                  <c:v>41978</c:v>
                </c:pt>
                <c:pt idx="6366">
                  <c:v>41981</c:v>
                </c:pt>
                <c:pt idx="6367">
                  <c:v>41982</c:v>
                </c:pt>
                <c:pt idx="6368">
                  <c:v>41983</c:v>
                </c:pt>
                <c:pt idx="6369">
                  <c:v>41984</c:v>
                </c:pt>
                <c:pt idx="6370">
                  <c:v>41985</c:v>
                </c:pt>
                <c:pt idx="6371">
                  <c:v>41988</c:v>
                </c:pt>
                <c:pt idx="6372">
                  <c:v>41989</c:v>
                </c:pt>
                <c:pt idx="6373">
                  <c:v>41990</c:v>
                </c:pt>
                <c:pt idx="6374">
                  <c:v>41991</c:v>
                </c:pt>
                <c:pt idx="6375">
                  <c:v>41992</c:v>
                </c:pt>
                <c:pt idx="6376">
                  <c:v>41995</c:v>
                </c:pt>
                <c:pt idx="6377">
                  <c:v>41996</c:v>
                </c:pt>
                <c:pt idx="6378">
                  <c:v>41997</c:v>
                </c:pt>
                <c:pt idx="6379">
                  <c:v>41999</c:v>
                </c:pt>
                <c:pt idx="6380">
                  <c:v>42002</c:v>
                </c:pt>
                <c:pt idx="6381">
                  <c:v>42003</c:v>
                </c:pt>
                <c:pt idx="6382">
                  <c:v>42004</c:v>
                </c:pt>
                <c:pt idx="6383">
                  <c:v>42006</c:v>
                </c:pt>
                <c:pt idx="6384">
                  <c:v>42009</c:v>
                </c:pt>
                <c:pt idx="6385">
                  <c:v>42010</c:v>
                </c:pt>
                <c:pt idx="6386">
                  <c:v>42011</c:v>
                </c:pt>
                <c:pt idx="6387">
                  <c:v>42012</c:v>
                </c:pt>
                <c:pt idx="6388">
                  <c:v>42013</c:v>
                </c:pt>
                <c:pt idx="6389">
                  <c:v>42016</c:v>
                </c:pt>
                <c:pt idx="6390">
                  <c:v>42017</c:v>
                </c:pt>
                <c:pt idx="6391">
                  <c:v>42018</c:v>
                </c:pt>
                <c:pt idx="6392">
                  <c:v>42019</c:v>
                </c:pt>
                <c:pt idx="6393">
                  <c:v>42020</c:v>
                </c:pt>
                <c:pt idx="6394">
                  <c:v>42024</c:v>
                </c:pt>
                <c:pt idx="6395">
                  <c:v>42025</c:v>
                </c:pt>
                <c:pt idx="6396">
                  <c:v>42026</c:v>
                </c:pt>
                <c:pt idx="6397">
                  <c:v>42027</c:v>
                </c:pt>
                <c:pt idx="6398">
                  <c:v>42030</c:v>
                </c:pt>
                <c:pt idx="6399">
                  <c:v>42031</c:v>
                </c:pt>
                <c:pt idx="6400">
                  <c:v>42032</c:v>
                </c:pt>
                <c:pt idx="6401">
                  <c:v>42033</c:v>
                </c:pt>
                <c:pt idx="6402">
                  <c:v>42034</c:v>
                </c:pt>
                <c:pt idx="6403">
                  <c:v>42037</c:v>
                </c:pt>
                <c:pt idx="6404">
                  <c:v>42038</c:v>
                </c:pt>
                <c:pt idx="6405">
                  <c:v>42039</c:v>
                </c:pt>
                <c:pt idx="6406">
                  <c:v>42040</c:v>
                </c:pt>
                <c:pt idx="6407">
                  <c:v>42041</c:v>
                </c:pt>
                <c:pt idx="6408">
                  <c:v>42044</c:v>
                </c:pt>
                <c:pt idx="6409">
                  <c:v>42045</c:v>
                </c:pt>
                <c:pt idx="6410">
                  <c:v>42046</c:v>
                </c:pt>
                <c:pt idx="6411">
                  <c:v>42047</c:v>
                </c:pt>
                <c:pt idx="6412">
                  <c:v>42048</c:v>
                </c:pt>
                <c:pt idx="6413">
                  <c:v>42052</c:v>
                </c:pt>
                <c:pt idx="6414">
                  <c:v>42053</c:v>
                </c:pt>
                <c:pt idx="6415">
                  <c:v>42054</c:v>
                </c:pt>
                <c:pt idx="6416">
                  <c:v>42055</c:v>
                </c:pt>
                <c:pt idx="6417">
                  <c:v>42058</c:v>
                </c:pt>
                <c:pt idx="6418">
                  <c:v>42059</c:v>
                </c:pt>
                <c:pt idx="6419">
                  <c:v>42060</c:v>
                </c:pt>
                <c:pt idx="6420">
                  <c:v>42061</c:v>
                </c:pt>
                <c:pt idx="6421">
                  <c:v>42062</c:v>
                </c:pt>
                <c:pt idx="6422">
                  <c:v>42065</c:v>
                </c:pt>
                <c:pt idx="6423">
                  <c:v>42066</c:v>
                </c:pt>
                <c:pt idx="6424">
                  <c:v>42067</c:v>
                </c:pt>
                <c:pt idx="6425">
                  <c:v>42068</c:v>
                </c:pt>
                <c:pt idx="6426">
                  <c:v>42069</c:v>
                </c:pt>
                <c:pt idx="6427">
                  <c:v>42072</c:v>
                </c:pt>
                <c:pt idx="6428">
                  <c:v>42073</c:v>
                </c:pt>
                <c:pt idx="6429">
                  <c:v>42074</c:v>
                </c:pt>
                <c:pt idx="6430">
                  <c:v>42075</c:v>
                </c:pt>
                <c:pt idx="6431">
                  <c:v>42076</c:v>
                </c:pt>
                <c:pt idx="6432">
                  <c:v>42079</c:v>
                </c:pt>
                <c:pt idx="6433">
                  <c:v>42080</c:v>
                </c:pt>
                <c:pt idx="6434">
                  <c:v>42081</c:v>
                </c:pt>
                <c:pt idx="6435">
                  <c:v>42082</c:v>
                </c:pt>
                <c:pt idx="6436">
                  <c:v>42083</c:v>
                </c:pt>
                <c:pt idx="6437">
                  <c:v>42086</c:v>
                </c:pt>
                <c:pt idx="6438">
                  <c:v>42087</c:v>
                </c:pt>
                <c:pt idx="6439">
                  <c:v>42088</c:v>
                </c:pt>
                <c:pt idx="6440">
                  <c:v>42089</c:v>
                </c:pt>
                <c:pt idx="6441">
                  <c:v>42090</c:v>
                </c:pt>
                <c:pt idx="6442">
                  <c:v>42093</c:v>
                </c:pt>
                <c:pt idx="6443">
                  <c:v>42094</c:v>
                </c:pt>
                <c:pt idx="6444">
                  <c:v>42095</c:v>
                </c:pt>
                <c:pt idx="6445">
                  <c:v>42096</c:v>
                </c:pt>
                <c:pt idx="6446">
                  <c:v>42100</c:v>
                </c:pt>
                <c:pt idx="6447">
                  <c:v>42101</c:v>
                </c:pt>
                <c:pt idx="6448">
                  <c:v>42102</c:v>
                </c:pt>
                <c:pt idx="6449">
                  <c:v>42103</c:v>
                </c:pt>
                <c:pt idx="6450">
                  <c:v>42104</c:v>
                </c:pt>
                <c:pt idx="6451">
                  <c:v>42107</c:v>
                </c:pt>
                <c:pt idx="6452">
                  <c:v>42108</c:v>
                </c:pt>
                <c:pt idx="6453">
                  <c:v>42109</c:v>
                </c:pt>
                <c:pt idx="6454">
                  <c:v>42110</c:v>
                </c:pt>
                <c:pt idx="6455">
                  <c:v>42111</c:v>
                </c:pt>
                <c:pt idx="6456">
                  <c:v>42114</c:v>
                </c:pt>
                <c:pt idx="6457">
                  <c:v>42115</c:v>
                </c:pt>
                <c:pt idx="6458">
                  <c:v>42116</c:v>
                </c:pt>
                <c:pt idx="6459">
                  <c:v>42117</c:v>
                </c:pt>
                <c:pt idx="6460">
                  <c:v>42118</c:v>
                </c:pt>
                <c:pt idx="6461">
                  <c:v>42121</c:v>
                </c:pt>
                <c:pt idx="6462">
                  <c:v>42122</c:v>
                </c:pt>
                <c:pt idx="6463">
                  <c:v>42123</c:v>
                </c:pt>
                <c:pt idx="6464">
                  <c:v>42124</c:v>
                </c:pt>
                <c:pt idx="6465">
                  <c:v>42125</c:v>
                </c:pt>
                <c:pt idx="6466">
                  <c:v>42128</c:v>
                </c:pt>
                <c:pt idx="6467">
                  <c:v>42129</c:v>
                </c:pt>
                <c:pt idx="6468">
                  <c:v>42130</c:v>
                </c:pt>
                <c:pt idx="6469">
                  <c:v>42131</c:v>
                </c:pt>
                <c:pt idx="6470">
                  <c:v>42132</c:v>
                </c:pt>
                <c:pt idx="6471">
                  <c:v>42135</c:v>
                </c:pt>
                <c:pt idx="6472">
                  <c:v>42136</c:v>
                </c:pt>
                <c:pt idx="6473">
                  <c:v>42137</c:v>
                </c:pt>
                <c:pt idx="6474">
                  <c:v>42138</c:v>
                </c:pt>
                <c:pt idx="6475">
                  <c:v>42139</c:v>
                </c:pt>
                <c:pt idx="6476">
                  <c:v>42142</c:v>
                </c:pt>
                <c:pt idx="6477">
                  <c:v>42143</c:v>
                </c:pt>
                <c:pt idx="6478">
                  <c:v>42144</c:v>
                </c:pt>
                <c:pt idx="6479">
                  <c:v>42145</c:v>
                </c:pt>
                <c:pt idx="6480">
                  <c:v>42146</c:v>
                </c:pt>
                <c:pt idx="6481">
                  <c:v>42150</c:v>
                </c:pt>
                <c:pt idx="6482">
                  <c:v>42151</c:v>
                </c:pt>
                <c:pt idx="6483">
                  <c:v>42152</c:v>
                </c:pt>
                <c:pt idx="6484">
                  <c:v>42153</c:v>
                </c:pt>
                <c:pt idx="6485">
                  <c:v>42156</c:v>
                </c:pt>
                <c:pt idx="6486">
                  <c:v>42157</c:v>
                </c:pt>
                <c:pt idx="6487">
                  <c:v>42158</c:v>
                </c:pt>
                <c:pt idx="6488">
                  <c:v>42159</c:v>
                </c:pt>
                <c:pt idx="6489">
                  <c:v>42160</c:v>
                </c:pt>
                <c:pt idx="6490">
                  <c:v>42163</c:v>
                </c:pt>
                <c:pt idx="6491">
                  <c:v>42164</c:v>
                </c:pt>
                <c:pt idx="6492">
                  <c:v>42165</c:v>
                </c:pt>
                <c:pt idx="6493">
                  <c:v>42166</c:v>
                </c:pt>
                <c:pt idx="6494">
                  <c:v>42167</c:v>
                </c:pt>
                <c:pt idx="6495">
                  <c:v>42170</c:v>
                </c:pt>
                <c:pt idx="6496">
                  <c:v>42171</c:v>
                </c:pt>
                <c:pt idx="6497">
                  <c:v>42172</c:v>
                </c:pt>
                <c:pt idx="6498">
                  <c:v>42173</c:v>
                </c:pt>
                <c:pt idx="6499">
                  <c:v>42174</c:v>
                </c:pt>
                <c:pt idx="6500">
                  <c:v>42177</c:v>
                </c:pt>
                <c:pt idx="6501">
                  <c:v>42178</c:v>
                </c:pt>
                <c:pt idx="6502">
                  <c:v>42179</c:v>
                </c:pt>
                <c:pt idx="6503">
                  <c:v>42180</c:v>
                </c:pt>
                <c:pt idx="6504">
                  <c:v>42181</c:v>
                </c:pt>
                <c:pt idx="6505">
                  <c:v>42184</c:v>
                </c:pt>
                <c:pt idx="6506">
                  <c:v>42185</c:v>
                </c:pt>
                <c:pt idx="6507">
                  <c:v>42186</c:v>
                </c:pt>
                <c:pt idx="6508">
                  <c:v>42187</c:v>
                </c:pt>
                <c:pt idx="6509">
                  <c:v>42191</c:v>
                </c:pt>
                <c:pt idx="6510">
                  <c:v>42192</c:v>
                </c:pt>
                <c:pt idx="6511">
                  <c:v>42193</c:v>
                </c:pt>
                <c:pt idx="6512">
                  <c:v>42194</c:v>
                </c:pt>
                <c:pt idx="6513">
                  <c:v>42195</c:v>
                </c:pt>
                <c:pt idx="6514">
                  <c:v>42198</c:v>
                </c:pt>
                <c:pt idx="6515">
                  <c:v>42199</c:v>
                </c:pt>
                <c:pt idx="6516">
                  <c:v>42200</c:v>
                </c:pt>
                <c:pt idx="6517">
                  <c:v>42201</c:v>
                </c:pt>
                <c:pt idx="6518">
                  <c:v>42202</c:v>
                </c:pt>
                <c:pt idx="6519">
                  <c:v>42205</c:v>
                </c:pt>
                <c:pt idx="6520">
                  <c:v>42206</c:v>
                </c:pt>
                <c:pt idx="6521">
                  <c:v>42207</c:v>
                </c:pt>
                <c:pt idx="6522">
                  <c:v>42208</c:v>
                </c:pt>
                <c:pt idx="6523">
                  <c:v>42209</c:v>
                </c:pt>
                <c:pt idx="6524">
                  <c:v>42212</c:v>
                </c:pt>
                <c:pt idx="6525">
                  <c:v>42213</c:v>
                </c:pt>
                <c:pt idx="6526">
                  <c:v>42214</c:v>
                </c:pt>
                <c:pt idx="6527">
                  <c:v>42215</c:v>
                </c:pt>
                <c:pt idx="6528">
                  <c:v>42216</c:v>
                </c:pt>
                <c:pt idx="6529">
                  <c:v>42219</c:v>
                </c:pt>
                <c:pt idx="6530">
                  <c:v>42220</c:v>
                </c:pt>
                <c:pt idx="6531">
                  <c:v>42221</c:v>
                </c:pt>
                <c:pt idx="6532">
                  <c:v>42222</c:v>
                </c:pt>
                <c:pt idx="6533">
                  <c:v>42223</c:v>
                </c:pt>
                <c:pt idx="6534">
                  <c:v>42226</c:v>
                </c:pt>
                <c:pt idx="6535">
                  <c:v>42227</c:v>
                </c:pt>
                <c:pt idx="6536">
                  <c:v>42228</c:v>
                </c:pt>
                <c:pt idx="6537">
                  <c:v>42229</c:v>
                </c:pt>
                <c:pt idx="6538">
                  <c:v>42230</c:v>
                </c:pt>
                <c:pt idx="6539">
                  <c:v>42233</c:v>
                </c:pt>
                <c:pt idx="6540">
                  <c:v>42234</c:v>
                </c:pt>
                <c:pt idx="6541">
                  <c:v>42235</c:v>
                </c:pt>
                <c:pt idx="6542">
                  <c:v>42236</c:v>
                </c:pt>
                <c:pt idx="6543">
                  <c:v>42237</c:v>
                </c:pt>
                <c:pt idx="6544">
                  <c:v>42240</c:v>
                </c:pt>
                <c:pt idx="6545">
                  <c:v>42241</c:v>
                </c:pt>
                <c:pt idx="6546">
                  <c:v>42242</c:v>
                </c:pt>
                <c:pt idx="6547">
                  <c:v>42243</c:v>
                </c:pt>
                <c:pt idx="6548">
                  <c:v>42244</c:v>
                </c:pt>
                <c:pt idx="6549">
                  <c:v>42247</c:v>
                </c:pt>
                <c:pt idx="6550">
                  <c:v>42248</c:v>
                </c:pt>
                <c:pt idx="6551">
                  <c:v>42249</c:v>
                </c:pt>
                <c:pt idx="6552">
                  <c:v>42250</c:v>
                </c:pt>
                <c:pt idx="6553">
                  <c:v>42251</c:v>
                </c:pt>
                <c:pt idx="6554">
                  <c:v>42255</c:v>
                </c:pt>
                <c:pt idx="6555">
                  <c:v>42256</c:v>
                </c:pt>
                <c:pt idx="6556">
                  <c:v>42257</c:v>
                </c:pt>
                <c:pt idx="6557">
                  <c:v>42258</c:v>
                </c:pt>
                <c:pt idx="6558">
                  <c:v>42261</c:v>
                </c:pt>
                <c:pt idx="6559">
                  <c:v>42262</c:v>
                </c:pt>
                <c:pt idx="6560">
                  <c:v>42263</c:v>
                </c:pt>
                <c:pt idx="6561">
                  <c:v>42264</c:v>
                </c:pt>
                <c:pt idx="6562">
                  <c:v>42265</c:v>
                </c:pt>
                <c:pt idx="6563">
                  <c:v>42268</c:v>
                </c:pt>
                <c:pt idx="6564">
                  <c:v>42269</c:v>
                </c:pt>
                <c:pt idx="6565">
                  <c:v>42270</c:v>
                </c:pt>
                <c:pt idx="6566">
                  <c:v>42271</c:v>
                </c:pt>
                <c:pt idx="6567">
                  <c:v>42272</c:v>
                </c:pt>
                <c:pt idx="6568">
                  <c:v>42275</c:v>
                </c:pt>
                <c:pt idx="6569">
                  <c:v>42276</c:v>
                </c:pt>
                <c:pt idx="6570">
                  <c:v>42277</c:v>
                </c:pt>
                <c:pt idx="6571">
                  <c:v>42278</c:v>
                </c:pt>
                <c:pt idx="6572">
                  <c:v>42279</c:v>
                </c:pt>
                <c:pt idx="6573">
                  <c:v>42282</c:v>
                </c:pt>
                <c:pt idx="6574">
                  <c:v>42283</c:v>
                </c:pt>
                <c:pt idx="6575">
                  <c:v>42284</c:v>
                </c:pt>
                <c:pt idx="6576">
                  <c:v>42285</c:v>
                </c:pt>
                <c:pt idx="6577">
                  <c:v>42286</c:v>
                </c:pt>
                <c:pt idx="6578">
                  <c:v>42289</c:v>
                </c:pt>
                <c:pt idx="6579">
                  <c:v>42290</c:v>
                </c:pt>
                <c:pt idx="6580">
                  <c:v>42291</c:v>
                </c:pt>
                <c:pt idx="6581">
                  <c:v>42292</c:v>
                </c:pt>
                <c:pt idx="6582">
                  <c:v>42293</c:v>
                </c:pt>
                <c:pt idx="6583">
                  <c:v>42296</c:v>
                </c:pt>
                <c:pt idx="6584">
                  <c:v>42297</c:v>
                </c:pt>
                <c:pt idx="6585">
                  <c:v>42298</c:v>
                </c:pt>
                <c:pt idx="6586">
                  <c:v>42299</c:v>
                </c:pt>
                <c:pt idx="6587">
                  <c:v>42300</c:v>
                </c:pt>
                <c:pt idx="6588">
                  <c:v>42303</c:v>
                </c:pt>
                <c:pt idx="6589">
                  <c:v>42304</c:v>
                </c:pt>
                <c:pt idx="6590">
                  <c:v>42305</c:v>
                </c:pt>
                <c:pt idx="6591">
                  <c:v>42306</c:v>
                </c:pt>
                <c:pt idx="6592">
                  <c:v>42307</c:v>
                </c:pt>
                <c:pt idx="6593">
                  <c:v>42310</c:v>
                </c:pt>
                <c:pt idx="6594">
                  <c:v>42311</c:v>
                </c:pt>
                <c:pt idx="6595">
                  <c:v>42312</c:v>
                </c:pt>
                <c:pt idx="6596">
                  <c:v>42313</c:v>
                </c:pt>
                <c:pt idx="6597">
                  <c:v>42314</c:v>
                </c:pt>
                <c:pt idx="6598">
                  <c:v>42317</c:v>
                </c:pt>
                <c:pt idx="6599">
                  <c:v>42318</c:v>
                </c:pt>
                <c:pt idx="6600">
                  <c:v>42319</c:v>
                </c:pt>
                <c:pt idx="6601">
                  <c:v>42320</c:v>
                </c:pt>
                <c:pt idx="6602">
                  <c:v>42321</c:v>
                </c:pt>
                <c:pt idx="6603">
                  <c:v>42324</c:v>
                </c:pt>
                <c:pt idx="6604">
                  <c:v>42325</c:v>
                </c:pt>
                <c:pt idx="6605">
                  <c:v>42326</c:v>
                </c:pt>
                <c:pt idx="6606">
                  <c:v>42327</c:v>
                </c:pt>
                <c:pt idx="6607">
                  <c:v>42328</c:v>
                </c:pt>
                <c:pt idx="6608">
                  <c:v>42331</c:v>
                </c:pt>
                <c:pt idx="6609">
                  <c:v>42332</c:v>
                </c:pt>
                <c:pt idx="6610">
                  <c:v>42333</c:v>
                </c:pt>
                <c:pt idx="6611">
                  <c:v>42335</c:v>
                </c:pt>
                <c:pt idx="6612">
                  <c:v>42338</c:v>
                </c:pt>
                <c:pt idx="6613">
                  <c:v>42339</c:v>
                </c:pt>
                <c:pt idx="6614">
                  <c:v>42340</c:v>
                </c:pt>
                <c:pt idx="6615">
                  <c:v>42341</c:v>
                </c:pt>
                <c:pt idx="6616">
                  <c:v>42342</c:v>
                </c:pt>
                <c:pt idx="6617">
                  <c:v>42345</c:v>
                </c:pt>
                <c:pt idx="6618">
                  <c:v>42346</c:v>
                </c:pt>
                <c:pt idx="6619">
                  <c:v>42347</c:v>
                </c:pt>
                <c:pt idx="6620">
                  <c:v>42348</c:v>
                </c:pt>
                <c:pt idx="6621">
                  <c:v>42349</c:v>
                </c:pt>
                <c:pt idx="6622">
                  <c:v>42352</c:v>
                </c:pt>
                <c:pt idx="6623">
                  <c:v>42353</c:v>
                </c:pt>
                <c:pt idx="6624">
                  <c:v>42354</c:v>
                </c:pt>
                <c:pt idx="6625">
                  <c:v>42355</c:v>
                </c:pt>
                <c:pt idx="6626">
                  <c:v>42356</c:v>
                </c:pt>
                <c:pt idx="6627">
                  <c:v>42359</c:v>
                </c:pt>
                <c:pt idx="6628">
                  <c:v>42360</c:v>
                </c:pt>
                <c:pt idx="6629">
                  <c:v>42361</c:v>
                </c:pt>
                <c:pt idx="6630">
                  <c:v>42362</c:v>
                </c:pt>
                <c:pt idx="6631">
                  <c:v>42366</c:v>
                </c:pt>
                <c:pt idx="6632">
                  <c:v>42367</c:v>
                </c:pt>
                <c:pt idx="6633">
                  <c:v>42368</c:v>
                </c:pt>
                <c:pt idx="6634">
                  <c:v>42369</c:v>
                </c:pt>
                <c:pt idx="6635">
                  <c:v>42373</c:v>
                </c:pt>
                <c:pt idx="6636">
                  <c:v>42374</c:v>
                </c:pt>
                <c:pt idx="6637">
                  <c:v>42375</c:v>
                </c:pt>
                <c:pt idx="6638">
                  <c:v>42376</c:v>
                </c:pt>
                <c:pt idx="6639">
                  <c:v>42377</c:v>
                </c:pt>
                <c:pt idx="6640">
                  <c:v>42380</c:v>
                </c:pt>
                <c:pt idx="6641">
                  <c:v>42381</c:v>
                </c:pt>
                <c:pt idx="6642">
                  <c:v>42382</c:v>
                </c:pt>
                <c:pt idx="6643">
                  <c:v>42383</c:v>
                </c:pt>
                <c:pt idx="6644">
                  <c:v>42384</c:v>
                </c:pt>
                <c:pt idx="6645">
                  <c:v>42388</c:v>
                </c:pt>
                <c:pt idx="6646">
                  <c:v>42389</c:v>
                </c:pt>
                <c:pt idx="6647">
                  <c:v>42390</c:v>
                </c:pt>
                <c:pt idx="6648">
                  <c:v>42391</c:v>
                </c:pt>
                <c:pt idx="6649">
                  <c:v>42394</c:v>
                </c:pt>
                <c:pt idx="6650">
                  <c:v>42395</c:v>
                </c:pt>
                <c:pt idx="6651">
                  <c:v>42396</c:v>
                </c:pt>
                <c:pt idx="6652">
                  <c:v>42397</c:v>
                </c:pt>
                <c:pt idx="6653">
                  <c:v>42398</c:v>
                </c:pt>
                <c:pt idx="6654">
                  <c:v>42401</c:v>
                </c:pt>
                <c:pt idx="6655">
                  <c:v>42402</c:v>
                </c:pt>
                <c:pt idx="6656">
                  <c:v>42403</c:v>
                </c:pt>
                <c:pt idx="6657">
                  <c:v>42404</c:v>
                </c:pt>
                <c:pt idx="6658">
                  <c:v>42405</c:v>
                </c:pt>
                <c:pt idx="6659">
                  <c:v>42408</c:v>
                </c:pt>
                <c:pt idx="6660">
                  <c:v>42409</c:v>
                </c:pt>
                <c:pt idx="6661">
                  <c:v>42410</c:v>
                </c:pt>
                <c:pt idx="6662">
                  <c:v>42411</c:v>
                </c:pt>
                <c:pt idx="6663">
                  <c:v>42412</c:v>
                </c:pt>
                <c:pt idx="6664">
                  <c:v>42416</c:v>
                </c:pt>
                <c:pt idx="6665">
                  <c:v>42417</c:v>
                </c:pt>
                <c:pt idx="6666">
                  <c:v>42418</c:v>
                </c:pt>
                <c:pt idx="6667">
                  <c:v>42419</c:v>
                </c:pt>
                <c:pt idx="6668">
                  <c:v>42422</c:v>
                </c:pt>
                <c:pt idx="6669">
                  <c:v>42423</c:v>
                </c:pt>
                <c:pt idx="6670">
                  <c:v>42424</c:v>
                </c:pt>
                <c:pt idx="6671">
                  <c:v>42425</c:v>
                </c:pt>
                <c:pt idx="6672">
                  <c:v>42426</c:v>
                </c:pt>
                <c:pt idx="6673">
                  <c:v>42429</c:v>
                </c:pt>
                <c:pt idx="6674">
                  <c:v>42430</c:v>
                </c:pt>
                <c:pt idx="6675">
                  <c:v>42431</c:v>
                </c:pt>
                <c:pt idx="6676">
                  <c:v>42432</c:v>
                </c:pt>
                <c:pt idx="6677">
                  <c:v>42433</c:v>
                </c:pt>
                <c:pt idx="6678">
                  <c:v>42436</c:v>
                </c:pt>
                <c:pt idx="6679">
                  <c:v>42437</c:v>
                </c:pt>
                <c:pt idx="6680">
                  <c:v>42438</c:v>
                </c:pt>
                <c:pt idx="6681">
                  <c:v>42439</c:v>
                </c:pt>
                <c:pt idx="6682">
                  <c:v>42440</c:v>
                </c:pt>
                <c:pt idx="6683">
                  <c:v>42443</c:v>
                </c:pt>
                <c:pt idx="6684">
                  <c:v>42444</c:v>
                </c:pt>
                <c:pt idx="6685">
                  <c:v>42445</c:v>
                </c:pt>
                <c:pt idx="6686">
                  <c:v>42446</c:v>
                </c:pt>
                <c:pt idx="6687">
                  <c:v>42447</c:v>
                </c:pt>
                <c:pt idx="6688">
                  <c:v>42450</c:v>
                </c:pt>
                <c:pt idx="6689">
                  <c:v>42451</c:v>
                </c:pt>
                <c:pt idx="6690">
                  <c:v>42452</c:v>
                </c:pt>
                <c:pt idx="6691">
                  <c:v>42453</c:v>
                </c:pt>
                <c:pt idx="6692">
                  <c:v>42457</c:v>
                </c:pt>
                <c:pt idx="6693">
                  <c:v>42458</c:v>
                </c:pt>
                <c:pt idx="6694">
                  <c:v>42459</c:v>
                </c:pt>
                <c:pt idx="6695">
                  <c:v>42460</c:v>
                </c:pt>
                <c:pt idx="6696">
                  <c:v>42461</c:v>
                </c:pt>
                <c:pt idx="6697">
                  <c:v>42464</c:v>
                </c:pt>
                <c:pt idx="6698">
                  <c:v>42465</c:v>
                </c:pt>
                <c:pt idx="6699">
                  <c:v>42466</c:v>
                </c:pt>
                <c:pt idx="6700">
                  <c:v>42467</c:v>
                </c:pt>
                <c:pt idx="6701">
                  <c:v>42468</c:v>
                </c:pt>
                <c:pt idx="6702">
                  <c:v>42471</c:v>
                </c:pt>
                <c:pt idx="6703">
                  <c:v>42472</c:v>
                </c:pt>
                <c:pt idx="6704">
                  <c:v>42473</c:v>
                </c:pt>
                <c:pt idx="6705">
                  <c:v>42474</c:v>
                </c:pt>
                <c:pt idx="6706">
                  <c:v>42475</c:v>
                </c:pt>
                <c:pt idx="6707">
                  <c:v>42478</c:v>
                </c:pt>
                <c:pt idx="6708">
                  <c:v>42479</c:v>
                </c:pt>
                <c:pt idx="6709">
                  <c:v>42480</c:v>
                </c:pt>
                <c:pt idx="6710">
                  <c:v>42481</c:v>
                </c:pt>
                <c:pt idx="6711">
                  <c:v>42482</c:v>
                </c:pt>
                <c:pt idx="6712">
                  <c:v>42485</c:v>
                </c:pt>
                <c:pt idx="6713">
                  <c:v>42486</c:v>
                </c:pt>
                <c:pt idx="6714">
                  <c:v>42487</c:v>
                </c:pt>
                <c:pt idx="6715">
                  <c:v>42488</c:v>
                </c:pt>
                <c:pt idx="6716">
                  <c:v>42489</c:v>
                </c:pt>
                <c:pt idx="6717">
                  <c:v>42492</c:v>
                </c:pt>
                <c:pt idx="6718">
                  <c:v>42493</c:v>
                </c:pt>
                <c:pt idx="6719">
                  <c:v>42494</c:v>
                </c:pt>
                <c:pt idx="6720">
                  <c:v>42495</c:v>
                </c:pt>
                <c:pt idx="6721">
                  <c:v>42496</c:v>
                </c:pt>
                <c:pt idx="6722">
                  <c:v>42499</c:v>
                </c:pt>
                <c:pt idx="6723">
                  <c:v>42500</c:v>
                </c:pt>
                <c:pt idx="6724">
                  <c:v>42501</c:v>
                </c:pt>
                <c:pt idx="6725">
                  <c:v>42502</c:v>
                </c:pt>
                <c:pt idx="6726">
                  <c:v>42503</c:v>
                </c:pt>
                <c:pt idx="6727">
                  <c:v>42506</c:v>
                </c:pt>
                <c:pt idx="6728">
                  <c:v>42507</c:v>
                </c:pt>
                <c:pt idx="6729">
                  <c:v>42508</c:v>
                </c:pt>
                <c:pt idx="6730">
                  <c:v>42509</c:v>
                </c:pt>
                <c:pt idx="6731">
                  <c:v>42510</c:v>
                </c:pt>
                <c:pt idx="6732">
                  <c:v>42513</c:v>
                </c:pt>
                <c:pt idx="6733">
                  <c:v>42514</c:v>
                </c:pt>
                <c:pt idx="6734">
                  <c:v>42515</c:v>
                </c:pt>
                <c:pt idx="6735">
                  <c:v>42516</c:v>
                </c:pt>
                <c:pt idx="6736">
                  <c:v>42517</c:v>
                </c:pt>
                <c:pt idx="6737">
                  <c:v>42521</c:v>
                </c:pt>
                <c:pt idx="6738">
                  <c:v>42522</c:v>
                </c:pt>
                <c:pt idx="6739">
                  <c:v>42523</c:v>
                </c:pt>
                <c:pt idx="6740">
                  <c:v>42524</c:v>
                </c:pt>
                <c:pt idx="6741">
                  <c:v>42527</c:v>
                </c:pt>
                <c:pt idx="6742">
                  <c:v>42528</c:v>
                </c:pt>
                <c:pt idx="6743">
                  <c:v>42529</c:v>
                </c:pt>
                <c:pt idx="6744">
                  <c:v>42530</c:v>
                </c:pt>
                <c:pt idx="6745">
                  <c:v>42531</c:v>
                </c:pt>
                <c:pt idx="6746">
                  <c:v>42534</c:v>
                </c:pt>
                <c:pt idx="6747">
                  <c:v>42535</c:v>
                </c:pt>
                <c:pt idx="6748">
                  <c:v>42536</c:v>
                </c:pt>
                <c:pt idx="6749">
                  <c:v>42537</c:v>
                </c:pt>
                <c:pt idx="6750">
                  <c:v>42538</c:v>
                </c:pt>
                <c:pt idx="6751">
                  <c:v>42541</c:v>
                </c:pt>
                <c:pt idx="6752">
                  <c:v>42542</c:v>
                </c:pt>
                <c:pt idx="6753">
                  <c:v>42543</c:v>
                </c:pt>
                <c:pt idx="6754">
                  <c:v>42544</c:v>
                </c:pt>
                <c:pt idx="6755">
                  <c:v>42545</c:v>
                </c:pt>
                <c:pt idx="6756">
                  <c:v>42548</c:v>
                </c:pt>
                <c:pt idx="6757">
                  <c:v>42549</c:v>
                </c:pt>
                <c:pt idx="6758">
                  <c:v>42550</c:v>
                </c:pt>
                <c:pt idx="6759">
                  <c:v>42551</c:v>
                </c:pt>
                <c:pt idx="6760">
                  <c:v>42552</c:v>
                </c:pt>
                <c:pt idx="6761">
                  <c:v>42556</c:v>
                </c:pt>
                <c:pt idx="6762">
                  <c:v>42557</c:v>
                </c:pt>
                <c:pt idx="6763">
                  <c:v>42558</c:v>
                </c:pt>
                <c:pt idx="6764">
                  <c:v>42559</c:v>
                </c:pt>
                <c:pt idx="6765">
                  <c:v>42562</c:v>
                </c:pt>
                <c:pt idx="6766">
                  <c:v>42563</c:v>
                </c:pt>
                <c:pt idx="6767">
                  <c:v>42564</c:v>
                </c:pt>
                <c:pt idx="6768">
                  <c:v>42565</c:v>
                </c:pt>
                <c:pt idx="6769">
                  <c:v>42566</c:v>
                </c:pt>
                <c:pt idx="6770">
                  <c:v>42569</c:v>
                </c:pt>
                <c:pt idx="6771">
                  <c:v>42570</c:v>
                </c:pt>
                <c:pt idx="6772">
                  <c:v>42571</c:v>
                </c:pt>
                <c:pt idx="6773">
                  <c:v>42572</c:v>
                </c:pt>
                <c:pt idx="6774">
                  <c:v>42573</c:v>
                </c:pt>
                <c:pt idx="6775">
                  <c:v>42576</c:v>
                </c:pt>
                <c:pt idx="6776">
                  <c:v>42577</c:v>
                </c:pt>
                <c:pt idx="6777">
                  <c:v>42578</c:v>
                </c:pt>
                <c:pt idx="6778">
                  <c:v>42579</c:v>
                </c:pt>
                <c:pt idx="6779">
                  <c:v>42580</c:v>
                </c:pt>
                <c:pt idx="6780">
                  <c:v>42583</c:v>
                </c:pt>
                <c:pt idx="6781">
                  <c:v>42584</c:v>
                </c:pt>
                <c:pt idx="6782">
                  <c:v>42585</c:v>
                </c:pt>
                <c:pt idx="6783">
                  <c:v>42586</c:v>
                </c:pt>
                <c:pt idx="6784">
                  <c:v>42587</c:v>
                </c:pt>
                <c:pt idx="6785">
                  <c:v>42590</c:v>
                </c:pt>
                <c:pt idx="6786">
                  <c:v>42591</c:v>
                </c:pt>
                <c:pt idx="6787">
                  <c:v>42592</c:v>
                </c:pt>
                <c:pt idx="6788">
                  <c:v>42593</c:v>
                </c:pt>
                <c:pt idx="6789">
                  <c:v>42594</c:v>
                </c:pt>
                <c:pt idx="6790">
                  <c:v>42597</c:v>
                </c:pt>
                <c:pt idx="6791">
                  <c:v>42598</c:v>
                </c:pt>
                <c:pt idx="6792">
                  <c:v>42599</c:v>
                </c:pt>
                <c:pt idx="6793">
                  <c:v>42600</c:v>
                </c:pt>
                <c:pt idx="6794">
                  <c:v>42601</c:v>
                </c:pt>
                <c:pt idx="6795">
                  <c:v>42604</c:v>
                </c:pt>
                <c:pt idx="6796">
                  <c:v>42605</c:v>
                </c:pt>
                <c:pt idx="6797">
                  <c:v>42606</c:v>
                </c:pt>
                <c:pt idx="6798">
                  <c:v>42607</c:v>
                </c:pt>
                <c:pt idx="6799">
                  <c:v>42608</c:v>
                </c:pt>
                <c:pt idx="6800">
                  <c:v>42611</c:v>
                </c:pt>
                <c:pt idx="6801">
                  <c:v>42612</c:v>
                </c:pt>
                <c:pt idx="6802">
                  <c:v>42613</c:v>
                </c:pt>
                <c:pt idx="6803">
                  <c:v>42614</c:v>
                </c:pt>
                <c:pt idx="6804">
                  <c:v>42615</c:v>
                </c:pt>
                <c:pt idx="6805">
                  <c:v>42619</c:v>
                </c:pt>
                <c:pt idx="6806">
                  <c:v>42620</c:v>
                </c:pt>
                <c:pt idx="6807">
                  <c:v>42621</c:v>
                </c:pt>
                <c:pt idx="6808">
                  <c:v>42622</c:v>
                </c:pt>
                <c:pt idx="6809">
                  <c:v>42625</c:v>
                </c:pt>
                <c:pt idx="6810">
                  <c:v>42626</c:v>
                </c:pt>
                <c:pt idx="6811">
                  <c:v>42627</c:v>
                </c:pt>
                <c:pt idx="6812">
                  <c:v>42628</c:v>
                </c:pt>
                <c:pt idx="6813">
                  <c:v>42629</c:v>
                </c:pt>
                <c:pt idx="6814">
                  <c:v>42632</c:v>
                </c:pt>
                <c:pt idx="6815">
                  <c:v>42633</c:v>
                </c:pt>
                <c:pt idx="6816">
                  <c:v>42634</c:v>
                </c:pt>
                <c:pt idx="6817">
                  <c:v>42635</c:v>
                </c:pt>
                <c:pt idx="6818">
                  <c:v>42636</c:v>
                </c:pt>
                <c:pt idx="6819">
                  <c:v>42639</c:v>
                </c:pt>
                <c:pt idx="6820">
                  <c:v>42640</c:v>
                </c:pt>
                <c:pt idx="6821">
                  <c:v>42641</c:v>
                </c:pt>
                <c:pt idx="6822">
                  <c:v>42642</c:v>
                </c:pt>
                <c:pt idx="6823">
                  <c:v>42643</c:v>
                </c:pt>
                <c:pt idx="6824">
                  <c:v>42646</c:v>
                </c:pt>
                <c:pt idx="6825">
                  <c:v>42647</c:v>
                </c:pt>
                <c:pt idx="6826">
                  <c:v>42648</c:v>
                </c:pt>
                <c:pt idx="6827">
                  <c:v>42649</c:v>
                </c:pt>
                <c:pt idx="6828">
                  <c:v>42650</c:v>
                </c:pt>
                <c:pt idx="6829">
                  <c:v>42653</c:v>
                </c:pt>
                <c:pt idx="6830">
                  <c:v>42654</c:v>
                </c:pt>
                <c:pt idx="6831">
                  <c:v>42655</c:v>
                </c:pt>
                <c:pt idx="6832">
                  <c:v>42656</c:v>
                </c:pt>
                <c:pt idx="6833">
                  <c:v>42657</c:v>
                </c:pt>
                <c:pt idx="6834">
                  <c:v>42660</c:v>
                </c:pt>
                <c:pt idx="6835">
                  <c:v>42661</c:v>
                </c:pt>
                <c:pt idx="6836">
                  <c:v>42662</c:v>
                </c:pt>
                <c:pt idx="6837">
                  <c:v>42663</c:v>
                </c:pt>
                <c:pt idx="6838">
                  <c:v>42664</c:v>
                </c:pt>
                <c:pt idx="6839">
                  <c:v>42667</c:v>
                </c:pt>
                <c:pt idx="6840">
                  <c:v>42668</c:v>
                </c:pt>
                <c:pt idx="6841">
                  <c:v>42669</c:v>
                </c:pt>
                <c:pt idx="6842">
                  <c:v>42670</c:v>
                </c:pt>
                <c:pt idx="6843">
                  <c:v>42671</c:v>
                </c:pt>
                <c:pt idx="6844">
                  <c:v>42674</c:v>
                </c:pt>
                <c:pt idx="6845">
                  <c:v>42675</c:v>
                </c:pt>
                <c:pt idx="6846">
                  <c:v>42676</c:v>
                </c:pt>
                <c:pt idx="6847">
                  <c:v>42677</c:v>
                </c:pt>
                <c:pt idx="6848">
                  <c:v>42678</c:v>
                </c:pt>
                <c:pt idx="6849">
                  <c:v>42681</c:v>
                </c:pt>
                <c:pt idx="6850">
                  <c:v>42682</c:v>
                </c:pt>
                <c:pt idx="6851">
                  <c:v>42683</c:v>
                </c:pt>
                <c:pt idx="6852">
                  <c:v>42684</c:v>
                </c:pt>
                <c:pt idx="6853">
                  <c:v>42685</c:v>
                </c:pt>
                <c:pt idx="6854">
                  <c:v>42688</c:v>
                </c:pt>
                <c:pt idx="6855">
                  <c:v>42689</c:v>
                </c:pt>
                <c:pt idx="6856">
                  <c:v>42690</c:v>
                </c:pt>
                <c:pt idx="6857">
                  <c:v>42691</c:v>
                </c:pt>
                <c:pt idx="6858">
                  <c:v>42692</c:v>
                </c:pt>
                <c:pt idx="6859">
                  <c:v>42695</c:v>
                </c:pt>
                <c:pt idx="6860">
                  <c:v>42696</c:v>
                </c:pt>
                <c:pt idx="6861">
                  <c:v>42697</c:v>
                </c:pt>
                <c:pt idx="6862">
                  <c:v>42699</c:v>
                </c:pt>
                <c:pt idx="6863">
                  <c:v>42702</c:v>
                </c:pt>
                <c:pt idx="6864">
                  <c:v>42703</c:v>
                </c:pt>
                <c:pt idx="6865">
                  <c:v>42704</c:v>
                </c:pt>
                <c:pt idx="6866">
                  <c:v>42705</c:v>
                </c:pt>
                <c:pt idx="6867">
                  <c:v>42706</c:v>
                </c:pt>
                <c:pt idx="6868">
                  <c:v>42709</c:v>
                </c:pt>
                <c:pt idx="6869">
                  <c:v>42710</c:v>
                </c:pt>
                <c:pt idx="6870">
                  <c:v>42711</c:v>
                </c:pt>
                <c:pt idx="6871">
                  <c:v>42712</c:v>
                </c:pt>
                <c:pt idx="6872">
                  <c:v>42713</c:v>
                </c:pt>
                <c:pt idx="6873">
                  <c:v>42716</c:v>
                </c:pt>
                <c:pt idx="6874">
                  <c:v>42717</c:v>
                </c:pt>
                <c:pt idx="6875">
                  <c:v>42718</c:v>
                </c:pt>
                <c:pt idx="6876">
                  <c:v>42719</c:v>
                </c:pt>
                <c:pt idx="6877">
                  <c:v>42720</c:v>
                </c:pt>
                <c:pt idx="6878">
                  <c:v>42723</c:v>
                </c:pt>
                <c:pt idx="6879">
                  <c:v>42724</c:v>
                </c:pt>
                <c:pt idx="6880">
                  <c:v>42725</c:v>
                </c:pt>
                <c:pt idx="6881">
                  <c:v>42726</c:v>
                </c:pt>
                <c:pt idx="6882">
                  <c:v>42727</c:v>
                </c:pt>
                <c:pt idx="6883">
                  <c:v>42731</c:v>
                </c:pt>
                <c:pt idx="6884">
                  <c:v>42732</c:v>
                </c:pt>
                <c:pt idx="6885">
                  <c:v>42733</c:v>
                </c:pt>
                <c:pt idx="6886">
                  <c:v>42734</c:v>
                </c:pt>
                <c:pt idx="6887">
                  <c:v>42738</c:v>
                </c:pt>
                <c:pt idx="6888">
                  <c:v>42739</c:v>
                </c:pt>
                <c:pt idx="6889">
                  <c:v>42740</c:v>
                </c:pt>
                <c:pt idx="6890">
                  <c:v>42741</c:v>
                </c:pt>
                <c:pt idx="6891">
                  <c:v>42744</c:v>
                </c:pt>
                <c:pt idx="6892">
                  <c:v>42745</c:v>
                </c:pt>
                <c:pt idx="6893">
                  <c:v>42746</c:v>
                </c:pt>
                <c:pt idx="6894">
                  <c:v>42747</c:v>
                </c:pt>
                <c:pt idx="6895">
                  <c:v>42748</c:v>
                </c:pt>
                <c:pt idx="6896">
                  <c:v>42752</c:v>
                </c:pt>
                <c:pt idx="6897">
                  <c:v>42753</c:v>
                </c:pt>
                <c:pt idx="6898">
                  <c:v>42754</c:v>
                </c:pt>
                <c:pt idx="6899">
                  <c:v>42755</c:v>
                </c:pt>
                <c:pt idx="6900">
                  <c:v>42758</c:v>
                </c:pt>
                <c:pt idx="6901">
                  <c:v>42759</c:v>
                </c:pt>
                <c:pt idx="6902">
                  <c:v>42760</c:v>
                </c:pt>
                <c:pt idx="6903">
                  <c:v>42761</c:v>
                </c:pt>
                <c:pt idx="6904">
                  <c:v>42762</c:v>
                </c:pt>
                <c:pt idx="6905">
                  <c:v>42765</c:v>
                </c:pt>
                <c:pt idx="6906">
                  <c:v>42766</c:v>
                </c:pt>
                <c:pt idx="6907">
                  <c:v>42767</c:v>
                </c:pt>
                <c:pt idx="6908">
                  <c:v>42768</c:v>
                </c:pt>
                <c:pt idx="6909">
                  <c:v>42769</c:v>
                </c:pt>
                <c:pt idx="6910">
                  <c:v>42772</c:v>
                </c:pt>
                <c:pt idx="6911">
                  <c:v>42773</c:v>
                </c:pt>
                <c:pt idx="6912">
                  <c:v>42774</c:v>
                </c:pt>
                <c:pt idx="6913">
                  <c:v>42775</c:v>
                </c:pt>
                <c:pt idx="6914">
                  <c:v>42776</c:v>
                </c:pt>
                <c:pt idx="6915">
                  <c:v>42779</c:v>
                </c:pt>
                <c:pt idx="6916">
                  <c:v>42780</c:v>
                </c:pt>
                <c:pt idx="6917">
                  <c:v>42781</c:v>
                </c:pt>
                <c:pt idx="6918">
                  <c:v>42782</c:v>
                </c:pt>
                <c:pt idx="6919">
                  <c:v>42783</c:v>
                </c:pt>
                <c:pt idx="6920">
                  <c:v>42787</c:v>
                </c:pt>
                <c:pt idx="6921">
                  <c:v>42788</c:v>
                </c:pt>
                <c:pt idx="6922">
                  <c:v>42789</c:v>
                </c:pt>
                <c:pt idx="6923">
                  <c:v>42790</c:v>
                </c:pt>
                <c:pt idx="6924">
                  <c:v>42793</c:v>
                </c:pt>
                <c:pt idx="6925">
                  <c:v>42794</c:v>
                </c:pt>
                <c:pt idx="6926">
                  <c:v>42795</c:v>
                </c:pt>
                <c:pt idx="6927">
                  <c:v>42796</c:v>
                </c:pt>
                <c:pt idx="6928">
                  <c:v>42797</c:v>
                </c:pt>
                <c:pt idx="6929">
                  <c:v>42800</c:v>
                </c:pt>
                <c:pt idx="6930">
                  <c:v>42801</c:v>
                </c:pt>
                <c:pt idx="6931">
                  <c:v>42802</c:v>
                </c:pt>
                <c:pt idx="6932">
                  <c:v>42803</c:v>
                </c:pt>
                <c:pt idx="6933">
                  <c:v>42804</c:v>
                </c:pt>
                <c:pt idx="6934">
                  <c:v>42807</c:v>
                </c:pt>
                <c:pt idx="6935">
                  <c:v>42808</c:v>
                </c:pt>
                <c:pt idx="6936">
                  <c:v>42809</c:v>
                </c:pt>
                <c:pt idx="6937">
                  <c:v>42810</c:v>
                </c:pt>
                <c:pt idx="6938">
                  <c:v>42811</c:v>
                </c:pt>
                <c:pt idx="6939">
                  <c:v>42814</c:v>
                </c:pt>
                <c:pt idx="6940">
                  <c:v>42815</c:v>
                </c:pt>
                <c:pt idx="6941">
                  <c:v>42816</c:v>
                </c:pt>
                <c:pt idx="6942">
                  <c:v>42817</c:v>
                </c:pt>
                <c:pt idx="6943">
                  <c:v>42818</c:v>
                </c:pt>
                <c:pt idx="6944">
                  <c:v>42821</c:v>
                </c:pt>
                <c:pt idx="6945">
                  <c:v>42822</c:v>
                </c:pt>
                <c:pt idx="6946">
                  <c:v>42823</c:v>
                </c:pt>
                <c:pt idx="6947">
                  <c:v>42824</c:v>
                </c:pt>
                <c:pt idx="6948">
                  <c:v>42825</c:v>
                </c:pt>
                <c:pt idx="6949">
                  <c:v>42828</c:v>
                </c:pt>
                <c:pt idx="6950">
                  <c:v>42829</c:v>
                </c:pt>
                <c:pt idx="6951">
                  <c:v>42830</c:v>
                </c:pt>
                <c:pt idx="6952">
                  <c:v>42831</c:v>
                </c:pt>
                <c:pt idx="6953">
                  <c:v>42832</c:v>
                </c:pt>
                <c:pt idx="6954">
                  <c:v>42835</c:v>
                </c:pt>
                <c:pt idx="6955">
                  <c:v>42836</c:v>
                </c:pt>
                <c:pt idx="6956">
                  <c:v>42837</c:v>
                </c:pt>
                <c:pt idx="6957">
                  <c:v>42838</c:v>
                </c:pt>
                <c:pt idx="6958">
                  <c:v>42842</c:v>
                </c:pt>
                <c:pt idx="6959">
                  <c:v>42843</c:v>
                </c:pt>
                <c:pt idx="6960">
                  <c:v>42844</c:v>
                </c:pt>
                <c:pt idx="6961">
                  <c:v>42845</c:v>
                </c:pt>
                <c:pt idx="6962">
                  <c:v>42846</c:v>
                </c:pt>
                <c:pt idx="6963">
                  <c:v>42849</c:v>
                </c:pt>
                <c:pt idx="6964">
                  <c:v>42850</c:v>
                </c:pt>
                <c:pt idx="6965">
                  <c:v>42851</c:v>
                </c:pt>
                <c:pt idx="6966">
                  <c:v>42852</c:v>
                </c:pt>
                <c:pt idx="6967">
                  <c:v>42853</c:v>
                </c:pt>
                <c:pt idx="6968">
                  <c:v>42856</c:v>
                </c:pt>
                <c:pt idx="6969">
                  <c:v>42857</c:v>
                </c:pt>
                <c:pt idx="6970">
                  <c:v>42858</c:v>
                </c:pt>
                <c:pt idx="6971">
                  <c:v>42859</c:v>
                </c:pt>
                <c:pt idx="6972">
                  <c:v>42860</c:v>
                </c:pt>
                <c:pt idx="6973">
                  <c:v>42863</c:v>
                </c:pt>
                <c:pt idx="6974">
                  <c:v>42864</c:v>
                </c:pt>
                <c:pt idx="6975">
                  <c:v>42865</c:v>
                </c:pt>
                <c:pt idx="6976">
                  <c:v>42866</c:v>
                </c:pt>
                <c:pt idx="6977">
                  <c:v>42867</c:v>
                </c:pt>
                <c:pt idx="6978">
                  <c:v>42870</c:v>
                </c:pt>
                <c:pt idx="6979">
                  <c:v>42871</c:v>
                </c:pt>
                <c:pt idx="6980">
                  <c:v>42872</c:v>
                </c:pt>
                <c:pt idx="6981">
                  <c:v>42873</c:v>
                </c:pt>
                <c:pt idx="6982">
                  <c:v>42874</c:v>
                </c:pt>
                <c:pt idx="6983">
                  <c:v>42877</c:v>
                </c:pt>
                <c:pt idx="6984">
                  <c:v>42878</c:v>
                </c:pt>
                <c:pt idx="6985">
                  <c:v>42879</c:v>
                </c:pt>
                <c:pt idx="6986">
                  <c:v>42880</c:v>
                </c:pt>
                <c:pt idx="6987">
                  <c:v>42881</c:v>
                </c:pt>
                <c:pt idx="6988">
                  <c:v>42885</c:v>
                </c:pt>
                <c:pt idx="6989">
                  <c:v>42886</c:v>
                </c:pt>
                <c:pt idx="6990">
                  <c:v>42887</c:v>
                </c:pt>
                <c:pt idx="6991">
                  <c:v>42888</c:v>
                </c:pt>
                <c:pt idx="6992">
                  <c:v>42891</c:v>
                </c:pt>
                <c:pt idx="6993">
                  <c:v>42892</c:v>
                </c:pt>
                <c:pt idx="6994">
                  <c:v>42893</c:v>
                </c:pt>
                <c:pt idx="6995">
                  <c:v>42894</c:v>
                </c:pt>
                <c:pt idx="6996">
                  <c:v>42895</c:v>
                </c:pt>
                <c:pt idx="6997">
                  <c:v>42898</c:v>
                </c:pt>
                <c:pt idx="6998">
                  <c:v>42899</c:v>
                </c:pt>
                <c:pt idx="6999">
                  <c:v>42900</c:v>
                </c:pt>
                <c:pt idx="7000">
                  <c:v>42901</c:v>
                </c:pt>
                <c:pt idx="7001">
                  <c:v>42902</c:v>
                </c:pt>
                <c:pt idx="7002">
                  <c:v>42905</c:v>
                </c:pt>
                <c:pt idx="7003">
                  <c:v>42906</c:v>
                </c:pt>
                <c:pt idx="7004">
                  <c:v>42907</c:v>
                </c:pt>
                <c:pt idx="7005">
                  <c:v>42908</c:v>
                </c:pt>
                <c:pt idx="7006">
                  <c:v>42909</c:v>
                </c:pt>
                <c:pt idx="7007">
                  <c:v>42912</c:v>
                </c:pt>
                <c:pt idx="7008">
                  <c:v>42913</c:v>
                </c:pt>
                <c:pt idx="7009">
                  <c:v>42914</c:v>
                </c:pt>
                <c:pt idx="7010">
                  <c:v>42915</c:v>
                </c:pt>
                <c:pt idx="7011">
                  <c:v>42916</c:v>
                </c:pt>
                <c:pt idx="7012">
                  <c:v>42919</c:v>
                </c:pt>
                <c:pt idx="7013">
                  <c:v>42921</c:v>
                </c:pt>
                <c:pt idx="7014">
                  <c:v>42922</c:v>
                </c:pt>
                <c:pt idx="7015">
                  <c:v>42923</c:v>
                </c:pt>
                <c:pt idx="7016">
                  <c:v>42926</c:v>
                </c:pt>
                <c:pt idx="7017">
                  <c:v>42927</c:v>
                </c:pt>
                <c:pt idx="7018">
                  <c:v>42928</c:v>
                </c:pt>
                <c:pt idx="7019">
                  <c:v>42929</c:v>
                </c:pt>
                <c:pt idx="7020">
                  <c:v>42930</c:v>
                </c:pt>
                <c:pt idx="7021">
                  <c:v>42933</c:v>
                </c:pt>
                <c:pt idx="7022">
                  <c:v>42934</c:v>
                </c:pt>
                <c:pt idx="7023">
                  <c:v>42935</c:v>
                </c:pt>
                <c:pt idx="7024">
                  <c:v>42936</c:v>
                </c:pt>
                <c:pt idx="7025">
                  <c:v>42937</c:v>
                </c:pt>
                <c:pt idx="7026">
                  <c:v>42940</c:v>
                </c:pt>
                <c:pt idx="7027">
                  <c:v>42941</c:v>
                </c:pt>
                <c:pt idx="7028">
                  <c:v>42942</c:v>
                </c:pt>
                <c:pt idx="7029">
                  <c:v>42943</c:v>
                </c:pt>
                <c:pt idx="7030">
                  <c:v>42944</c:v>
                </c:pt>
                <c:pt idx="7031">
                  <c:v>42947</c:v>
                </c:pt>
                <c:pt idx="7032">
                  <c:v>42948</c:v>
                </c:pt>
                <c:pt idx="7033">
                  <c:v>42949</c:v>
                </c:pt>
                <c:pt idx="7034">
                  <c:v>42950</c:v>
                </c:pt>
                <c:pt idx="7035">
                  <c:v>42951</c:v>
                </c:pt>
                <c:pt idx="7036">
                  <c:v>42954</c:v>
                </c:pt>
                <c:pt idx="7037">
                  <c:v>42955</c:v>
                </c:pt>
                <c:pt idx="7038">
                  <c:v>42956</c:v>
                </c:pt>
                <c:pt idx="7039">
                  <c:v>42957</c:v>
                </c:pt>
                <c:pt idx="7040">
                  <c:v>42958</c:v>
                </c:pt>
                <c:pt idx="7041">
                  <c:v>42961</c:v>
                </c:pt>
                <c:pt idx="7042">
                  <c:v>42962</c:v>
                </c:pt>
                <c:pt idx="7043">
                  <c:v>42963</c:v>
                </c:pt>
                <c:pt idx="7044">
                  <c:v>42964</c:v>
                </c:pt>
                <c:pt idx="7045">
                  <c:v>42965</c:v>
                </c:pt>
                <c:pt idx="7046">
                  <c:v>42968</c:v>
                </c:pt>
                <c:pt idx="7047">
                  <c:v>42969</c:v>
                </c:pt>
                <c:pt idx="7048">
                  <c:v>42970</c:v>
                </c:pt>
                <c:pt idx="7049">
                  <c:v>42971</c:v>
                </c:pt>
                <c:pt idx="7050">
                  <c:v>42972</c:v>
                </c:pt>
                <c:pt idx="7051">
                  <c:v>42975</c:v>
                </c:pt>
                <c:pt idx="7052">
                  <c:v>42976</c:v>
                </c:pt>
                <c:pt idx="7053">
                  <c:v>42977</c:v>
                </c:pt>
                <c:pt idx="7054">
                  <c:v>42978</c:v>
                </c:pt>
                <c:pt idx="7055">
                  <c:v>42979</c:v>
                </c:pt>
                <c:pt idx="7056">
                  <c:v>42983</c:v>
                </c:pt>
                <c:pt idx="7057">
                  <c:v>42984</c:v>
                </c:pt>
                <c:pt idx="7058">
                  <c:v>42985</c:v>
                </c:pt>
                <c:pt idx="7059">
                  <c:v>42986</c:v>
                </c:pt>
                <c:pt idx="7060">
                  <c:v>42989</c:v>
                </c:pt>
                <c:pt idx="7061">
                  <c:v>42990</c:v>
                </c:pt>
                <c:pt idx="7062">
                  <c:v>42991</c:v>
                </c:pt>
                <c:pt idx="7063">
                  <c:v>42992</c:v>
                </c:pt>
                <c:pt idx="7064">
                  <c:v>42993</c:v>
                </c:pt>
                <c:pt idx="7065">
                  <c:v>42996</c:v>
                </c:pt>
                <c:pt idx="7066">
                  <c:v>42997</c:v>
                </c:pt>
                <c:pt idx="7067">
                  <c:v>42998</c:v>
                </c:pt>
                <c:pt idx="7068">
                  <c:v>42999</c:v>
                </c:pt>
                <c:pt idx="7069">
                  <c:v>43000</c:v>
                </c:pt>
                <c:pt idx="7070">
                  <c:v>43003</c:v>
                </c:pt>
                <c:pt idx="7071">
                  <c:v>43004</c:v>
                </c:pt>
                <c:pt idx="7072">
                  <c:v>43005</c:v>
                </c:pt>
                <c:pt idx="7073">
                  <c:v>43006</c:v>
                </c:pt>
                <c:pt idx="7074">
                  <c:v>43007</c:v>
                </c:pt>
                <c:pt idx="7075">
                  <c:v>43010</c:v>
                </c:pt>
                <c:pt idx="7076">
                  <c:v>43011</c:v>
                </c:pt>
                <c:pt idx="7077">
                  <c:v>43012</c:v>
                </c:pt>
                <c:pt idx="7078">
                  <c:v>43013</c:v>
                </c:pt>
                <c:pt idx="7079">
                  <c:v>43014</c:v>
                </c:pt>
                <c:pt idx="7080">
                  <c:v>43017</c:v>
                </c:pt>
                <c:pt idx="7081">
                  <c:v>43018</c:v>
                </c:pt>
                <c:pt idx="7082">
                  <c:v>43019</c:v>
                </c:pt>
                <c:pt idx="7083">
                  <c:v>43020</c:v>
                </c:pt>
                <c:pt idx="7084">
                  <c:v>43021</c:v>
                </c:pt>
                <c:pt idx="7085">
                  <c:v>43024</c:v>
                </c:pt>
                <c:pt idx="7086">
                  <c:v>43025</c:v>
                </c:pt>
                <c:pt idx="7087">
                  <c:v>43026</c:v>
                </c:pt>
                <c:pt idx="7088">
                  <c:v>43027</c:v>
                </c:pt>
                <c:pt idx="7089">
                  <c:v>43028</c:v>
                </c:pt>
                <c:pt idx="7090">
                  <c:v>43031</c:v>
                </c:pt>
                <c:pt idx="7091">
                  <c:v>43032</c:v>
                </c:pt>
                <c:pt idx="7092">
                  <c:v>43033</c:v>
                </c:pt>
                <c:pt idx="7093">
                  <c:v>43034</c:v>
                </c:pt>
                <c:pt idx="7094">
                  <c:v>43035</c:v>
                </c:pt>
                <c:pt idx="7095">
                  <c:v>43038</c:v>
                </c:pt>
                <c:pt idx="7096">
                  <c:v>43039</c:v>
                </c:pt>
                <c:pt idx="7097">
                  <c:v>43040</c:v>
                </c:pt>
                <c:pt idx="7098">
                  <c:v>43041</c:v>
                </c:pt>
                <c:pt idx="7099">
                  <c:v>43042</c:v>
                </c:pt>
                <c:pt idx="7100">
                  <c:v>43045</c:v>
                </c:pt>
                <c:pt idx="7101">
                  <c:v>43046</c:v>
                </c:pt>
                <c:pt idx="7102">
                  <c:v>43047</c:v>
                </c:pt>
                <c:pt idx="7103">
                  <c:v>43048</c:v>
                </c:pt>
                <c:pt idx="7104">
                  <c:v>43049</c:v>
                </c:pt>
                <c:pt idx="7105">
                  <c:v>43052</c:v>
                </c:pt>
                <c:pt idx="7106">
                  <c:v>43053</c:v>
                </c:pt>
                <c:pt idx="7107">
                  <c:v>43054</c:v>
                </c:pt>
                <c:pt idx="7108">
                  <c:v>43055</c:v>
                </c:pt>
                <c:pt idx="7109">
                  <c:v>43056</c:v>
                </c:pt>
                <c:pt idx="7110">
                  <c:v>43059</c:v>
                </c:pt>
                <c:pt idx="7111">
                  <c:v>43060</c:v>
                </c:pt>
                <c:pt idx="7112">
                  <c:v>43061</c:v>
                </c:pt>
                <c:pt idx="7113">
                  <c:v>43063</c:v>
                </c:pt>
                <c:pt idx="7114">
                  <c:v>43066</c:v>
                </c:pt>
                <c:pt idx="7115">
                  <c:v>43067</c:v>
                </c:pt>
                <c:pt idx="7116">
                  <c:v>43068</c:v>
                </c:pt>
                <c:pt idx="7117">
                  <c:v>43069</c:v>
                </c:pt>
                <c:pt idx="7118">
                  <c:v>43070</c:v>
                </c:pt>
                <c:pt idx="7119">
                  <c:v>43073</c:v>
                </c:pt>
                <c:pt idx="7120">
                  <c:v>43074</c:v>
                </c:pt>
                <c:pt idx="7121">
                  <c:v>43075</c:v>
                </c:pt>
                <c:pt idx="7122">
                  <c:v>43076</c:v>
                </c:pt>
                <c:pt idx="7123">
                  <c:v>43077</c:v>
                </c:pt>
                <c:pt idx="7124">
                  <c:v>43080</c:v>
                </c:pt>
                <c:pt idx="7125">
                  <c:v>43081</c:v>
                </c:pt>
                <c:pt idx="7126">
                  <c:v>43082</c:v>
                </c:pt>
                <c:pt idx="7127">
                  <c:v>43083</c:v>
                </c:pt>
                <c:pt idx="7128">
                  <c:v>43084</c:v>
                </c:pt>
                <c:pt idx="7129">
                  <c:v>43087</c:v>
                </c:pt>
                <c:pt idx="7130">
                  <c:v>43088</c:v>
                </c:pt>
                <c:pt idx="7131">
                  <c:v>43089</c:v>
                </c:pt>
                <c:pt idx="7132">
                  <c:v>43090</c:v>
                </c:pt>
                <c:pt idx="7133">
                  <c:v>43091</c:v>
                </c:pt>
                <c:pt idx="7134">
                  <c:v>43095</c:v>
                </c:pt>
                <c:pt idx="7135">
                  <c:v>43096</c:v>
                </c:pt>
                <c:pt idx="7136">
                  <c:v>43097</c:v>
                </c:pt>
                <c:pt idx="7137">
                  <c:v>43098</c:v>
                </c:pt>
                <c:pt idx="7138">
                  <c:v>43102</c:v>
                </c:pt>
                <c:pt idx="7139">
                  <c:v>43103</c:v>
                </c:pt>
                <c:pt idx="7140">
                  <c:v>43104</c:v>
                </c:pt>
                <c:pt idx="7141">
                  <c:v>43105</c:v>
                </c:pt>
                <c:pt idx="7142">
                  <c:v>43108</c:v>
                </c:pt>
                <c:pt idx="7143">
                  <c:v>43109</c:v>
                </c:pt>
                <c:pt idx="7144">
                  <c:v>43110</c:v>
                </c:pt>
                <c:pt idx="7145">
                  <c:v>43111</c:v>
                </c:pt>
                <c:pt idx="7146">
                  <c:v>43112</c:v>
                </c:pt>
                <c:pt idx="7147">
                  <c:v>43116</c:v>
                </c:pt>
                <c:pt idx="7148">
                  <c:v>43117</c:v>
                </c:pt>
                <c:pt idx="7149">
                  <c:v>43118</c:v>
                </c:pt>
                <c:pt idx="7150">
                  <c:v>43119</c:v>
                </c:pt>
                <c:pt idx="7151">
                  <c:v>43122</c:v>
                </c:pt>
                <c:pt idx="7152">
                  <c:v>43123</c:v>
                </c:pt>
                <c:pt idx="7153">
                  <c:v>43124</c:v>
                </c:pt>
                <c:pt idx="7154">
                  <c:v>43125</c:v>
                </c:pt>
                <c:pt idx="7155">
                  <c:v>43126</c:v>
                </c:pt>
                <c:pt idx="7156">
                  <c:v>43129</c:v>
                </c:pt>
                <c:pt idx="7157">
                  <c:v>43130</c:v>
                </c:pt>
                <c:pt idx="7158">
                  <c:v>43131</c:v>
                </c:pt>
                <c:pt idx="7159">
                  <c:v>43132</c:v>
                </c:pt>
                <c:pt idx="7160">
                  <c:v>43133</c:v>
                </c:pt>
                <c:pt idx="7161">
                  <c:v>43136</c:v>
                </c:pt>
                <c:pt idx="7162">
                  <c:v>43137</c:v>
                </c:pt>
                <c:pt idx="7163">
                  <c:v>43138</c:v>
                </c:pt>
                <c:pt idx="7164">
                  <c:v>43139</c:v>
                </c:pt>
                <c:pt idx="7165">
                  <c:v>43140</c:v>
                </c:pt>
                <c:pt idx="7166">
                  <c:v>43143</c:v>
                </c:pt>
                <c:pt idx="7167">
                  <c:v>43144</c:v>
                </c:pt>
                <c:pt idx="7168">
                  <c:v>43145</c:v>
                </c:pt>
                <c:pt idx="7169">
                  <c:v>43146</c:v>
                </c:pt>
                <c:pt idx="7170">
                  <c:v>43147</c:v>
                </c:pt>
                <c:pt idx="7171">
                  <c:v>43151</c:v>
                </c:pt>
                <c:pt idx="7172">
                  <c:v>43152</c:v>
                </c:pt>
                <c:pt idx="7173">
                  <c:v>43153</c:v>
                </c:pt>
                <c:pt idx="7174">
                  <c:v>43154</c:v>
                </c:pt>
                <c:pt idx="7175">
                  <c:v>43157</c:v>
                </c:pt>
                <c:pt idx="7176">
                  <c:v>43158</c:v>
                </c:pt>
                <c:pt idx="7177">
                  <c:v>43159</c:v>
                </c:pt>
                <c:pt idx="7178">
                  <c:v>43160</c:v>
                </c:pt>
                <c:pt idx="7179">
                  <c:v>43161</c:v>
                </c:pt>
                <c:pt idx="7180">
                  <c:v>43164</c:v>
                </c:pt>
                <c:pt idx="7181">
                  <c:v>43165</c:v>
                </c:pt>
                <c:pt idx="7182">
                  <c:v>43166</c:v>
                </c:pt>
                <c:pt idx="7183">
                  <c:v>43167</c:v>
                </c:pt>
                <c:pt idx="7184">
                  <c:v>43168</c:v>
                </c:pt>
                <c:pt idx="7185">
                  <c:v>43171</c:v>
                </c:pt>
                <c:pt idx="7186">
                  <c:v>43172</c:v>
                </c:pt>
                <c:pt idx="7187">
                  <c:v>43173</c:v>
                </c:pt>
                <c:pt idx="7188">
                  <c:v>43174</c:v>
                </c:pt>
                <c:pt idx="7189">
                  <c:v>43175</c:v>
                </c:pt>
                <c:pt idx="7190">
                  <c:v>43178</c:v>
                </c:pt>
                <c:pt idx="7191">
                  <c:v>43179</c:v>
                </c:pt>
                <c:pt idx="7192">
                  <c:v>43180</c:v>
                </c:pt>
                <c:pt idx="7193">
                  <c:v>43181</c:v>
                </c:pt>
                <c:pt idx="7194">
                  <c:v>43182</c:v>
                </c:pt>
                <c:pt idx="7195">
                  <c:v>43185</c:v>
                </c:pt>
                <c:pt idx="7196">
                  <c:v>43186</c:v>
                </c:pt>
                <c:pt idx="7197">
                  <c:v>43187</c:v>
                </c:pt>
                <c:pt idx="7198">
                  <c:v>43188</c:v>
                </c:pt>
                <c:pt idx="7199">
                  <c:v>43192</c:v>
                </c:pt>
                <c:pt idx="7200">
                  <c:v>43193</c:v>
                </c:pt>
                <c:pt idx="7201">
                  <c:v>43194</c:v>
                </c:pt>
                <c:pt idx="7202">
                  <c:v>43195</c:v>
                </c:pt>
                <c:pt idx="7203">
                  <c:v>43196</c:v>
                </c:pt>
                <c:pt idx="7204">
                  <c:v>43199</c:v>
                </c:pt>
                <c:pt idx="7205">
                  <c:v>43200</c:v>
                </c:pt>
                <c:pt idx="7206">
                  <c:v>43201</c:v>
                </c:pt>
                <c:pt idx="7207">
                  <c:v>43202</c:v>
                </c:pt>
                <c:pt idx="7208">
                  <c:v>43203</c:v>
                </c:pt>
                <c:pt idx="7209">
                  <c:v>43206</c:v>
                </c:pt>
                <c:pt idx="7210">
                  <c:v>43207</c:v>
                </c:pt>
                <c:pt idx="7211">
                  <c:v>43208</c:v>
                </c:pt>
                <c:pt idx="7212">
                  <c:v>43209</c:v>
                </c:pt>
                <c:pt idx="7213">
                  <c:v>43210</c:v>
                </c:pt>
                <c:pt idx="7214">
                  <c:v>43213</c:v>
                </c:pt>
                <c:pt idx="7215">
                  <c:v>43214</c:v>
                </c:pt>
                <c:pt idx="7216">
                  <c:v>43215</c:v>
                </c:pt>
                <c:pt idx="7217">
                  <c:v>43216</c:v>
                </c:pt>
                <c:pt idx="7218">
                  <c:v>43217</c:v>
                </c:pt>
                <c:pt idx="7219">
                  <c:v>43220</c:v>
                </c:pt>
                <c:pt idx="7220">
                  <c:v>43221</c:v>
                </c:pt>
                <c:pt idx="7221">
                  <c:v>43222</c:v>
                </c:pt>
                <c:pt idx="7222">
                  <c:v>43223</c:v>
                </c:pt>
                <c:pt idx="7223">
                  <c:v>43224</c:v>
                </c:pt>
                <c:pt idx="7224">
                  <c:v>43227</c:v>
                </c:pt>
                <c:pt idx="7225">
                  <c:v>43228</c:v>
                </c:pt>
                <c:pt idx="7226">
                  <c:v>43229</c:v>
                </c:pt>
                <c:pt idx="7227">
                  <c:v>43230</c:v>
                </c:pt>
                <c:pt idx="7228">
                  <c:v>43231</c:v>
                </c:pt>
                <c:pt idx="7229">
                  <c:v>43234</c:v>
                </c:pt>
                <c:pt idx="7230">
                  <c:v>43235</c:v>
                </c:pt>
                <c:pt idx="7231">
                  <c:v>43236</c:v>
                </c:pt>
                <c:pt idx="7232">
                  <c:v>43237</c:v>
                </c:pt>
                <c:pt idx="7233">
                  <c:v>43238</c:v>
                </c:pt>
                <c:pt idx="7234">
                  <c:v>43241</c:v>
                </c:pt>
                <c:pt idx="7235">
                  <c:v>43242</c:v>
                </c:pt>
                <c:pt idx="7236">
                  <c:v>43243</c:v>
                </c:pt>
                <c:pt idx="7237">
                  <c:v>43244</c:v>
                </c:pt>
                <c:pt idx="7238">
                  <c:v>43245</c:v>
                </c:pt>
                <c:pt idx="7239">
                  <c:v>43249</c:v>
                </c:pt>
                <c:pt idx="7240">
                  <c:v>43250</c:v>
                </c:pt>
                <c:pt idx="7241">
                  <c:v>43251</c:v>
                </c:pt>
                <c:pt idx="7242">
                  <c:v>43252</c:v>
                </c:pt>
                <c:pt idx="7243">
                  <c:v>43255</c:v>
                </c:pt>
                <c:pt idx="7244">
                  <c:v>43256</c:v>
                </c:pt>
                <c:pt idx="7245">
                  <c:v>43257</c:v>
                </c:pt>
                <c:pt idx="7246">
                  <c:v>43258</c:v>
                </c:pt>
                <c:pt idx="7247">
                  <c:v>43259</c:v>
                </c:pt>
                <c:pt idx="7248">
                  <c:v>43262</c:v>
                </c:pt>
                <c:pt idx="7249">
                  <c:v>43263</c:v>
                </c:pt>
                <c:pt idx="7250">
                  <c:v>43264</c:v>
                </c:pt>
                <c:pt idx="7251">
                  <c:v>43265</c:v>
                </c:pt>
                <c:pt idx="7252">
                  <c:v>43266</c:v>
                </c:pt>
                <c:pt idx="7253">
                  <c:v>43269</c:v>
                </c:pt>
                <c:pt idx="7254">
                  <c:v>43270</c:v>
                </c:pt>
                <c:pt idx="7255">
                  <c:v>43271</c:v>
                </c:pt>
                <c:pt idx="7256">
                  <c:v>43272</c:v>
                </c:pt>
                <c:pt idx="7257">
                  <c:v>43273</c:v>
                </c:pt>
                <c:pt idx="7258">
                  <c:v>43276</c:v>
                </c:pt>
                <c:pt idx="7259">
                  <c:v>43277</c:v>
                </c:pt>
                <c:pt idx="7260">
                  <c:v>43278</c:v>
                </c:pt>
                <c:pt idx="7261">
                  <c:v>43279</c:v>
                </c:pt>
                <c:pt idx="7262">
                  <c:v>43280</c:v>
                </c:pt>
                <c:pt idx="7263">
                  <c:v>43283</c:v>
                </c:pt>
                <c:pt idx="7264">
                  <c:v>43284</c:v>
                </c:pt>
                <c:pt idx="7265">
                  <c:v>43286</c:v>
                </c:pt>
                <c:pt idx="7266">
                  <c:v>43287</c:v>
                </c:pt>
                <c:pt idx="7267">
                  <c:v>43290</c:v>
                </c:pt>
                <c:pt idx="7268">
                  <c:v>43291</c:v>
                </c:pt>
                <c:pt idx="7269">
                  <c:v>43292</c:v>
                </c:pt>
                <c:pt idx="7270">
                  <c:v>43293</c:v>
                </c:pt>
                <c:pt idx="7271">
                  <c:v>43294</c:v>
                </c:pt>
                <c:pt idx="7272">
                  <c:v>43297</c:v>
                </c:pt>
                <c:pt idx="7273">
                  <c:v>43298</c:v>
                </c:pt>
                <c:pt idx="7274">
                  <c:v>43299</c:v>
                </c:pt>
                <c:pt idx="7275">
                  <c:v>43300</c:v>
                </c:pt>
                <c:pt idx="7276">
                  <c:v>43301</c:v>
                </c:pt>
                <c:pt idx="7277">
                  <c:v>43304</c:v>
                </c:pt>
                <c:pt idx="7278">
                  <c:v>43305</c:v>
                </c:pt>
                <c:pt idx="7279">
                  <c:v>43306</c:v>
                </c:pt>
                <c:pt idx="7280">
                  <c:v>43307</c:v>
                </c:pt>
                <c:pt idx="7281">
                  <c:v>43308</c:v>
                </c:pt>
                <c:pt idx="7282">
                  <c:v>43311</c:v>
                </c:pt>
                <c:pt idx="7283">
                  <c:v>43312</c:v>
                </c:pt>
                <c:pt idx="7284">
                  <c:v>43313</c:v>
                </c:pt>
                <c:pt idx="7285">
                  <c:v>43314</c:v>
                </c:pt>
                <c:pt idx="7286">
                  <c:v>43315</c:v>
                </c:pt>
                <c:pt idx="7287">
                  <c:v>43318</c:v>
                </c:pt>
                <c:pt idx="7288">
                  <c:v>43319</c:v>
                </c:pt>
                <c:pt idx="7289">
                  <c:v>43320</c:v>
                </c:pt>
                <c:pt idx="7290">
                  <c:v>43321</c:v>
                </c:pt>
                <c:pt idx="7291">
                  <c:v>43322</c:v>
                </c:pt>
                <c:pt idx="7292">
                  <c:v>43325</c:v>
                </c:pt>
                <c:pt idx="7293">
                  <c:v>43326</c:v>
                </c:pt>
                <c:pt idx="7294">
                  <c:v>43327</c:v>
                </c:pt>
                <c:pt idx="7295">
                  <c:v>43328</c:v>
                </c:pt>
                <c:pt idx="7296">
                  <c:v>43329</c:v>
                </c:pt>
                <c:pt idx="7297">
                  <c:v>43332</c:v>
                </c:pt>
                <c:pt idx="7298">
                  <c:v>43333</c:v>
                </c:pt>
                <c:pt idx="7299">
                  <c:v>43334</c:v>
                </c:pt>
                <c:pt idx="7300">
                  <c:v>43335</c:v>
                </c:pt>
                <c:pt idx="7301">
                  <c:v>43336</c:v>
                </c:pt>
                <c:pt idx="7302">
                  <c:v>43339</c:v>
                </c:pt>
                <c:pt idx="7303">
                  <c:v>43340</c:v>
                </c:pt>
                <c:pt idx="7304">
                  <c:v>43341</c:v>
                </c:pt>
                <c:pt idx="7305">
                  <c:v>43342</c:v>
                </c:pt>
                <c:pt idx="7306">
                  <c:v>43343</c:v>
                </c:pt>
                <c:pt idx="7307">
                  <c:v>43347</c:v>
                </c:pt>
                <c:pt idx="7308">
                  <c:v>43348</c:v>
                </c:pt>
                <c:pt idx="7309">
                  <c:v>43349</c:v>
                </c:pt>
                <c:pt idx="7310">
                  <c:v>43350</c:v>
                </c:pt>
                <c:pt idx="7311">
                  <c:v>43353</c:v>
                </c:pt>
                <c:pt idx="7312">
                  <c:v>43354</c:v>
                </c:pt>
                <c:pt idx="7313">
                  <c:v>43355</c:v>
                </c:pt>
                <c:pt idx="7314">
                  <c:v>43356</c:v>
                </c:pt>
                <c:pt idx="7315">
                  <c:v>43357</c:v>
                </c:pt>
                <c:pt idx="7316">
                  <c:v>43360</c:v>
                </c:pt>
                <c:pt idx="7317">
                  <c:v>43361</c:v>
                </c:pt>
                <c:pt idx="7318">
                  <c:v>43362</c:v>
                </c:pt>
                <c:pt idx="7319">
                  <c:v>43363</c:v>
                </c:pt>
                <c:pt idx="7320">
                  <c:v>43364</c:v>
                </c:pt>
                <c:pt idx="7321">
                  <c:v>43367</c:v>
                </c:pt>
                <c:pt idx="7322">
                  <c:v>43368</c:v>
                </c:pt>
                <c:pt idx="7323">
                  <c:v>43369</c:v>
                </c:pt>
                <c:pt idx="7324">
                  <c:v>43370</c:v>
                </c:pt>
                <c:pt idx="7325">
                  <c:v>43371</c:v>
                </c:pt>
                <c:pt idx="7326">
                  <c:v>43374</c:v>
                </c:pt>
                <c:pt idx="7327">
                  <c:v>43375</c:v>
                </c:pt>
                <c:pt idx="7328">
                  <c:v>43376</c:v>
                </c:pt>
                <c:pt idx="7329">
                  <c:v>43377</c:v>
                </c:pt>
                <c:pt idx="7330">
                  <c:v>43378</c:v>
                </c:pt>
                <c:pt idx="7331">
                  <c:v>43381</c:v>
                </c:pt>
                <c:pt idx="7332">
                  <c:v>43382</c:v>
                </c:pt>
                <c:pt idx="7333">
                  <c:v>43383</c:v>
                </c:pt>
                <c:pt idx="7334">
                  <c:v>43384</c:v>
                </c:pt>
                <c:pt idx="7335">
                  <c:v>43385</c:v>
                </c:pt>
                <c:pt idx="7336">
                  <c:v>43388</c:v>
                </c:pt>
                <c:pt idx="7337">
                  <c:v>43389</c:v>
                </c:pt>
                <c:pt idx="7338">
                  <c:v>43390</c:v>
                </c:pt>
                <c:pt idx="7339">
                  <c:v>43391</c:v>
                </c:pt>
                <c:pt idx="7340">
                  <c:v>43392</c:v>
                </c:pt>
                <c:pt idx="7341">
                  <c:v>43395</c:v>
                </c:pt>
                <c:pt idx="7342">
                  <c:v>43396</c:v>
                </c:pt>
                <c:pt idx="7343">
                  <c:v>43397</c:v>
                </c:pt>
                <c:pt idx="7344">
                  <c:v>43398</c:v>
                </c:pt>
                <c:pt idx="7345">
                  <c:v>43399</c:v>
                </c:pt>
                <c:pt idx="7346">
                  <c:v>43402</c:v>
                </c:pt>
                <c:pt idx="7347">
                  <c:v>43403</c:v>
                </c:pt>
                <c:pt idx="7348">
                  <c:v>43404</c:v>
                </c:pt>
                <c:pt idx="7349">
                  <c:v>43405</c:v>
                </c:pt>
                <c:pt idx="7350">
                  <c:v>43406</c:v>
                </c:pt>
                <c:pt idx="7351">
                  <c:v>43409</c:v>
                </c:pt>
                <c:pt idx="7352">
                  <c:v>43410</c:v>
                </c:pt>
                <c:pt idx="7353">
                  <c:v>43411</c:v>
                </c:pt>
                <c:pt idx="7354">
                  <c:v>43412</c:v>
                </c:pt>
                <c:pt idx="7355">
                  <c:v>43413</c:v>
                </c:pt>
                <c:pt idx="7356">
                  <c:v>43416</c:v>
                </c:pt>
                <c:pt idx="7357">
                  <c:v>43417</c:v>
                </c:pt>
                <c:pt idx="7358">
                  <c:v>43418</c:v>
                </c:pt>
                <c:pt idx="7359">
                  <c:v>43419</c:v>
                </c:pt>
                <c:pt idx="7360">
                  <c:v>43420</c:v>
                </c:pt>
                <c:pt idx="7361">
                  <c:v>43423</c:v>
                </c:pt>
                <c:pt idx="7362">
                  <c:v>43424</c:v>
                </c:pt>
                <c:pt idx="7363">
                  <c:v>43425</c:v>
                </c:pt>
                <c:pt idx="7364">
                  <c:v>43427</c:v>
                </c:pt>
                <c:pt idx="7365">
                  <c:v>43430</c:v>
                </c:pt>
                <c:pt idx="7366">
                  <c:v>43431</c:v>
                </c:pt>
                <c:pt idx="7367">
                  <c:v>43432</c:v>
                </c:pt>
                <c:pt idx="7368">
                  <c:v>43433</c:v>
                </c:pt>
                <c:pt idx="7369">
                  <c:v>43434</c:v>
                </c:pt>
                <c:pt idx="7370">
                  <c:v>43437</c:v>
                </c:pt>
                <c:pt idx="7371">
                  <c:v>43438</c:v>
                </c:pt>
                <c:pt idx="7372">
                  <c:v>43440</c:v>
                </c:pt>
                <c:pt idx="7373">
                  <c:v>43441</c:v>
                </c:pt>
                <c:pt idx="7374">
                  <c:v>43444</c:v>
                </c:pt>
                <c:pt idx="7375">
                  <c:v>43445</c:v>
                </c:pt>
                <c:pt idx="7376">
                  <c:v>43446</c:v>
                </c:pt>
                <c:pt idx="7377">
                  <c:v>43447</c:v>
                </c:pt>
                <c:pt idx="7378">
                  <c:v>43448</c:v>
                </c:pt>
                <c:pt idx="7379">
                  <c:v>43451</c:v>
                </c:pt>
                <c:pt idx="7380">
                  <c:v>43452</c:v>
                </c:pt>
                <c:pt idx="7381">
                  <c:v>43453</c:v>
                </c:pt>
                <c:pt idx="7382">
                  <c:v>43454</c:v>
                </c:pt>
                <c:pt idx="7383">
                  <c:v>43455</c:v>
                </c:pt>
                <c:pt idx="7384">
                  <c:v>43458</c:v>
                </c:pt>
                <c:pt idx="7385">
                  <c:v>43460</c:v>
                </c:pt>
                <c:pt idx="7386">
                  <c:v>43461</c:v>
                </c:pt>
                <c:pt idx="7387">
                  <c:v>43462</c:v>
                </c:pt>
                <c:pt idx="7388">
                  <c:v>43465</c:v>
                </c:pt>
                <c:pt idx="7389">
                  <c:v>43467</c:v>
                </c:pt>
                <c:pt idx="7390">
                  <c:v>43468</c:v>
                </c:pt>
                <c:pt idx="7391">
                  <c:v>43469</c:v>
                </c:pt>
                <c:pt idx="7392">
                  <c:v>43472</c:v>
                </c:pt>
                <c:pt idx="7393">
                  <c:v>43473</c:v>
                </c:pt>
                <c:pt idx="7394">
                  <c:v>43474</c:v>
                </c:pt>
                <c:pt idx="7395">
                  <c:v>43475</c:v>
                </c:pt>
                <c:pt idx="7396">
                  <c:v>43476</c:v>
                </c:pt>
                <c:pt idx="7397">
                  <c:v>43479</c:v>
                </c:pt>
                <c:pt idx="7398">
                  <c:v>43480</c:v>
                </c:pt>
                <c:pt idx="7399">
                  <c:v>43481</c:v>
                </c:pt>
                <c:pt idx="7400">
                  <c:v>43482</c:v>
                </c:pt>
                <c:pt idx="7401">
                  <c:v>43483</c:v>
                </c:pt>
                <c:pt idx="7402">
                  <c:v>43487</c:v>
                </c:pt>
                <c:pt idx="7403">
                  <c:v>43488</c:v>
                </c:pt>
                <c:pt idx="7404">
                  <c:v>43489</c:v>
                </c:pt>
                <c:pt idx="7405">
                  <c:v>43490</c:v>
                </c:pt>
                <c:pt idx="7406">
                  <c:v>43493</c:v>
                </c:pt>
                <c:pt idx="7407">
                  <c:v>43494</c:v>
                </c:pt>
                <c:pt idx="7408">
                  <c:v>43495</c:v>
                </c:pt>
                <c:pt idx="7409">
                  <c:v>43496</c:v>
                </c:pt>
                <c:pt idx="7410">
                  <c:v>43497</c:v>
                </c:pt>
                <c:pt idx="7411">
                  <c:v>43500</c:v>
                </c:pt>
                <c:pt idx="7412">
                  <c:v>43501</c:v>
                </c:pt>
                <c:pt idx="7413">
                  <c:v>43502</c:v>
                </c:pt>
                <c:pt idx="7414">
                  <c:v>43503</c:v>
                </c:pt>
                <c:pt idx="7415">
                  <c:v>43504</c:v>
                </c:pt>
                <c:pt idx="7416">
                  <c:v>43507</c:v>
                </c:pt>
                <c:pt idx="7417">
                  <c:v>43508</c:v>
                </c:pt>
                <c:pt idx="7418">
                  <c:v>43509</c:v>
                </c:pt>
                <c:pt idx="7419">
                  <c:v>43510</c:v>
                </c:pt>
                <c:pt idx="7420">
                  <c:v>43511</c:v>
                </c:pt>
                <c:pt idx="7421">
                  <c:v>43515</c:v>
                </c:pt>
                <c:pt idx="7422">
                  <c:v>43516</c:v>
                </c:pt>
                <c:pt idx="7423">
                  <c:v>43517</c:v>
                </c:pt>
                <c:pt idx="7424">
                  <c:v>43518</c:v>
                </c:pt>
                <c:pt idx="7425">
                  <c:v>43521</c:v>
                </c:pt>
                <c:pt idx="7426">
                  <c:v>43522</c:v>
                </c:pt>
                <c:pt idx="7427">
                  <c:v>43523</c:v>
                </c:pt>
                <c:pt idx="7428">
                  <c:v>43524</c:v>
                </c:pt>
                <c:pt idx="7429">
                  <c:v>43525</c:v>
                </c:pt>
                <c:pt idx="7430">
                  <c:v>43528</c:v>
                </c:pt>
                <c:pt idx="7431">
                  <c:v>43529</c:v>
                </c:pt>
                <c:pt idx="7432">
                  <c:v>43530</c:v>
                </c:pt>
                <c:pt idx="7433">
                  <c:v>43531</c:v>
                </c:pt>
                <c:pt idx="7434">
                  <c:v>43532</c:v>
                </c:pt>
                <c:pt idx="7435">
                  <c:v>43535</c:v>
                </c:pt>
                <c:pt idx="7436">
                  <c:v>43536</c:v>
                </c:pt>
                <c:pt idx="7437">
                  <c:v>43537</c:v>
                </c:pt>
                <c:pt idx="7438">
                  <c:v>43538</c:v>
                </c:pt>
                <c:pt idx="7439">
                  <c:v>43539</c:v>
                </c:pt>
                <c:pt idx="7440">
                  <c:v>43542</c:v>
                </c:pt>
                <c:pt idx="7441">
                  <c:v>43543</c:v>
                </c:pt>
                <c:pt idx="7442">
                  <c:v>43544</c:v>
                </c:pt>
                <c:pt idx="7443">
                  <c:v>43545</c:v>
                </c:pt>
                <c:pt idx="7444">
                  <c:v>43546</c:v>
                </c:pt>
                <c:pt idx="7445">
                  <c:v>43549</c:v>
                </c:pt>
                <c:pt idx="7446">
                  <c:v>43550</c:v>
                </c:pt>
                <c:pt idx="7447">
                  <c:v>43551</c:v>
                </c:pt>
                <c:pt idx="7448">
                  <c:v>43552</c:v>
                </c:pt>
                <c:pt idx="7449">
                  <c:v>43553</c:v>
                </c:pt>
                <c:pt idx="7450">
                  <c:v>43556</c:v>
                </c:pt>
                <c:pt idx="7451">
                  <c:v>43557</c:v>
                </c:pt>
                <c:pt idx="7452">
                  <c:v>43558</c:v>
                </c:pt>
                <c:pt idx="7453">
                  <c:v>43559</c:v>
                </c:pt>
                <c:pt idx="7454">
                  <c:v>43560</c:v>
                </c:pt>
                <c:pt idx="7455">
                  <c:v>43563</c:v>
                </c:pt>
                <c:pt idx="7456">
                  <c:v>43564</c:v>
                </c:pt>
                <c:pt idx="7457">
                  <c:v>43565</c:v>
                </c:pt>
                <c:pt idx="7458">
                  <c:v>43566</c:v>
                </c:pt>
                <c:pt idx="7459">
                  <c:v>43567</c:v>
                </c:pt>
                <c:pt idx="7460">
                  <c:v>43570</c:v>
                </c:pt>
                <c:pt idx="7461">
                  <c:v>43571</c:v>
                </c:pt>
                <c:pt idx="7462">
                  <c:v>43572</c:v>
                </c:pt>
                <c:pt idx="7463">
                  <c:v>43573</c:v>
                </c:pt>
                <c:pt idx="7464">
                  <c:v>43577</c:v>
                </c:pt>
                <c:pt idx="7465">
                  <c:v>43578</c:v>
                </c:pt>
                <c:pt idx="7466">
                  <c:v>43579</c:v>
                </c:pt>
                <c:pt idx="7467">
                  <c:v>43580</c:v>
                </c:pt>
                <c:pt idx="7468">
                  <c:v>43581</c:v>
                </c:pt>
                <c:pt idx="7469">
                  <c:v>43584</c:v>
                </c:pt>
                <c:pt idx="7470">
                  <c:v>43585</c:v>
                </c:pt>
                <c:pt idx="7471">
                  <c:v>43586</c:v>
                </c:pt>
                <c:pt idx="7472">
                  <c:v>43587</c:v>
                </c:pt>
                <c:pt idx="7473">
                  <c:v>43588</c:v>
                </c:pt>
                <c:pt idx="7474">
                  <c:v>43591</c:v>
                </c:pt>
                <c:pt idx="7475">
                  <c:v>43592</c:v>
                </c:pt>
                <c:pt idx="7476">
                  <c:v>43593</c:v>
                </c:pt>
                <c:pt idx="7477">
                  <c:v>43594</c:v>
                </c:pt>
                <c:pt idx="7478">
                  <c:v>43595</c:v>
                </c:pt>
                <c:pt idx="7479">
                  <c:v>43598</c:v>
                </c:pt>
                <c:pt idx="7480">
                  <c:v>43599</c:v>
                </c:pt>
                <c:pt idx="7481">
                  <c:v>43600</c:v>
                </c:pt>
                <c:pt idx="7482">
                  <c:v>43601</c:v>
                </c:pt>
                <c:pt idx="7483">
                  <c:v>43602</c:v>
                </c:pt>
                <c:pt idx="7484">
                  <c:v>43605</c:v>
                </c:pt>
                <c:pt idx="7485">
                  <c:v>43606</c:v>
                </c:pt>
                <c:pt idx="7486">
                  <c:v>43607</c:v>
                </c:pt>
                <c:pt idx="7487">
                  <c:v>43608</c:v>
                </c:pt>
                <c:pt idx="7488">
                  <c:v>43609</c:v>
                </c:pt>
                <c:pt idx="7489">
                  <c:v>43613</c:v>
                </c:pt>
                <c:pt idx="7490">
                  <c:v>43614</c:v>
                </c:pt>
                <c:pt idx="7491">
                  <c:v>43615</c:v>
                </c:pt>
                <c:pt idx="7492">
                  <c:v>43616</c:v>
                </c:pt>
                <c:pt idx="7493">
                  <c:v>43619</c:v>
                </c:pt>
                <c:pt idx="7494">
                  <c:v>43620</c:v>
                </c:pt>
                <c:pt idx="7495">
                  <c:v>43621</c:v>
                </c:pt>
                <c:pt idx="7496">
                  <c:v>43622</c:v>
                </c:pt>
                <c:pt idx="7497">
                  <c:v>43623</c:v>
                </c:pt>
                <c:pt idx="7498">
                  <c:v>43626</c:v>
                </c:pt>
                <c:pt idx="7499">
                  <c:v>43627</c:v>
                </c:pt>
                <c:pt idx="7500">
                  <c:v>43628</c:v>
                </c:pt>
                <c:pt idx="7501">
                  <c:v>43629</c:v>
                </c:pt>
                <c:pt idx="7502">
                  <c:v>43630</c:v>
                </c:pt>
                <c:pt idx="7503">
                  <c:v>43633</c:v>
                </c:pt>
                <c:pt idx="7504">
                  <c:v>43634</c:v>
                </c:pt>
                <c:pt idx="7505">
                  <c:v>43635</c:v>
                </c:pt>
                <c:pt idx="7506">
                  <c:v>43636</c:v>
                </c:pt>
                <c:pt idx="7507">
                  <c:v>43637</c:v>
                </c:pt>
                <c:pt idx="7508">
                  <c:v>43640</c:v>
                </c:pt>
                <c:pt idx="7509">
                  <c:v>43641</c:v>
                </c:pt>
                <c:pt idx="7510">
                  <c:v>43642</c:v>
                </c:pt>
                <c:pt idx="7511">
                  <c:v>43643</c:v>
                </c:pt>
                <c:pt idx="7512">
                  <c:v>43644</c:v>
                </c:pt>
                <c:pt idx="7513">
                  <c:v>43647</c:v>
                </c:pt>
                <c:pt idx="7514">
                  <c:v>43648</c:v>
                </c:pt>
                <c:pt idx="7515">
                  <c:v>43649</c:v>
                </c:pt>
                <c:pt idx="7516">
                  <c:v>43651</c:v>
                </c:pt>
                <c:pt idx="7517">
                  <c:v>43654</c:v>
                </c:pt>
                <c:pt idx="7518">
                  <c:v>43655</c:v>
                </c:pt>
                <c:pt idx="7519">
                  <c:v>43656</c:v>
                </c:pt>
                <c:pt idx="7520">
                  <c:v>43657</c:v>
                </c:pt>
                <c:pt idx="7521">
                  <c:v>43658</c:v>
                </c:pt>
                <c:pt idx="7522">
                  <c:v>43661</c:v>
                </c:pt>
                <c:pt idx="7523">
                  <c:v>43662</c:v>
                </c:pt>
                <c:pt idx="7524">
                  <c:v>43663</c:v>
                </c:pt>
                <c:pt idx="7525">
                  <c:v>43664</c:v>
                </c:pt>
                <c:pt idx="7526">
                  <c:v>43665</c:v>
                </c:pt>
                <c:pt idx="7527">
                  <c:v>43668</c:v>
                </c:pt>
                <c:pt idx="7528">
                  <c:v>43669</c:v>
                </c:pt>
                <c:pt idx="7529">
                  <c:v>43670</c:v>
                </c:pt>
                <c:pt idx="7530">
                  <c:v>43671</c:v>
                </c:pt>
                <c:pt idx="7531">
                  <c:v>43672</c:v>
                </c:pt>
                <c:pt idx="7532">
                  <c:v>43675</c:v>
                </c:pt>
                <c:pt idx="7533">
                  <c:v>43676</c:v>
                </c:pt>
                <c:pt idx="7534">
                  <c:v>43677</c:v>
                </c:pt>
                <c:pt idx="7535">
                  <c:v>43678</c:v>
                </c:pt>
                <c:pt idx="7536">
                  <c:v>43679</c:v>
                </c:pt>
                <c:pt idx="7537">
                  <c:v>43682</c:v>
                </c:pt>
                <c:pt idx="7538">
                  <c:v>43683</c:v>
                </c:pt>
                <c:pt idx="7539">
                  <c:v>43684</c:v>
                </c:pt>
                <c:pt idx="7540">
                  <c:v>43685</c:v>
                </c:pt>
                <c:pt idx="7541">
                  <c:v>43686</c:v>
                </c:pt>
                <c:pt idx="7542">
                  <c:v>43689</c:v>
                </c:pt>
                <c:pt idx="7543">
                  <c:v>43690</c:v>
                </c:pt>
                <c:pt idx="7544">
                  <c:v>43691</c:v>
                </c:pt>
                <c:pt idx="7545">
                  <c:v>43692</c:v>
                </c:pt>
                <c:pt idx="7546">
                  <c:v>43693</c:v>
                </c:pt>
                <c:pt idx="7547">
                  <c:v>43696</c:v>
                </c:pt>
                <c:pt idx="7548">
                  <c:v>43697</c:v>
                </c:pt>
                <c:pt idx="7549">
                  <c:v>43698</c:v>
                </c:pt>
                <c:pt idx="7550">
                  <c:v>43699</c:v>
                </c:pt>
                <c:pt idx="7551">
                  <c:v>43700</c:v>
                </c:pt>
                <c:pt idx="7552">
                  <c:v>43703</c:v>
                </c:pt>
                <c:pt idx="7553">
                  <c:v>43704</c:v>
                </c:pt>
                <c:pt idx="7554">
                  <c:v>43705</c:v>
                </c:pt>
                <c:pt idx="7555">
                  <c:v>43706</c:v>
                </c:pt>
                <c:pt idx="7556">
                  <c:v>43707</c:v>
                </c:pt>
                <c:pt idx="7557">
                  <c:v>43711</c:v>
                </c:pt>
                <c:pt idx="7558">
                  <c:v>43712</c:v>
                </c:pt>
                <c:pt idx="7559">
                  <c:v>43713</c:v>
                </c:pt>
                <c:pt idx="7560">
                  <c:v>43714</c:v>
                </c:pt>
                <c:pt idx="7561">
                  <c:v>43717</c:v>
                </c:pt>
                <c:pt idx="7562">
                  <c:v>43718</c:v>
                </c:pt>
                <c:pt idx="7563">
                  <c:v>43719</c:v>
                </c:pt>
                <c:pt idx="7564">
                  <c:v>43720</c:v>
                </c:pt>
                <c:pt idx="7565">
                  <c:v>43721</c:v>
                </c:pt>
                <c:pt idx="7566">
                  <c:v>43724</c:v>
                </c:pt>
                <c:pt idx="7567">
                  <c:v>43725</c:v>
                </c:pt>
                <c:pt idx="7568">
                  <c:v>43726</c:v>
                </c:pt>
                <c:pt idx="7569">
                  <c:v>43727</c:v>
                </c:pt>
                <c:pt idx="7570">
                  <c:v>43728</c:v>
                </c:pt>
                <c:pt idx="7571">
                  <c:v>43731</c:v>
                </c:pt>
                <c:pt idx="7572">
                  <c:v>43732</c:v>
                </c:pt>
                <c:pt idx="7573">
                  <c:v>43733</c:v>
                </c:pt>
                <c:pt idx="7574">
                  <c:v>43734</c:v>
                </c:pt>
                <c:pt idx="7575">
                  <c:v>43735</c:v>
                </c:pt>
                <c:pt idx="7576">
                  <c:v>43738</c:v>
                </c:pt>
                <c:pt idx="7577">
                  <c:v>43739</c:v>
                </c:pt>
                <c:pt idx="7578">
                  <c:v>43740</c:v>
                </c:pt>
                <c:pt idx="7579">
                  <c:v>43741</c:v>
                </c:pt>
                <c:pt idx="7580">
                  <c:v>43742</c:v>
                </c:pt>
                <c:pt idx="7581">
                  <c:v>43745</c:v>
                </c:pt>
                <c:pt idx="7582">
                  <c:v>43746</c:v>
                </c:pt>
                <c:pt idx="7583">
                  <c:v>43747</c:v>
                </c:pt>
                <c:pt idx="7584">
                  <c:v>43748</c:v>
                </c:pt>
                <c:pt idx="7585">
                  <c:v>43749</c:v>
                </c:pt>
                <c:pt idx="7586">
                  <c:v>43752</c:v>
                </c:pt>
                <c:pt idx="7587">
                  <c:v>43753</c:v>
                </c:pt>
                <c:pt idx="7588">
                  <c:v>43754</c:v>
                </c:pt>
                <c:pt idx="7589">
                  <c:v>43755</c:v>
                </c:pt>
                <c:pt idx="7590">
                  <c:v>43756</c:v>
                </c:pt>
                <c:pt idx="7591">
                  <c:v>43759</c:v>
                </c:pt>
                <c:pt idx="7592">
                  <c:v>43760</c:v>
                </c:pt>
                <c:pt idx="7593">
                  <c:v>43761</c:v>
                </c:pt>
                <c:pt idx="7594">
                  <c:v>43762</c:v>
                </c:pt>
                <c:pt idx="7595">
                  <c:v>43763</c:v>
                </c:pt>
                <c:pt idx="7596">
                  <c:v>43766</c:v>
                </c:pt>
                <c:pt idx="7597">
                  <c:v>43767</c:v>
                </c:pt>
                <c:pt idx="7598">
                  <c:v>43768</c:v>
                </c:pt>
                <c:pt idx="7599">
                  <c:v>43769</c:v>
                </c:pt>
                <c:pt idx="7600">
                  <c:v>43770</c:v>
                </c:pt>
                <c:pt idx="7601">
                  <c:v>43773</c:v>
                </c:pt>
                <c:pt idx="7602">
                  <c:v>43774</c:v>
                </c:pt>
                <c:pt idx="7603">
                  <c:v>43775</c:v>
                </c:pt>
                <c:pt idx="7604">
                  <c:v>43776</c:v>
                </c:pt>
                <c:pt idx="7605">
                  <c:v>43777</c:v>
                </c:pt>
                <c:pt idx="7606">
                  <c:v>43780</c:v>
                </c:pt>
                <c:pt idx="7607">
                  <c:v>43781</c:v>
                </c:pt>
                <c:pt idx="7608">
                  <c:v>43782</c:v>
                </c:pt>
                <c:pt idx="7609">
                  <c:v>43783</c:v>
                </c:pt>
                <c:pt idx="7610">
                  <c:v>43784</c:v>
                </c:pt>
                <c:pt idx="7611">
                  <c:v>43787</c:v>
                </c:pt>
                <c:pt idx="7612">
                  <c:v>43788</c:v>
                </c:pt>
                <c:pt idx="7613">
                  <c:v>43789</c:v>
                </c:pt>
                <c:pt idx="7614">
                  <c:v>43790</c:v>
                </c:pt>
                <c:pt idx="7615">
                  <c:v>43791</c:v>
                </c:pt>
                <c:pt idx="7616">
                  <c:v>43794</c:v>
                </c:pt>
                <c:pt idx="7617">
                  <c:v>43795</c:v>
                </c:pt>
                <c:pt idx="7618">
                  <c:v>43796</c:v>
                </c:pt>
                <c:pt idx="7619">
                  <c:v>43798</c:v>
                </c:pt>
                <c:pt idx="7620">
                  <c:v>43801</c:v>
                </c:pt>
                <c:pt idx="7621">
                  <c:v>43802</c:v>
                </c:pt>
                <c:pt idx="7622">
                  <c:v>43803</c:v>
                </c:pt>
                <c:pt idx="7623">
                  <c:v>43804</c:v>
                </c:pt>
                <c:pt idx="7624">
                  <c:v>43805</c:v>
                </c:pt>
                <c:pt idx="7625">
                  <c:v>43808</c:v>
                </c:pt>
                <c:pt idx="7626">
                  <c:v>43809</c:v>
                </c:pt>
                <c:pt idx="7627">
                  <c:v>43810</c:v>
                </c:pt>
                <c:pt idx="7628">
                  <c:v>43811</c:v>
                </c:pt>
                <c:pt idx="7629">
                  <c:v>43812</c:v>
                </c:pt>
                <c:pt idx="7630">
                  <c:v>43815</c:v>
                </c:pt>
                <c:pt idx="7631">
                  <c:v>43816</c:v>
                </c:pt>
                <c:pt idx="7632">
                  <c:v>43817</c:v>
                </c:pt>
                <c:pt idx="7633">
                  <c:v>43818</c:v>
                </c:pt>
                <c:pt idx="7634">
                  <c:v>43819</c:v>
                </c:pt>
                <c:pt idx="7635">
                  <c:v>43822</c:v>
                </c:pt>
                <c:pt idx="7636">
                  <c:v>43823</c:v>
                </c:pt>
                <c:pt idx="7637">
                  <c:v>43825</c:v>
                </c:pt>
                <c:pt idx="7638">
                  <c:v>43826</c:v>
                </c:pt>
                <c:pt idx="7639">
                  <c:v>43829</c:v>
                </c:pt>
                <c:pt idx="7640">
                  <c:v>43830</c:v>
                </c:pt>
                <c:pt idx="7641">
                  <c:v>43832</c:v>
                </c:pt>
                <c:pt idx="7642">
                  <c:v>43833</c:v>
                </c:pt>
                <c:pt idx="7643">
                  <c:v>43836</c:v>
                </c:pt>
                <c:pt idx="7644">
                  <c:v>43837</c:v>
                </c:pt>
                <c:pt idx="7645">
                  <c:v>43838</c:v>
                </c:pt>
                <c:pt idx="7646">
                  <c:v>43839</c:v>
                </c:pt>
                <c:pt idx="7647">
                  <c:v>43840</c:v>
                </c:pt>
                <c:pt idx="7648">
                  <c:v>43843</c:v>
                </c:pt>
                <c:pt idx="7649">
                  <c:v>43844</c:v>
                </c:pt>
                <c:pt idx="7650">
                  <c:v>43845</c:v>
                </c:pt>
                <c:pt idx="7651">
                  <c:v>43846</c:v>
                </c:pt>
                <c:pt idx="7652">
                  <c:v>43847</c:v>
                </c:pt>
                <c:pt idx="7653">
                  <c:v>43851</c:v>
                </c:pt>
                <c:pt idx="7654">
                  <c:v>43852</c:v>
                </c:pt>
                <c:pt idx="7655">
                  <c:v>43853</c:v>
                </c:pt>
                <c:pt idx="7656">
                  <c:v>43854</c:v>
                </c:pt>
                <c:pt idx="7657">
                  <c:v>43857</c:v>
                </c:pt>
                <c:pt idx="7658">
                  <c:v>43858</c:v>
                </c:pt>
                <c:pt idx="7659">
                  <c:v>43859</c:v>
                </c:pt>
                <c:pt idx="7660">
                  <c:v>43860</c:v>
                </c:pt>
                <c:pt idx="7661">
                  <c:v>43861</c:v>
                </c:pt>
                <c:pt idx="7662">
                  <c:v>43864</c:v>
                </c:pt>
                <c:pt idx="7663">
                  <c:v>43865</c:v>
                </c:pt>
                <c:pt idx="7664">
                  <c:v>43866</c:v>
                </c:pt>
                <c:pt idx="7665">
                  <c:v>43867</c:v>
                </c:pt>
                <c:pt idx="7666">
                  <c:v>43868</c:v>
                </c:pt>
                <c:pt idx="7667">
                  <c:v>43871</c:v>
                </c:pt>
                <c:pt idx="7668">
                  <c:v>43872</c:v>
                </c:pt>
                <c:pt idx="7669">
                  <c:v>43873</c:v>
                </c:pt>
                <c:pt idx="7670">
                  <c:v>43874</c:v>
                </c:pt>
                <c:pt idx="7671">
                  <c:v>43875</c:v>
                </c:pt>
                <c:pt idx="7672">
                  <c:v>43879</c:v>
                </c:pt>
                <c:pt idx="7673">
                  <c:v>43880</c:v>
                </c:pt>
                <c:pt idx="7674">
                  <c:v>43881</c:v>
                </c:pt>
                <c:pt idx="7675">
                  <c:v>43882</c:v>
                </c:pt>
                <c:pt idx="7676">
                  <c:v>43885</c:v>
                </c:pt>
                <c:pt idx="7677">
                  <c:v>43886</c:v>
                </c:pt>
                <c:pt idx="7678">
                  <c:v>43887</c:v>
                </c:pt>
                <c:pt idx="7679">
                  <c:v>43888</c:v>
                </c:pt>
                <c:pt idx="7680">
                  <c:v>43889</c:v>
                </c:pt>
                <c:pt idx="7681">
                  <c:v>43892</c:v>
                </c:pt>
                <c:pt idx="7682">
                  <c:v>43893</c:v>
                </c:pt>
                <c:pt idx="7683">
                  <c:v>43894</c:v>
                </c:pt>
                <c:pt idx="7684">
                  <c:v>43895</c:v>
                </c:pt>
                <c:pt idx="7685">
                  <c:v>43896</c:v>
                </c:pt>
                <c:pt idx="7686">
                  <c:v>43899</c:v>
                </c:pt>
                <c:pt idx="7687">
                  <c:v>43900</c:v>
                </c:pt>
                <c:pt idx="7688">
                  <c:v>43901</c:v>
                </c:pt>
                <c:pt idx="7689">
                  <c:v>43902</c:v>
                </c:pt>
                <c:pt idx="7690">
                  <c:v>43903</c:v>
                </c:pt>
                <c:pt idx="7691">
                  <c:v>43906</c:v>
                </c:pt>
                <c:pt idx="7692">
                  <c:v>43907</c:v>
                </c:pt>
                <c:pt idx="7693">
                  <c:v>43908</c:v>
                </c:pt>
                <c:pt idx="7694">
                  <c:v>43909</c:v>
                </c:pt>
                <c:pt idx="7695">
                  <c:v>43910</c:v>
                </c:pt>
                <c:pt idx="7696">
                  <c:v>43913</c:v>
                </c:pt>
                <c:pt idx="7697">
                  <c:v>43914</c:v>
                </c:pt>
                <c:pt idx="7698">
                  <c:v>43915</c:v>
                </c:pt>
                <c:pt idx="7699">
                  <c:v>43916</c:v>
                </c:pt>
                <c:pt idx="7700">
                  <c:v>43917</c:v>
                </c:pt>
                <c:pt idx="7701">
                  <c:v>43920</c:v>
                </c:pt>
                <c:pt idx="7702">
                  <c:v>43921</c:v>
                </c:pt>
                <c:pt idx="7703">
                  <c:v>43922</c:v>
                </c:pt>
                <c:pt idx="7704">
                  <c:v>43923</c:v>
                </c:pt>
                <c:pt idx="7705">
                  <c:v>43924</c:v>
                </c:pt>
                <c:pt idx="7706">
                  <c:v>43927</c:v>
                </c:pt>
                <c:pt idx="7707">
                  <c:v>43928</c:v>
                </c:pt>
                <c:pt idx="7708">
                  <c:v>43929</c:v>
                </c:pt>
                <c:pt idx="7709">
                  <c:v>43930</c:v>
                </c:pt>
                <c:pt idx="7710">
                  <c:v>43934</c:v>
                </c:pt>
                <c:pt idx="7711">
                  <c:v>43935</c:v>
                </c:pt>
                <c:pt idx="7712">
                  <c:v>43936</c:v>
                </c:pt>
                <c:pt idx="7713">
                  <c:v>43937</c:v>
                </c:pt>
                <c:pt idx="7714">
                  <c:v>43938</c:v>
                </c:pt>
                <c:pt idx="7715">
                  <c:v>43941</c:v>
                </c:pt>
                <c:pt idx="7716">
                  <c:v>43942</c:v>
                </c:pt>
                <c:pt idx="7717">
                  <c:v>43943</c:v>
                </c:pt>
                <c:pt idx="7718">
                  <c:v>43944</c:v>
                </c:pt>
                <c:pt idx="7719">
                  <c:v>43945</c:v>
                </c:pt>
                <c:pt idx="7720">
                  <c:v>43948</c:v>
                </c:pt>
                <c:pt idx="7721">
                  <c:v>43949</c:v>
                </c:pt>
                <c:pt idx="7722">
                  <c:v>43950</c:v>
                </c:pt>
                <c:pt idx="7723">
                  <c:v>43951</c:v>
                </c:pt>
                <c:pt idx="7724">
                  <c:v>43952</c:v>
                </c:pt>
                <c:pt idx="7725">
                  <c:v>43955</c:v>
                </c:pt>
                <c:pt idx="7726">
                  <c:v>43956</c:v>
                </c:pt>
                <c:pt idx="7727">
                  <c:v>43957</c:v>
                </c:pt>
                <c:pt idx="7728">
                  <c:v>43958</c:v>
                </c:pt>
                <c:pt idx="7729">
                  <c:v>43959</c:v>
                </c:pt>
                <c:pt idx="7730">
                  <c:v>43962</c:v>
                </c:pt>
                <c:pt idx="7731">
                  <c:v>43963</c:v>
                </c:pt>
                <c:pt idx="7732">
                  <c:v>43964</c:v>
                </c:pt>
                <c:pt idx="7733">
                  <c:v>43965</c:v>
                </c:pt>
                <c:pt idx="7734">
                  <c:v>43966</c:v>
                </c:pt>
                <c:pt idx="7735">
                  <c:v>43969</c:v>
                </c:pt>
                <c:pt idx="7736">
                  <c:v>43970</c:v>
                </c:pt>
                <c:pt idx="7737">
                  <c:v>43971</c:v>
                </c:pt>
                <c:pt idx="7738">
                  <c:v>43972</c:v>
                </c:pt>
                <c:pt idx="7739">
                  <c:v>43973</c:v>
                </c:pt>
                <c:pt idx="7740">
                  <c:v>43977</c:v>
                </c:pt>
                <c:pt idx="7741">
                  <c:v>43978</c:v>
                </c:pt>
                <c:pt idx="7742">
                  <c:v>43979</c:v>
                </c:pt>
                <c:pt idx="7743">
                  <c:v>43980</c:v>
                </c:pt>
                <c:pt idx="7744">
                  <c:v>43983</c:v>
                </c:pt>
                <c:pt idx="7745">
                  <c:v>43984</c:v>
                </c:pt>
                <c:pt idx="7746">
                  <c:v>43985</c:v>
                </c:pt>
                <c:pt idx="7747">
                  <c:v>43986</c:v>
                </c:pt>
                <c:pt idx="7748">
                  <c:v>43987</c:v>
                </c:pt>
                <c:pt idx="7749">
                  <c:v>43990</c:v>
                </c:pt>
                <c:pt idx="7750">
                  <c:v>43991</c:v>
                </c:pt>
                <c:pt idx="7751">
                  <c:v>43992</c:v>
                </c:pt>
                <c:pt idx="7752">
                  <c:v>43993</c:v>
                </c:pt>
                <c:pt idx="7753">
                  <c:v>43994</c:v>
                </c:pt>
                <c:pt idx="7754">
                  <c:v>43997</c:v>
                </c:pt>
                <c:pt idx="7755">
                  <c:v>43998</c:v>
                </c:pt>
                <c:pt idx="7756">
                  <c:v>43999</c:v>
                </c:pt>
                <c:pt idx="7757">
                  <c:v>44000</c:v>
                </c:pt>
                <c:pt idx="7758">
                  <c:v>44001</c:v>
                </c:pt>
                <c:pt idx="7759">
                  <c:v>44004</c:v>
                </c:pt>
                <c:pt idx="7760">
                  <c:v>44005</c:v>
                </c:pt>
                <c:pt idx="7761">
                  <c:v>44006</c:v>
                </c:pt>
                <c:pt idx="7762">
                  <c:v>44007</c:v>
                </c:pt>
                <c:pt idx="7763">
                  <c:v>44008</c:v>
                </c:pt>
                <c:pt idx="7764">
                  <c:v>44011</c:v>
                </c:pt>
                <c:pt idx="7765">
                  <c:v>44012</c:v>
                </c:pt>
                <c:pt idx="7766">
                  <c:v>44013</c:v>
                </c:pt>
                <c:pt idx="7767">
                  <c:v>44014</c:v>
                </c:pt>
                <c:pt idx="7768">
                  <c:v>44018</c:v>
                </c:pt>
                <c:pt idx="7769">
                  <c:v>44019</c:v>
                </c:pt>
                <c:pt idx="7770">
                  <c:v>44020</c:v>
                </c:pt>
                <c:pt idx="7771">
                  <c:v>44021</c:v>
                </c:pt>
                <c:pt idx="7772">
                  <c:v>44022</c:v>
                </c:pt>
                <c:pt idx="7773">
                  <c:v>44025</c:v>
                </c:pt>
                <c:pt idx="7774">
                  <c:v>44026</c:v>
                </c:pt>
                <c:pt idx="7775">
                  <c:v>44027</c:v>
                </c:pt>
                <c:pt idx="7776">
                  <c:v>44028</c:v>
                </c:pt>
                <c:pt idx="7777">
                  <c:v>44029</c:v>
                </c:pt>
                <c:pt idx="7778">
                  <c:v>44032</c:v>
                </c:pt>
                <c:pt idx="7779">
                  <c:v>44033</c:v>
                </c:pt>
                <c:pt idx="7780">
                  <c:v>44034</c:v>
                </c:pt>
                <c:pt idx="7781">
                  <c:v>44035</c:v>
                </c:pt>
                <c:pt idx="7782">
                  <c:v>44036</c:v>
                </c:pt>
                <c:pt idx="7783">
                  <c:v>44039</c:v>
                </c:pt>
                <c:pt idx="7784">
                  <c:v>44040</c:v>
                </c:pt>
                <c:pt idx="7785">
                  <c:v>44041</c:v>
                </c:pt>
                <c:pt idx="7786">
                  <c:v>44042</c:v>
                </c:pt>
                <c:pt idx="7787">
                  <c:v>44043</c:v>
                </c:pt>
                <c:pt idx="7788">
                  <c:v>44046</c:v>
                </c:pt>
                <c:pt idx="7789">
                  <c:v>44047</c:v>
                </c:pt>
                <c:pt idx="7790">
                  <c:v>44048</c:v>
                </c:pt>
                <c:pt idx="7791">
                  <c:v>44049</c:v>
                </c:pt>
                <c:pt idx="7792">
                  <c:v>44050</c:v>
                </c:pt>
                <c:pt idx="7793">
                  <c:v>44053</c:v>
                </c:pt>
                <c:pt idx="7794">
                  <c:v>44054</c:v>
                </c:pt>
                <c:pt idx="7795">
                  <c:v>44055</c:v>
                </c:pt>
                <c:pt idx="7796">
                  <c:v>44056</c:v>
                </c:pt>
                <c:pt idx="7797">
                  <c:v>44057</c:v>
                </c:pt>
                <c:pt idx="7798">
                  <c:v>44060</c:v>
                </c:pt>
                <c:pt idx="7799">
                  <c:v>44061</c:v>
                </c:pt>
                <c:pt idx="7800">
                  <c:v>44062</c:v>
                </c:pt>
                <c:pt idx="7801">
                  <c:v>44063</c:v>
                </c:pt>
                <c:pt idx="7802">
                  <c:v>44064</c:v>
                </c:pt>
                <c:pt idx="7803">
                  <c:v>44067</c:v>
                </c:pt>
                <c:pt idx="7804">
                  <c:v>44068</c:v>
                </c:pt>
                <c:pt idx="7805">
                  <c:v>44069</c:v>
                </c:pt>
                <c:pt idx="7806">
                  <c:v>44070</c:v>
                </c:pt>
                <c:pt idx="7807">
                  <c:v>44071</c:v>
                </c:pt>
                <c:pt idx="7808">
                  <c:v>44074</c:v>
                </c:pt>
                <c:pt idx="7809">
                  <c:v>44075</c:v>
                </c:pt>
                <c:pt idx="7810">
                  <c:v>44076</c:v>
                </c:pt>
                <c:pt idx="7811">
                  <c:v>44077</c:v>
                </c:pt>
                <c:pt idx="7812">
                  <c:v>44078</c:v>
                </c:pt>
                <c:pt idx="7813">
                  <c:v>44082</c:v>
                </c:pt>
                <c:pt idx="7814">
                  <c:v>44083</c:v>
                </c:pt>
                <c:pt idx="7815">
                  <c:v>44084</c:v>
                </c:pt>
                <c:pt idx="7816">
                  <c:v>44085</c:v>
                </c:pt>
                <c:pt idx="7817">
                  <c:v>44088</c:v>
                </c:pt>
                <c:pt idx="7818">
                  <c:v>44089</c:v>
                </c:pt>
                <c:pt idx="7819">
                  <c:v>44090</c:v>
                </c:pt>
                <c:pt idx="7820">
                  <c:v>44091</c:v>
                </c:pt>
                <c:pt idx="7821">
                  <c:v>44092</c:v>
                </c:pt>
                <c:pt idx="7822">
                  <c:v>44095</c:v>
                </c:pt>
                <c:pt idx="7823">
                  <c:v>44096</c:v>
                </c:pt>
                <c:pt idx="7824">
                  <c:v>44097</c:v>
                </c:pt>
                <c:pt idx="7825">
                  <c:v>44098</c:v>
                </c:pt>
                <c:pt idx="7826">
                  <c:v>44099</c:v>
                </c:pt>
                <c:pt idx="7827">
                  <c:v>44102</c:v>
                </c:pt>
                <c:pt idx="7828">
                  <c:v>44103</c:v>
                </c:pt>
                <c:pt idx="7829">
                  <c:v>44104</c:v>
                </c:pt>
                <c:pt idx="7830">
                  <c:v>44105</c:v>
                </c:pt>
                <c:pt idx="7831">
                  <c:v>44106</c:v>
                </c:pt>
                <c:pt idx="7832">
                  <c:v>44109</c:v>
                </c:pt>
                <c:pt idx="7833">
                  <c:v>44110</c:v>
                </c:pt>
                <c:pt idx="7834">
                  <c:v>44111</c:v>
                </c:pt>
                <c:pt idx="7835">
                  <c:v>44112</c:v>
                </c:pt>
                <c:pt idx="7836">
                  <c:v>44113</c:v>
                </c:pt>
                <c:pt idx="7837">
                  <c:v>44116</c:v>
                </c:pt>
                <c:pt idx="7838">
                  <c:v>44117</c:v>
                </c:pt>
                <c:pt idx="7839">
                  <c:v>44118</c:v>
                </c:pt>
                <c:pt idx="7840">
                  <c:v>44119</c:v>
                </c:pt>
                <c:pt idx="7841">
                  <c:v>44120</c:v>
                </c:pt>
                <c:pt idx="7842">
                  <c:v>44123</c:v>
                </c:pt>
                <c:pt idx="7843">
                  <c:v>44124</c:v>
                </c:pt>
                <c:pt idx="7844">
                  <c:v>44125</c:v>
                </c:pt>
                <c:pt idx="7845">
                  <c:v>44126</c:v>
                </c:pt>
                <c:pt idx="7846">
                  <c:v>44127</c:v>
                </c:pt>
                <c:pt idx="7847">
                  <c:v>44130</c:v>
                </c:pt>
                <c:pt idx="7848">
                  <c:v>44131</c:v>
                </c:pt>
                <c:pt idx="7849">
                  <c:v>44132</c:v>
                </c:pt>
                <c:pt idx="7850">
                  <c:v>44133</c:v>
                </c:pt>
                <c:pt idx="7851">
                  <c:v>44134</c:v>
                </c:pt>
                <c:pt idx="7852">
                  <c:v>44137</c:v>
                </c:pt>
                <c:pt idx="7853">
                  <c:v>44138</c:v>
                </c:pt>
                <c:pt idx="7854">
                  <c:v>44139</c:v>
                </c:pt>
                <c:pt idx="7855">
                  <c:v>44140</c:v>
                </c:pt>
                <c:pt idx="7856">
                  <c:v>44141</c:v>
                </c:pt>
                <c:pt idx="7857">
                  <c:v>44144</c:v>
                </c:pt>
                <c:pt idx="7858">
                  <c:v>44145</c:v>
                </c:pt>
                <c:pt idx="7859">
                  <c:v>44146</c:v>
                </c:pt>
                <c:pt idx="7860">
                  <c:v>44147</c:v>
                </c:pt>
                <c:pt idx="7861">
                  <c:v>44148</c:v>
                </c:pt>
                <c:pt idx="7862">
                  <c:v>44151</c:v>
                </c:pt>
                <c:pt idx="7863">
                  <c:v>44152</c:v>
                </c:pt>
                <c:pt idx="7864">
                  <c:v>44153</c:v>
                </c:pt>
                <c:pt idx="7865">
                  <c:v>44154</c:v>
                </c:pt>
                <c:pt idx="7866">
                  <c:v>44155</c:v>
                </c:pt>
                <c:pt idx="7867">
                  <c:v>44158</c:v>
                </c:pt>
                <c:pt idx="7868">
                  <c:v>44159</c:v>
                </c:pt>
                <c:pt idx="7869">
                  <c:v>44160</c:v>
                </c:pt>
                <c:pt idx="7870">
                  <c:v>44162</c:v>
                </c:pt>
                <c:pt idx="7871">
                  <c:v>44165</c:v>
                </c:pt>
                <c:pt idx="7872">
                  <c:v>44166</c:v>
                </c:pt>
                <c:pt idx="7873">
                  <c:v>44167</c:v>
                </c:pt>
                <c:pt idx="7874">
                  <c:v>44168</c:v>
                </c:pt>
                <c:pt idx="7875">
                  <c:v>44169</c:v>
                </c:pt>
                <c:pt idx="7876">
                  <c:v>44172</c:v>
                </c:pt>
                <c:pt idx="7877">
                  <c:v>44173</c:v>
                </c:pt>
                <c:pt idx="7878">
                  <c:v>44174</c:v>
                </c:pt>
                <c:pt idx="7879">
                  <c:v>44175</c:v>
                </c:pt>
                <c:pt idx="7880">
                  <c:v>44176</c:v>
                </c:pt>
                <c:pt idx="7881">
                  <c:v>44179</c:v>
                </c:pt>
                <c:pt idx="7882">
                  <c:v>44180</c:v>
                </c:pt>
                <c:pt idx="7883">
                  <c:v>44181</c:v>
                </c:pt>
                <c:pt idx="7884">
                  <c:v>44182</c:v>
                </c:pt>
                <c:pt idx="7885">
                  <c:v>44183</c:v>
                </c:pt>
                <c:pt idx="7886">
                  <c:v>44186</c:v>
                </c:pt>
                <c:pt idx="7887">
                  <c:v>44187</c:v>
                </c:pt>
                <c:pt idx="7888">
                  <c:v>44188</c:v>
                </c:pt>
                <c:pt idx="7889">
                  <c:v>44189</c:v>
                </c:pt>
                <c:pt idx="7890">
                  <c:v>44193</c:v>
                </c:pt>
                <c:pt idx="7891">
                  <c:v>44194</c:v>
                </c:pt>
                <c:pt idx="7892">
                  <c:v>44195</c:v>
                </c:pt>
                <c:pt idx="7893">
                  <c:v>44196</c:v>
                </c:pt>
                <c:pt idx="7894">
                  <c:v>44200</c:v>
                </c:pt>
                <c:pt idx="7895">
                  <c:v>44201</c:v>
                </c:pt>
                <c:pt idx="7896">
                  <c:v>44202</c:v>
                </c:pt>
                <c:pt idx="7897">
                  <c:v>44203</c:v>
                </c:pt>
                <c:pt idx="7898">
                  <c:v>44204</c:v>
                </c:pt>
                <c:pt idx="7899">
                  <c:v>44207</c:v>
                </c:pt>
                <c:pt idx="7900">
                  <c:v>44208</c:v>
                </c:pt>
                <c:pt idx="7901">
                  <c:v>44209</c:v>
                </c:pt>
                <c:pt idx="7902">
                  <c:v>44210</c:v>
                </c:pt>
                <c:pt idx="7903">
                  <c:v>44211</c:v>
                </c:pt>
                <c:pt idx="7904">
                  <c:v>44215</c:v>
                </c:pt>
                <c:pt idx="7905">
                  <c:v>44216</c:v>
                </c:pt>
                <c:pt idx="7906">
                  <c:v>44217</c:v>
                </c:pt>
                <c:pt idx="7907">
                  <c:v>44218</c:v>
                </c:pt>
                <c:pt idx="7908">
                  <c:v>44221</c:v>
                </c:pt>
                <c:pt idx="7909">
                  <c:v>44222</c:v>
                </c:pt>
                <c:pt idx="7910">
                  <c:v>44223</c:v>
                </c:pt>
                <c:pt idx="7911">
                  <c:v>44224</c:v>
                </c:pt>
                <c:pt idx="7912">
                  <c:v>44225</c:v>
                </c:pt>
                <c:pt idx="7913">
                  <c:v>44228</c:v>
                </c:pt>
                <c:pt idx="7914">
                  <c:v>44229</c:v>
                </c:pt>
                <c:pt idx="7915">
                  <c:v>44230</c:v>
                </c:pt>
                <c:pt idx="7916">
                  <c:v>44231</c:v>
                </c:pt>
                <c:pt idx="7917">
                  <c:v>44232</c:v>
                </c:pt>
                <c:pt idx="7918">
                  <c:v>44235</c:v>
                </c:pt>
                <c:pt idx="7919">
                  <c:v>44236</c:v>
                </c:pt>
                <c:pt idx="7920">
                  <c:v>44237</c:v>
                </c:pt>
                <c:pt idx="7921">
                  <c:v>44238</c:v>
                </c:pt>
                <c:pt idx="7922">
                  <c:v>44239</c:v>
                </c:pt>
                <c:pt idx="7923">
                  <c:v>44243</c:v>
                </c:pt>
                <c:pt idx="7924">
                  <c:v>44244</c:v>
                </c:pt>
                <c:pt idx="7925">
                  <c:v>44245</c:v>
                </c:pt>
                <c:pt idx="7926">
                  <c:v>44246</c:v>
                </c:pt>
                <c:pt idx="7927">
                  <c:v>44249</c:v>
                </c:pt>
                <c:pt idx="7928">
                  <c:v>44250</c:v>
                </c:pt>
                <c:pt idx="7929">
                  <c:v>44251</c:v>
                </c:pt>
                <c:pt idx="7930">
                  <c:v>44252</c:v>
                </c:pt>
                <c:pt idx="7931">
                  <c:v>44253</c:v>
                </c:pt>
                <c:pt idx="7932">
                  <c:v>44256</c:v>
                </c:pt>
                <c:pt idx="7933">
                  <c:v>44257</c:v>
                </c:pt>
                <c:pt idx="7934">
                  <c:v>44258</c:v>
                </c:pt>
                <c:pt idx="7935">
                  <c:v>44259</c:v>
                </c:pt>
                <c:pt idx="7936">
                  <c:v>44260</c:v>
                </c:pt>
                <c:pt idx="7937">
                  <c:v>44263</c:v>
                </c:pt>
                <c:pt idx="7938">
                  <c:v>44264</c:v>
                </c:pt>
                <c:pt idx="7939">
                  <c:v>44265</c:v>
                </c:pt>
                <c:pt idx="7940">
                  <c:v>44266</c:v>
                </c:pt>
                <c:pt idx="7941">
                  <c:v>44267</c:v>
                </c:pt>
                <c:pt idx="7942">
                  <c:v>44270</c:v>
                </c:pt>
                <c:pt idx="7943">
                  <c:v>44271</c:v>
                </c:pt>
                <c:pt idx="7944">
                  <c:v>44272</c:v>
                </c:pt>
                <c:pt idx="7945">
                  <c:v>44273</c:v>
                </c:pt>
                <c:pt idx="7946">
                  <c:v>44274</c:v>
                </c:pt>
                <c:pt idx="7947">
                  <c:v>44277</c:v>
                </c:pt>
                <c:pt idx="7948">
                  <c:v>44278</c:v>
                </c:pt>
                <c:pt idx="7949">
                  <c:v>44279</c:v>
                </c:pt>
                <c:pt idx="7950">
                  <c:v>44280</c:v>
                </c:pt>
                <c:pt idx="7951">
                  <c:v>44281</c:v>
                </c:pt>
                <c:pt idx="7952">
                  <c:v>44284</c:v>
                </c:pt>
                <c:pt idx="7953">
                  <c:v>44285</c:v>
                </c:pt>
                <c:pt idx="7954">
                  <c:v>44286</c:v>
                </c:pt>
                <c:pt idx="7955">
                  <c:v>44287</c:v>
                </c:pt>
                <c:pt idx="7956">
                  <c:v>44291</c:v>
                </c:pt>
                <c:pt idx="7957">
                  <c:v>44292</c:v>
                </c:pt>
                <c:pt idx="7958">
                  <c:v>44293</c:v>
                </c:pt>
                <c:pt idx="7959">
                  <c:v>44294</c:v>
                </c:pt>
                <c:pt idx="7960">
                  <c:v>44295</c:v>
                </c:pt>
                <c:pt idx="7961">
                  <c:v>44298</c:v>
                </c:pt>
                <c:pt idx="7962">
                  <c:v>44299</c:v>
                </c:pt>
                <c:pt idx="7963">
                  <c:v>44300</c:v>
                </c:pt>
                <c:pt idx="7964">
                  <c:v>44301</c:v>
                </c:pt>
                <c:pt idx="7965">
                  <c:v>44302</c:v>
                </c:pt>
                <c:pt idx="7966">
                  <c:v>44305</c:v>
                </c:pt>
                <c:pt idx="7967">
                  <c:v>44306</c:v>
                </c:pt>
                <c:pt idx="7968">
                  <c:v>44307</c:v>
                </c:pt>
                <c:pt idx="7969">
                  <c:v>44308</c:v>
                </c:pt>
                <c:pt idx="7970">
                  <c:v>44309</c:v>
                </c:pt>
                <c:pt idx="7971">
                  <c:v>44312</c:v>
                </c:pt>
                <c:pt idx="7972">
                  <c:v>44313</c:v>
                </c:pt>
                <c:pt idx="7973">
                  <c:v>44314</c:v>
                </c:pt>
                <c:pt idx="7974">
                  <c:v>44315</c:v>
                </c:pt>
                <c:pt idx="7975">
                  <c:v>44316</c:v>
                </c:pt>
                <c:pt idx="7976">
                  <c:v>44319</c:v>
                </c:pt>
                <c:pt idx="7977">
                  <c:v>44320</c:v>
                </c:pt>
                <c:pt idx="7978">
                  <c:v>44321</c:v>
                </c:pt>
                <c:pt idx="7979">
                  <c:v>44322</c:v>
                </c:pt>
                <c:pt idx="7980">
                  <c:v>44323</c:v>
                </c:pt>
                <c:pt idx="7981">
                  <c:v>44326</c:v>
                </c:pt>
                <c:pt idx="7982">
                  <c:v>44327</c:v>
                </c:pt>
                <c:pt idx="7983">
                  <c:v>44328</c:v>
                </c:pt>
                <c:pt idx="7984">
                  <c:v>44329</c:v>
                </c:pt>
                <c:pt idx="7985">
                  <c:v>44330</c:v>
                </c:pt>
                <c:pt idx="7986">
                  <c:v>44333</c:v>
                </c:pt>
                <c:pt idx="7987">
                  <c:v>44334</c:v>
                </c:pt>
                <c:pt idx="7988">
                  <c:v>44335</c:v>
                </c:pt>
                <c:pt idx="7989">
                  <c:v>44336</c:v>
                </c:pt>
                <c:pt idx="7990">
                  <c:v>44337</c:v>
                </c:pt>
                <c:pt idx="7991">
                  <c:v>44340</c:v>
                </c:pt>
                <c:pt idx="7992">
                  <c:v>44341</c:v>
                </c:pt>
                <c:pt idx="7993">
                  <c:v>44342</c:v>
                </c:pt>
                <c:pt idx="7994">
                  <c:v>44343</c:v>
                </c:pt>
                <c:pt idx="7995">
                  <c:v>44344</c:v>
                </c:pt>
                <c:pt idx="7996">
                  <c:v>44348</c:v>
                </c:pt>
                <c:pt idx="7997">
                  <c:v>44349</c:v>
                </c:pt>
                <c:pt idx="7998">
                  <c:v>44350</c:v>
                </c:pt>
                <c:pt idx="7999">
                  <c:v>44351</c:v>
                </c:pt>
                <c:pt idx="8000">
                  <c:v>44354</c:v>
                </c:pt>
                <c:pt idx="8001">
                  <c:v>44355</c:v>
                </c:pt>
                <c:pt idx="8002">
                  <c:v>44356</c:v>
                </c:pt>
                <c:pt idx="8003">
                  <c:v>44357</c:v>
                </c:pt>
                <c:pt idx="8004">
                  <c:v>44358</c:v>
                </c:pt>
                <c:pt idx="8005">
                  <c:v>44361</c:v>
                </c:pt>
                <c:pt idx="8006">
                  <c:v>44362</c:v>
                </c:pt>
                <c:pt idx="8007">
                  <c:v>44363</c:v>
                </c:pt>
                <c:pt idx="8008">
                  <c:v>44364</c:v>
                </c:pt>
                <c:pt idx="8009">
                  <c:v>44365</c:v>
                </c:pt>
                <c:pt idx="8010">
                  <c:v>44368</c:v>
                </c:pt>
                <c:pt idx="8011">
                  <c:v>44369</c:v>
                </c:pt>
                <c:pt idx="8012">
                  <c:v>44370</c:v>
                </c:pt>
                <c:pt idx="8013">
                  <c:v>44371</c:v>
                </c:pt>
                <c:pt idx="8014">
                  <c:v>44372</c:v>
                </c:pt>
                <c:pt idx="8015">
                  <c:v>44375</c:v>
                </c:pt>
                <c:pt idx="8016">
                  <c:v>44376</c:v>
                </c:pt>
                <c:pt idx="8017">
                  <c:v>44377</c:v>
                </c:pt>
                <c:pt idx="8018">
                  <c:v>44378</c:v>
                </c:pt>
                <c:pt idx="8019">
                  <c:v>44379</c:v>
                </c:pt>
                <c:pt idx="8020">
                  <c:v>44383</c:v>
                </c:pt>
                <c:pt idx="8021">
                  <c:v>44384</c:v>
                </c:pt>
                <c:pt idx="8022">
                  <c:v>44385</c:v>
                </c:pt>
                <c:pt idx="8023">
                  <c:v>44386</c:v>
                </c:pt>
                <c:pt idx="8024">
                  <c:v>44389</c:v>
                </c:pt>
                <c:pt idx="8025">
                  <c:v>44390</c:v>
                </c:pt>
                <c:pt idx="8026">
                  <c:v>44391</c:v>
                </c:pt>
                <c:pt idx="8027">
                  <c:v>44392</c:v>
                </c:pt>
                <c:pt idx="8028">
                  <c:v>44393</c:v>
                </c:pt>
                <c:pt idx="8029">
                  <c:v>44396</c:v>
                </c:pt>
                <c:pt idx="8030">
                  <c:v>44397</c:v>
                </c:pt>
                <c:pt idx="8031">
                  <c:v>44398</c:v>
                </c:pt>
                <c:pt idx="8032">
                  <c:v>44399</c:v>
                </c:pt>
                <c:pt idx="8033">
                  <c:v>44400</c:v>
                </c:pt>
                <c:pt idx="8034">
                  <c:v>44403</c:v>
                </c:pt>
                <c:pt idx="8035">
                  <c:v>44404</c:v>
                </c:pt>
                <c:pt idx="8036">
                  <c:v>44405</c:v>
                </c:pt>
                <c:pt idx="8037">
                  <c:v>44406</c:v>
                </c:pt>
                <c:pt idx="8038">
                  <c:v>44407</c:v>
                </c:pt>
                <c:pt idx="8039">
                  <c:v>44410</c:v>
                </c:pt>
                <c:pt idx="8040">
                  <c:v>44411</c:v>
                </c:pt>
                <c:pt idx="8041">
                  <c:v>44412</c:v>
                </c:pt>
                <c:pt idx="8042">
                  <c:v>44413</c:v>
                </c:pt>
                <c:pt idx="8043">
                  <c:v>44414</c:v>
                </c:pt>
                <c:pt idx="8044">
                  <c:v>44417</c:v>
                </c:pt>
                <c:pt idx="8045">
                  <c:v>44418</c:v>
                </c:pt>
                <c:pt idx="8046">
                  <c:v>44419</c:v>
                </c:pt>
                <c:pt idx="8047">
                  <c:v>44420</c:v>
                </c:pt>
                <c:pt idx="8048">
                  <c:v>44421</c:v>
                </c:pt>
                <c:pt idx="8049">
                  <c:v>44424</c:v>
                </c:pt>
                <c:pt idx="8050">
                  <c:v>44425</c:v>
                </c:pt>
                <c:pt idx="8051">
                  <c:v>44426</c:v>
                </c:pt>
                <c:pt idx="8052">
                  <c:v>44427</c:v>
                </c:pt>
                <c:pt idx="8053">
                  <c:v>44428</c:v>
                </c:pt>
                <c:pt idx="8054">
                  <c:v>44431</c:v>
                </c:pt>
                <c:pt idx="8055">
                  <c:v>44432</c:v>
                </c:pt>
                <c:pt idx="8056">
                  <c:v>44433</c:v>
                </c:pt>
                <c:pt idx="8057">
                  <c:v>44434</c:v>
                </c:pt>
                <c:pt idx="8058">
                  <c:v>44435</c:v>
                </c:pt>
                <c:pt idx="8059">
                  <c:v>44438</c:v>
                </c:pt>
                <c:pt idx="8060">
                  <c:v>44439</c:v>
                </c:pt>
                <c:pt idx="8061">
                  <c:v>44440</c:v>
                </c:pt>
                <c:pt idx="8062">
                  <c:v>44441</c:v>
                </c:pt>
                <c:pt idx="8063">
                  <c:v>44442</c:v>
                </c:pt>
                <c:pt idx="8064">
                  <c:v>44446</c:v>
                </c:pt>
                <c:pt idx="8065">
                  <c:v>44447</c:v>
                </c:pt>
                <c:pt idx="8066">
                  <c:v>44448</c:v>
                </c:pt>
                <c:pt idx="8067">
                  <c:v>44449</c:v>
                </c:pt>
                <c:pt idx="8068">
                  <c:v>44452</c:v>
                </c:pt>
                <c:pt idx="8069">
                  <c:v>44453</c:v>
                </c:pt>
                <c:pt idx="8070">
                  <c:v>44454</c:v>
                </c:pt>
                <c:pt idx="8071">
                  <c:v>44455</c:v>
                </c:pt>
                <c:pt idx="8072">
                  <c:v>44456</c:v>
                </c:pt>
                <c:pt idx="8073">
                  <c:v>44459</c:v>
                </c:pt>
                <c:pt idx="8074">
                  <c:v>44460</c:v>
                </c:pt>
                <c:pt idx="8075">
                  <c:v>44461</c:v>
                </c:pt>
                <c:pt idx="8076">
                  <c:v>44462</c:v>
                </c:pt>
                <c:pt idx="8077">
                  <c:v>44463</c:v>
                </c:pt>
                <c:pt idx="8078">
                  <c:v>44466</c:v>
                </c:pt>
                <c:pt idx="8079">
                  <c:v>44467</c:v>
                </c:pt>
                <c:pt idx="8080">
                  <c:v>44468</c:v>
                </c:pt>
                <c:pt idx="8081">
                  <c:v>44469</c:v>
                </c:pt>
                <c:pt idx="8082">
                  <c:v>44470</c:v>
                </c:pt>
                <c:pt idx="8083">
                  <c:v>44473</c:v>
                </c:pt>
                <c:pt idx="8084">
                  <c:v>44474</c:v>
                </c:pt>
                <c:pt idx="8085">
                  <c:v>44475</c:v>
                </c:pt>
                <c:pt idx="8086">
                  <c:v>44476</c:v>
                </c:pt>
                <c:pt idx="8087">
                  <c:v>44477</c:v>
                </c:pt>
                <c:pt idx="8088">
                  <c:v>44480</c:v>
                </c:pt>
                <c:pt idx="8089">
                  <c:v>44481</c:v>
                </c:pt>
                <c:pt idx="8090">
                  <c:v>44482</c:v>
                </c:pt>
                <c:pt idx="8091">
                  <c:v>44483</c:v>
                </c:pt>
                <c:pt idx="8092">
                  <c:v>44484</c:v>
                </c:pt>
                <c:pt idx="8093">
                  <c:v>44487</c:v>
                </c:pt>
                <c:pt idx="8094">
                  <c:v>44488</c:v>
                </c:pt>
                <c:pt idx="8095">
                  <c:v>44489</c:v>
                </c:pt>
                <c:pt idx="8096">
                  <c:v>44490</c:v>
                </c:pt>
                <c:pt idx="8097">
                  <c:v>44491</c:v>
                </c:pt>
                <c:pt idx="8098">
                  <c:v>44494</c:v>
                </c:pt>
                <c:pt idx="8099">
                  <c:v>44495</c:v>
                </c:pt>
                <c:pt idx="8100">
                  <c:v>44496</c:v>
                </c:pt>
                <c:pt idx="8101">
                  <c:v>44497</c:v>
                </c:pt>
                <c:pt idx="8102">
                  <c:v>44498</c:v>
                </c:pt>
                <c:pt idx="8103">
                  <c:v>44501</c:v>
                </c:pt>
                <c:pt idx="8104">
                  <c:v>44502</c:v>
                </c:pt>
                <c:pt idx="8105">
                  <c:v>44503</c:v>
                </c:pt>
                <c:pt idx="8106">
                  <c:v>44504</c:v>
                </c:pt>
                <c:pt idx="8107">
                  <c:v>44505</c:v>
                </c:pt>
                <c:pt idx="8108">
                  <c:v>44508</c:v>
                </c:pt>
                <c:pt idx="8109">
                  <c:v>44509</c:v>
                </c:pt>
                <c:pt idx="8110">
                  <c:v>44510</c:v>
                </c:pt>
                <c:pt idx="8111">
                  <c:v>44511</c:v>
                </c:pt>
                <c:pt idx="8112">
                  <c:v>44512</c:v>
                </c:pt>
                <c:pt idx="8113">
                  <c:v>44515</c:v>
                </c:pt>
                <c:pt idx="8114">
                  <c:v>44516</c:v>
                </c:pt>
                <c:pt idx="8115">
                  <c:v>44517</c:v>
                </c:pt>
                <c:pt idx="8116">
                  <c:v>44518</c:v>
                </c:pt>
                <c:pt idx="8117">
                  <c:v>44519</c:v>
                </c:pt>
                <c:pt idx="8118">
                  <c:v>44522</c:v>
                </c:pt>
                <c:pt idx="8119">
                  <c:v>44523</c:v>
                </c:pt>
                <c:pt idx="8120">
                  <c:v>44524</c:v>
                </c:pt>
                <c:pt idx="8121">
                  <c:v>44526</c:v>
                </c:pt>
                <c:pt idx="8122">
                  <c:v>44529</c:v>
                </c:pt>
                <c:pt idx="8123">
                  <c:v>44530</c:v>
                </c:pt>
                <c:pt idx="8124">
                  <c:v>44531</c:v>
                </c:pt>
                <c:pt idx="8125">
                  <c:v>44532</c:v>
                </c:pt>
                <c:pt idx="8126">
                  <c:v>44533</c:v>
                </c:pt>
                <c:pt idx="8127">
                  <c:v>44536</c:v>
                </c:pt>
                <c:pt idx="8128">
                  <c:v>44537</c:v>
                </c:pt>
                <c:pt idx="8129">
                  <c:v>44538</c:v>
                </c:pt>
                <c:pt idx="8130">
                  <c:v>44539</c:v>
                </c:pt>
                <c:pt idx="8131">
                  <c:v>44540</c:v>
                </c:pt>
                <c:pt idx="8132">
                  <c:v>44543</c:v>
                </c:pt>
                <c:pt idx="8133">
                  <c:v>44544</c:v>
                </c:pt>
                <c:pt idx="8134">
                  <c:v>44545</c:v>
                </c:pt>
                <c:pt idx="8135">
                  <c:v>44546</c:v>
                </c:pt>
                <c:pt idx="8136">
                  <c:v>44547</c:v>
                </c:pt>
                <c:pt idx="8137">
                  <c:v>44550</c:v>
                </c:pt>
                <c:pt idx="8138">
                  <c:v>44551</c:v>
                </c:pt>
                <c:pt idx="8139">
                  <c:v>44552</c:v>
                </c:pt>
                <c:pt idx="8140">
                  <c:v>44553</c:v>
                </c:pt>
                <c:pt idx="8141">
                  <c:v>44557</c:v>
                </c:pt>
                <c:pt idx="8142">
                  <c:v>44558</c:v>
                </c:pt>
                <c:pt idx="8143">
                  <c:v>44559</c:v>
                </c:pt>
                <c:pt idx="8144">
                  <c:v>44560</c:v>
                </c:pt>
                <c:pt idx="8145">
                  <c:v>44561</c:v>
                </c:pt>
                <c:pt idx="8146">
                  <c:v>44564</c:v>
                </c:pt>
                <c:pt idx="8147">
                  <c:v>44565</c:v>
                </c:pt>
                <c:pt idx="8148">
                  <c:v>44566</c:v>
                </c:pt>
                <c:pt idx="8149">
                  <c:v>44567</c:v>
                </c:pt>
                <c:pt idx="8150">
                  <c:v>44568</c:v>
                </c:pt>
                <c:pt idx="8151">
                  <c:v>44571</c:v>
                </c:pt>
                <c:pt idx="8152">
                  <c:v>44572</c:v>
                </c:pt>
                <c:pt idx="8153">
                  <c:v>44573</c:v>
                </c:pt>
                <c:pt idx="8154">
                  <c:v>44574</c:v>
                </c:pt>
                <c:pt idx="8155">
                  <c:v>44575</c:v>
                </c:pt>
                <c:pt idx="8156">
                  <c:v>44579</c:v>
                </c:pt>
                <c:pt idx="8157">
                  <c:v>44580</c:v>
                </c:pt>
                <c:pt idx="8158">
                  <c:v>44581</c:v>
                </c:pt>
                <c:pt idx="8159">
                  <c:v>44582</c:v>
                </c:pt>
                <c:pt idx="8160">
                  <c:v>44585</c:v>
                </c:pt>
                <c:pt idx="8161">
                  <c:v>44586</c:v>
                </c:pt>
                <c:pt idx="8162">
                  <c:v>44587</c:v>
                </c:pt>
                <c:pt idx="8163">
                  <c:v>44588</c:v>
                </c:pt>
                <c:pt idx="8164">
                  <c:v>44589</c:v>
                </c:pt>
                <c:pt idx="8165">
                  <c:v>44592</c:v>
                </c:pt>
                <c:pt idx="8166">
                  <c:v>44593</c:v>
                </c:pt>
                <c:pt idx="8167">
                  <c:v>44594</c:v>
                </c:pt>
                <c:pt idx="8168">
                  <c:v>44595</c:v>
                </c:pt>
                <c:pt idx="8169">
                  <c:v>44596</c:v>
                </c:pt>
                <c:pt idx="8170">
                  <c:v>44599</c:v>
                </c:pt>
                <c:pt idx="8171">
                  <c:v>44600</c:v>
                </c:pt>
                <c:pt idx="8172">
                  <c:v>44601</c:v>
                </c:pt>
                <c:pt idx="8173">
                  <c:v>44602</c:v>
                </c:pt>
                <c:pt idx="8174">
                  <c:v>44603</c:v>
                </c:pt>
                <c:pt idx="8175">
                  <c:v>44606</c:v>
                </c:pt>
                <c:pt idx="8176">
                  <c:v>44607</c:v>
                </c:pt>
                <c:pt idx="8177">
                  <c:v>44608</c:v>
                </c:pt>
                <c:pt idx="8178">
                  <c:v>44609</c:v>
                </c:pt>
                <c:pt idx="8179">
                  <c:v>44610</c:v>
                </c:pt>
                <c:pt idx="8180">
                  <c:v>44614</c:v>
                </c:pt>
                <c:pt idx="8181">
                  <c:v>44615</c:v>
                </c:pt>
                <c:pt idx="8182">
                  <c:v>44616</c:v>
                </c:pt>
                <c:pt idx="8183">
                  <c:v>44617</c:v>
                </c:pt>
                <c:pt idx="8184">
                  <c:v>44620</c:v>
                </c:pt>
                <c:pt idx="8185">
                  <c:v>44621</c:v>
                </c:pt>
                <c:pt idx="8186">
                  <c:v>44622</c:v>
                </c:pt>
                <c:pt idx="8187">
                  <c:v>44623</c:v>
                </c:pt>
                <c:pt idx="8188">
                  <c:v>44624</c:v>
                </c:pt>
                <c:pt idx="8189">
                  <c:v>44627</c:v>
                </c:pt>
                <c:pt idx="8190">
                  <c:v>44628</c:v>
                </c:pt>
                <c:pt idx="8191">
                  <c:v>44629</c:v>
                </c:pt>
                <c:pt idx="8192">
                  <c:v>44630</c:v>
                </c:pt>
                <c:pt idx="8193">
                  <c:v>44631</c:v>
                </c:pt>
                <c:pt idx="8194">
                  <c:v>44634</c:v>
                </c:pt>
                <c:pt idx="8195">
                  <c:v>44635</c:v>
                </c:pt>
                <c:pt idx="8196">
                  <c:v>44636</c:v>
                </c:pt>
                <c:pt idx="8197">
                  <c:v>44637</c:v>
                </c:pt>
                <c:pt idx="8198">
                  <c:v>44638</c:v>
                </c:pt>
                <c:pt idx="8199">
                  <c:v>44641</c:v>
                </c:pt>
                <c:pt idx="8200">
                  <c:v>44642</c:v>
                </c:pt>
                <c:pt idx="8201">
                  <c:v>44643</c:v>
                </c:pt>
                <c:pt idx="8202">
                  <c:v>44644</c:v>
                </c:pt>
                <c:pt idx="8203">
                  <c:v>44645</c:v>
                </c:pt>
                <c:pt idx="8204">
                  <c:v>44648</c:v>
                </c:pt>
                <c:pt idx="8205">
                  <c:v>44649</c:v>
                </c:pt>
                <c:pt idx="8206">
                  <c:v>44650</c:v>
                </c:pt>
                <c:pt idx="8207">
                  <c:v>44651</c:v>
                </c:pt>
                <c:pt idx="8208">
                  <c:v>44652</c:v>
                </c:pt>
                <c:pt idx="8209">
                  <c:v>44655</c:v>
                </c:pt>
                <c:pt idx="8210">
                  <c:v>44656</c:v>
                </c:pt>
                <c:pt idx="8211">
                  <c:v>44657</c:v>
                </c:pt>
                <c:pt idx="8212">
                  <c:v>44658</c:v>
                </c:pt>
                <c:pt idx="8213">
                  <c:v>44659</c:v>
                </c:pt>
                <c:pt idx="8214">
                  <c:v>44662</c:v>
                </c:pt>
                <c:pt idx="8215">
                  <c:v>44663</c:v>
                </c:pt>
                <c:pt idx="8216">
                  <c:v>44664</c:v>
                </c:pt>
                <c:pt idx="8217">
                  <c:v>44665</c:v>
                </c:pt>
                <c:pt idx="8218">
                  <c:v>44669</c:v>
                </c:pt>
                <c:pt idx="8219">
                  <c:v>44670</c:v>
                </c:pt>
                <c:pt idx="8220">
                  <c:v>44671</c:v>
                </c:pt>
                <c:pt idx="8221">
                  <c:v>44672</c:v>
                </c:pt>
                <c:pt idx="8222">
                  <c:v>44673</c:v>
                </c:pt>
                <c:pt idx="8223">
                  <c:v>44676</c:v>
                </c:pt>
                <c:pt idx="8224">
                  <c:v>44677</c:v>
                </c:pt>
                <c:pt idx="8225">
                  <c:v>44678</c:v>
                </c:pt>
                <c:pt idx="8226">
                  <c:v>44679</c:v>
                </c:pt>
                <c:pt idx="8227">
                  <c:v>44680</c:v>
                </c:pt>
                <c:pt idx="8228">
                  <c:v>44683</c:v>
                </c:pt>
                <c:pt idx="8229">
                  <c:v>44684</c:v>
                </c:pt>
                <c:pt idx="8230">
                  <c:v>44685</c:v>
                </c:pt>
                <c:pt idx="8231">
                  <c:v>44686</c:v>
                </c:pt>
                <c:pt idx="8232">
                  <c:v>44687</c:v>
                </c:pt>
                <c:pt idx="8233">
                  <c:v>44690</c:v>
                </c:pt>
                <c:pt idx="8234">
                  <c:v>44691</c:v>
                </c:pt>
                <c:pt idx="8235">
                  <c:v>44692</c:v>
                </c:pt>
                <c:pt idx="8236">
                  <c:v>44693</c:v>
                </c:pt>
                <c:pt idx="8237">
                  <c:v>44694</c:v>
                </c:pt>
                <c:pt idx="8238">
                  <c:v>44697</c:v>
                </c:pt>
                <c:pt idx="8239">
                  <c:v>44698</c:v>
                </c:pt>
                <c:pt idx="8240">
                  <c:v>44699</c:v>
                </c:pt>
                <c:pt idx="8241">
                  <c:v>44700</c:v>
                </c:pt>
                <c:pt idx="8242">
                  <c:v>44701</c:v>
                </c:pt>
                <c:pt idx="8243">
                  <c:v>44704</c:v>
                </c:pt>
                <c:pt idx="8244">
                  <c:v>44705</c:v>
                </c:pt>
                <c:pt idx="8245">
                  <c:v>44706</c:v>
                </c:pt>
                <c:pt idx="8246">
                  <c:v>44707</c:v>
                </c:pt>
                <c:pt idx="8247">
                  <c:v>44708</c:v>
                </c:pt>
                <c:pt idx="8248">
                  <c:v>44712</c:v>
                </c:pt>
                <c:pt idx="8249">
                  <c:v>44713</c:v>
                </c:pt>
                <c:pt idx="8250">
                  <c:v>44714</c:v>
                </c:pt>
                <c:pt idx="8251">
                  <c:v>44715</c:v>
                </c:pt>
                <c:pt idx="8252">
                  <c:v>44718</c:v>
                </c:pt>
                <c:pt idx="8253">
                  <c:v>44719</c:v>
                </c:pt>
                <c:pt idx="8254">
                  <c:v>44720</c:v>
                </c:pt>
                <c:pt idx="8255">
                  <c:v>44721</c:v>
                </c:pt>
                <c:pt idx="8256">
                  <c:v>44722</c:v>
                </c:pt>
                <c:pt idx="8257">
                  <c:v>44725</c:v>
                </c:pt>
                <c:pt idx="8258">
                  <c:v>44726</c:v>
                </c:pt>
                <c:pt idx="8259">
                  <c:v>44727</c:v>
                </c:pt>
                <c:pt idx="8260">
                  <c:v>44728</c:v>
                </c:pt>
                <c:pt idx="8261">
                  <c:v>44729</c:v>
                </c:pt>
                <c:pt idx="8262">
                  <c:v>44733</c:v>
                </c:pt>
                <c:pt idx="8263">
                  <c:v>44734</c:v>
                </c:pt>
                <c:pt idx="8264">
                  <c:v>44735</c:v>
                </c:pt>
                <c:pt idx="8265">
                  <c:v>44736</c:v>
                </c:pt>
                <c:pt idx="8266">
                  <c:v>44739</c:v>
                </c:pt>
                <c:pt idx="8267">
                  <c:v>44740</c:v>
                </c:pt>
                <c:pt idx="8268">
                  <c:v>44741</c:v>
                </c:pt>
                <c:pt idx="8269">
                  <c:v>44742</c:v>
                </c:pt>
                <c:pt idx="8270">
                  <c:v>44743</c:v>
                </c:pt>
                <c:pt idx="8271">
                  <c:v>44747</c:v>
                </c:pt>
                <c:pt idx="8272">
                  <c:v>44748</c:v>
                </c:pt>
                <c:pt idx="8273">
                  <c:v>44749</c:v>
                </c:pt>
                <c:pt idx="8274">
                  <c:v>44750</c:v>
                </c:pt>
                <c:pt idx="8275">
                  <c:v>44753</c:v>
                </c:pt>
                <c:pt idx="8276">
                  <c:v>44754</c:v>
                </c:pt>
                <c:pt idx="8277">
                  <c:v>44755</c:v>
                </c:pt>
                <c:pt idx="8278">
                  <c:v>44756</c:v>
                </c:pt>
                <c:pt idx="8279">
                  <c:v>44757</c:v>
                </c:pt>
                <c:pt idx="8280">
                  <c:v>44760</c:v>
                </c:pt>
                <c:pt idx="8281">
                  <c:v>44761</c:v>
                </c:pt>
                <c:pt idx="8282">
                  <c:v>44762</c:v>
                </c:pt>
                <c:pt idx="8283">
                  <c:v>44763</c:v>
                </c:pt>
                <c:pt idx="8284">
                  <c:v>44764</c:v>
                </c:pt>
                <c:pt idx="8285">
                  <c:v>44767</c:v>
                </c:pt>
                <c:pt idx="8286">
                  <c:v>44768</c:v>
                </c:pt>
                <c:pt idx="8287">
                  <c:v>44769</c:v>
                </c:pt>
                <c:pt idx="8288">
                  <c:v>44770</c:v>
                </c:pt>
                <c:pt idx="8289">
                  <c:v>44771</c:v>
                </c:pt>
                <c:pt idx="8290">
                  <c:v>44774</c:v>
                </c:pt>
                <c:pt idx="8291">
                  <c:v>44775</c:v>
                </c:pt>
                <c:pt idx="8292">
                  <c:v>44776</c:v>
                </c:pt>
                <c:pt idx="8293">
                  <c:v>44777</c:v>
                </c:pt>
                <c:pt idx="8294">
                  <c:v>44778</c:v>
                </c:pt>
                <c:pt idx="8295">
                  <c:v>44781</c:v>
                </c:pt>
                <c:pt idx="8296">
                  <c:v>44782</c:v>
                </c:pt>
                <c:pt idx="8297">
                  <c:v>44783</c:v>
                </c:pt>
                <c:pt idx="8298">
                  <c:v>44784</c:v>
                </c:pt>
                <c:pt idx="8299">
                  <c:v>44785</c:v>
                </c:pt>
                <c:pt idx="8300">
                  <c:v>44788</c:v>
                </c:pt>
                <c:pt idx="8301">
                  <c:v>44789</c:v>
                </c:pt>
                <c:pt idx="8302">
                  <c:v>44790</c:v>
                </c:pt>
                <c:pt idx="8303">
                  <c:v>44791</c:v>
                </c:pt>
                <c:pt idx="8304">
                  <c:v>44792</c:v>
                </c:pt>
                <c:pt idx="8305">
                  <c:v>44795</c:v>
                </c:pt>
                <c:pt idx="8306">
                  <c:v>44796</c:v>
                </c:pt>
                <c:pt idx="8307">
                  <c:v>44797</c:v>
                </c:pt>
                <c:pt idx="8308">
                  <c:v>44798</c:v>
                </c:pt>
                <c:pt idx="8309">
                  <c:v>44799</c:v>
                </c:pt>
                <c:pt idx="8310">
                  <c:v>44802</c:v>
                </c:pt>
                <c:pt idx="8311">
                  <c:v>44803</c:v>
                </c:pt>
                <c:pt idx="8312">
                  <c:v>44804</c:v>
                </c:pt>
                <c:pt idx="8313">
                  <c:v>44805</c:v>
                </c:pt>
                <c:pt idx="8314">
                  <c:v>44806</c:v>
                </c:pt>
                <c:pt idx="8315">
                  <c:v>44810</c:v>
                </c:pt>
                <c:pt idx="8316">
                  <c:v>44811</c:v>
                </c:pt>
                <c:pt idx="8317">
                  <c:v>44812</c:v>
                </c:pt>
                <c:pt idx="8318">
                  <c:v>44813</c:v>
                </c:pt>
                <c:pt idx="8319">
                  <c:v>44816</c:v>
                </c:pt>
                <c:pt idx="8320">
                  <c:v>44817</c:v>
                </c:pt>
                <c:pt idx="8321">
                  <c:v>44818</c:v>
                </c:pt>
                <c:pt idx="8322">
                  <c:v>44819</c:v>
                </c:pt>
                <c:pt idx="8323">
                  <c:v>44820</c:v>
                </c:pt>
                <c:pt idx="8324">
                  <c:v>44823</c:v>
                </c:pt>
                <c:pt idx="8325">
                  <c:v>44824</c:v>
                </c:pt>
                <c:pt idx="8326">
                  <c:v>44825</c:v>
                </c:pt>
                <c:pt idx="8327">
                  <c:v>44826</c:v>
                </c:pt>
                <c:pt idx="8328">
                  <c:v>44827</c:v>
                </c:pt>
                <c:pt idx="8329">
                  <c:v>44830</c:v>
                </c:pt>
                <c:pt idx="8330">
                  <c:v>44831</c:v>
                </c:pt>
                <c:pt idx="8331">
                  <c:v>44832</c:v>
                </c:pt>
                <c:pt idx="8332">
                  <c:v>44833</c:v>
                </c:pt>
                <c:pt idx="8333">
                  <c:v>44834</c:v>
                </c:pt>
                <c:pt idx="8334">
                  <c:v>44837</c:v>
                </c:pt>
                <c:pt idx="8335">
                  <c:v>44838</c:v>
                </c:pt>
                <c:pt idx="8336">
                  <c:v>44839</c:v>
                </c:pt>
                <c:pt idx="8337">
                  <c:v>44840</c:v>
                </c:pt>
                <c:pt idx="8338">
                  <c:v>44841</c:v>
                </c:pt>
                <c:pt idx="8339">
                  <c:v>44844</c:v>
                </c:pt>
                <c:pt idx="8340">
                  <c:v>44845</c:v>
                </c:pt>
                <c:pt idx="8341">
                  <c:v>44846</c:v>
                </c:pt>
                <c:pt idx="8342">
                  <c:v>44847</c:v>
                </c:pt>
                <c:pt idx="8343">
                  <c:v>44848</c:v>
                </c:pt>
                <c:pt idx="8344">
                  <c:v>44851</c:v>
                </c:pt>
                <c:pt idx="8345">
                  <c:v>44852</c:v>
                </c:pt>
                <c:pt idx="8346">
                  <c:v>44853</c:v>
                </c:pt>
                <c:pt idx="8347">
                  <c:v>44854</c:v>
                </c:pt>
                <c:pt idx="8348">
                  <c:v>44855</c:v>
                </c:pt>
                <c:pt idx="8349">
                  <c:v>44858</c:v>
                </c:pt>
                <c:pt idx="8350">
                  <c:v>44859</c:v>
                </c:pt>
                <c:pt idx="8351">
                  <c:v>44860</c:v>
                </c:pt>
                <c:pt idx="8352">
                  <c:v>44861</c:v>
                </c:pt>
                <c:pt idx="8353">
                  <c:v>44862</c:v>
                </c:pt>
                <c:pt idx="8354">
                  <c:v>44865</c:v>
                </c:pt>
                <c:pt idx="8355">
                  <c:v>44866</c:v>
                </c:pt>
                <c:pt idx="8356">
                  <c:v>44867</c:v>
                </c:pt>
                <c:pt idx="8357">
                  <c:v>44868</c:v>
                </c:pt>
                <c:pt idx="8358">
                  <c:v>44869</c:v>
                </c:pt>
                <c:pt idx="8359">
                  <c:v>44872</c:v>
                </c:pt>
                <c:pt idx="8360">
                  <c:v>44873</c:v>
                </c:pt>
                <c:pt idx="8361">
                  <c:v>44874</c:v>
                </c:pt>
                <c:pt idx="8362">
                  <c:v>44875</c:v>
                </c:pt>
                <c:pt idx="8363">
                  <c:v>44876</c:v>
                </c:pt>
                <c:pt idx="8364">
                  <c:v>44879</c:v>
                </c:pt>
                <c:pt idx="8365">
                  <c:v>44880</c:v>
                </c:pt>
                <c:pt idx="8366">
                  <c:v>44881</c:v>
                </c:pt>
                <c:pt idx="8367">
                  <c:v>44882</c:v>
                </c:pt>
                <c:pt idx="8368">
                  <c:v>44883</c:v>
                </c:pt>
                <c:pt idx="8369">
                  <c:v>44886</c:v>
                </c:pt>
                <c:pt idx="8370">
                  <c:v>44887</c:v>
                </c:pt>
                <c:pt idx="8371">
                  <c:v>44888</c:v>
                </c:pt>
                <c:pt idx="8372">
                  <c:v>44890</c:v>
                </c:pt>
                <c:pt idx="8373">
                  <c:v>44893</c:v>
                </c:pt>
                <c:pt idx="8374">
                  <c:v>44894</c:v>
                </c:pt>
                <c:pt idx="8375">
                  <c:v>44895</c:v>
                </c:pt>
                <c:pt idx="8376">
                  <c:v>44896</c:v>
                </c:pt>
                <c:pt idx="8377">
                  <c:v>44897</c:v>
                </c:pt>
                <c:pt idx="8378">
                  <c:v>44900</c:v>
                </c:pt>
                <c:pt idx="8379">
                  <c:v>44901</c:v>
                </c:pt>
                <c:pt idx="8380">
                  <c:v>44902</c:v>
                </c:pt>
                <c:pt idx="8381">
                  <c:v>44903</c:v>
                </c:pt>
                <c:pt idx="8382">
                  <c:v>44904</c:v>
                </c:pt>
                <c:pt idx="8383">
                  <c:v>44907</c:v>
                </c:pt>
                <c:pt idx="8384">
                  <c:v>44908</c:v>
                </c:pt>
                <c:pt idx="8385">
                  <c:v>44909</c:v>
                </c:pt>
                <c:pt idx="8386">
                  <c:v>44910</c:v>
                </c:pt>
                <c:pt idx="8387">
                  <c:v>44911</c:v>
                </c:pt>
                <c:pt idx="8388">
                  <c:v>44914</c:v>
                </c:pt>
                <c:pt idx="8389">
                  <c:v>44915</c:v>
                </c:pt>
                <c:pt idx="8390">
                  <c:v>44916</c:v>
                </c:pt>
                <c:pt idx="8391">
                  <c:v>44917</c:v>
                </c:pt>
                <c:pt idx="8392">
                  <c:v>44918</c:v>
                </c:pt>
                <c:pt idx="8393">
                  <c:v>44922</c:v>
                </c:pt>
                <c:pt idx="8394">
                  <c:v>44923</c:v>
                </c:pt>
                <c:pt idx="8395">
                  <c:v>44924</c:v>
                </c:pt>
                <c:pt idx="8396">
                  <c:v>44925</c:v>
                </c:pt>
                <c:pt idx="8397">
                  <c:v>44929</c:v>
                </c:pt>
                <c:pt idx="8398">
                  <c:v>44930</c:v>
                </c:pt>
                <c:pt idx="8399">
                  <c:v>44931</c:v>
                </c:pt>
                <c:pt idx="8400">
                  <c:v>44932</c:v>
                </c:pt>
                <c:pt idx="8401">
                  <c:v>44935</c:v>
                </c:pt>
                <c:pt idx="8402">
                  <c:v>44936</c:v>
                </c:pt>
                <c:pt idx="8403">
                  <c:v>44937</c:v>
                </c:pt>
                <c:pt idx="8404">
                  <c:v>44938</c:v>
                </c:pt>
                <c:pt idx="8405">
                  <c:v>44939</c:v>
                </c:pt>
                <c:pt idx="8406">
                  <c:v>44943</c:v>
                </c:pt>
                <c:pt idx="8407">
                  <c:v>44944</c:v>
                </c:pt>
                <c:pt idx="8408">
                  <c:v>44945</c:v>
                </c:pt>
                <c:pt idx="8409">
                  <c:v>44946</c:v>
                </c:pt>
                <c:pt idx="8410">
                  <c:v>44949</c:v>
                </c:pt>
                <c:pt idx="8411">
                  <c:v>44950</c:v>
                </c:pt>
                <c:pt idx="8412">
                  <c:v>44951</c:v>
                </c:pt>
                <c:pt idx="8413">
                  <c:v>44952</c:v>
                </c:pt>
                <c:pt idx="8414">
                  <c:v>44953</c:v>
                </c:pt>
                <c:pt idx="8415">
                  <c:v>44956</c:v>
                </c:pt>
                <c:pt idx="8416">
                  <c:v>44957</c:v>
                </c:pt>
                <c:pt idx="8417">
                  <c:v>44958</c:v>
                </c:pt>
                <c:pt idx="8418">
                  <c:v>44959</c:v>
                </c:pt>
                <c:pt idx="8419">
                  <c:v>44960</c:v>
                </c:pt>
                <c:pt idx="8420">
                  <c:v>44963</c:v>
                </c:pt>
                <c:pt idx="8421">
                  <c:v>44964</c:v>
                </c:pt>
                <c:pt idx="8422">
                  <c:v>44965</c:v>
                </c:pt>
                <c:pt idx="8423">
                  <c:v>44966</c:v>
                </c:pt>
                <c:pt idx="8424">
                  <c:v>44967</c:v>
                </c:pt>
                <c:pt idx="8425">
                  <c:v>44970</c:v>
                </c:pt>
                <c:pt idx="8426">
                  <c:v>44971</c:v>
                </c:pt>
                <c:pt idx="8427">
                  <c:v>44972</c:v>
                </c:pt>
                <c:pt idx="8428">
                  <c:v>44973</c:v>
                </c:pt>
                <c:pt idx="8429">
                  <c:v>44974</c:v>
                </c:pt>
                <c:pt idx="8430">
                  <c:v>44978</c:v>
                </c:pt>
              </c:numCache>
            </c:numRef>
          </c:cat>
          <c:val>
            <c:numRef>
              <c:f>wig!$D$5:$D$8435</c:f>
              <c:numCache>
                <c:formatCode>General</c:formatCode>
                <c:ptCount val="8431"/>
                <c:pt idx="0">
                  <c:v>-0.79464310522074966</c:v>
                </c:pt>
                <c:pt idx="1">
                  <c:v>-0.79401517045928149</c:v>
                </c:pt>
                <c:pt idx="2">
                  <c:v>-0.79592120252285292</c:v>
                </c:pt>
                <c:pt idx="3">
                  <c:v>-0.79726598316245734</c:v>
                </c:pt>
                <c:pt idx="4">
                  <c:v>-0.79613792336973133</c:v>
                </c:pt>
                <c:pt idx="5">
                  <c:v>-0.79514323025200739</c:v>
                </c:pt>
                <c:pt idx="6">
                  <c:v>-0.79515990108638268</c:v>
                </c:pt>
                <c:pt idx="7">
                  <c:v>-0.79520435664471667</c:v>
                </c:pt>
                <c:pt idx="8">
                  <c:v>-0.79562668444888995</c:v>
                </c:pt>
                <c:pt idx="9">
                  <c:v>-0.79482648439887749</c:v>
                </c:pt>
                <c:pt idx="10">
                  <c:v>-0.79640465671973548</c:v>
                </c:pt>
                <c:pt idx="11">
                  <c:v>-0.79633797338223444</c:v>
                </c:pt>
                <c:pt idx="12">
                  <c:v>-0.79587674696451893</c:v>
                </c:pt>
                <c:pt idx="13">
                  <c:v>-0.79377066488844439</c:v>
                </c:pt>
                <c:pt idx="14">
                  <c:v>-0.79342613431135556</c:v>
                </c:pt>
                <c:pt idx="15">
                  <c:v>-0.79239809952488116</c:v>
                </c:pt>
                <c:pt idx="16">
                  <c:v>-0.79004195493317775</c:v>
                </c:pt>
                <c:pt idx="17">
                  <c:v>-0.78869161734878168</c:v>
                </c:pt>
                <c:pt idx="18">
                  <c:v>-0.78866938956961463</c:v>
                </c:pt>
                <c:pt idx="19">
                  <c:v>-0.78758578533522272</c:v>
                </c:pt>
                <c:pt idx="20">
                  <c:v>-0.78698007835292161</c:v>
                </c:pt>
                <c:pt idx="21">
                  <c:v>-0.78737462143313608</c:v>
                </c:pt>
                <c:pt idx="22">
                  <c:v>-0.78863604790086406</c:v>
                </c:pt>
                <c:pt idx="23">
                  <c:v>-0.789586285460254</c:v>
                </c:pt>
                <c:pt idx="24">
                  <c:v>-0.80245616959795507</c:v>
                </c:pt>
                <c:pt idx="25">
                  <c:v>-0.79697146508849437</c:v>
                </c:pt>
                <c:pt idx="26">
                  <c:v>-0.79796060126142643</c:v>
                </c:pt>
                <c:pt idx="27">
                  <c:v>-0.79760495679475418</c:v>
                </c:pt>
                <c:pt idx="28">
                  <c:v>-0.79442082742907949</c:v>
                </c:pt>
                <c:pt idx="29">
                  <c:v>-0.79439859964991244</c:v>
                </c:pt>
                <c:pt idx="30">
                  <c:v>-0.79575449417910038</c:v>
                </c:pt>
                <c:pt idx="31">
                  <c:v>-0.79642132755411077</c:v>
                </c:pt>
                <c:pt idx="32">
                  <c:v>-0.79710483176349645</c:v>
                </c:pt>
                <c:pt idx="33">
                  <c:v>-0.79977216526353812</c:v>
                </c:pt>
                <c:pt idx="34">
                  <c:v>-0.80147259036981466</c:v>
                </c:pt>
                <c:pt idx="35">
                  <c:v>-0.80143369175627244</c:v>
                </c:pt>
                <c:pt idx="36">
                  <c:v>-0.79822177766663893</c:v>
                </c:pt>
                <c:pt idx="37">
                  <c:v>-0.79772165263538108</c:v>
                </c:pt>
                <c:pt idx="38">
                  <c:v>-0.79922202772915452</c:v>
                </c:pt>
                <c:pt idx="39">
                  <c:v>-0.79972215276041236</c:v>
                </c:pt>
                <c:pt idx="40">
                  <c:v>-0.80262287794170761</c:v>
                </c:pt>
                <c:pt idx="41">
                  <c:v>-0.80123364174376932</c:v>
                </c:pt>
                <c:pt idx="42">
                  <c:v>-0.7992386985635298</c:v>
                </c:pt>
                <c:pt idx="43">
                  <c:v>-0.8001222527854186</c:v>
                </c:pt>
                <c:pt idx="44">
                  <c:v>-0.79856075129893589</c:v>
                </c:pt>
                <c:pt idx="45">
                  <c:v>-0.79821622072184706</c:v>
                </c:pt>
                <c:pt idx="46">
                  <c:v>-0.79911644577811125</c:v>
                </c:pt>
                <c:pt idx="47">
                  <c:v>-0.79758828596037901</c:v>
                </c:pt>
                <c:pt idx="48">
                  <c:v>-0.79753271651246149</c:v>
                </c:pt>
                <c:pt idx="49">
                  <c:v>-0.7968936678614098</c:v>
                </c:pt>
                <c:pt idx="50">
                  <c:v>-0.79821066377705541</c:v>
                </c:pt>
                <c:pt idx="51">
                  <c:v>-0.7980661832124698</c:v>
                </c:pt>
                <c:pt idx="52">
                  <c:v>-0.79668806090411493</c:v>
                </c:pt>
                <c:pt idx="53">
                  <c:v>-0.79543774832597036</c:v>
                </c:pt>
                <c:pt idx="54">
                  <c:v>-0.79437081492595363</c:v>
                </c:pt>
                <c:pt idx="55">
                  <c:v>-0.79424856214053507</c:v>
                </c:pt>
                <c:pt idx="56">
                  <c:v>-0.79553221638743021</c:v>
                </c:pt>
                <c:pt idx="57">
                  <c:v>-0.79410963852074135</c:v>
                </c:pt>
                <c:pt idx="58">
                  <c:v>-0.79132560918007278</c:v>
                </c:pt>
                <c:pt idx="59">
                  <c:v>-0.79076991470089741</c:v>
                </c:pt>
                <c:pt idx="60">
                  <c:v>-0.79182573421133062</c:v>
                </c:pt>
                <c:pt idx="61">
                  <c:v>-0.7924369981384235</c:v>
                </c:pt>
                <c:pt idx="62">
                  <c:v>-0.79299269261759886</c:v>
                </c:pt>
                <c:pt idx="63">
                  <c:v>-0.79233697313217188</c:v>
                </c:pt>
                <c:pt idx="64">
                  <c:v>-0.79232585924258836</c:v>
                </c:pt>
                <c:pt idx="65">
                  <c:v>-0.79042538412380869</c:v>
                </c:pt>
                <c:pt idx="66">
                  <c:v>-0.78980856325192406</c:v>
                </c:pt>
                <c:pt idx="67">
                  <c:v>-0.79089216748631608</c:v>
                </c:pt>
                <c:pt idx="68">
                  <c:v>-0.79140340640715734</c:v>
                </c:pt>
                <c:pt idx="69">
                  <c:v>-0.79518768581034149</c:v>
                </c:pt>
                <c:pt idx="70">
                  <c:v>-0.7959100886332694</c:v>
                </c:pt>
                <c:pt idx="71">
                  <c:v>-0.79567669695201582</c:v>
                </c:pt>
                <c:pt idx="72">
                  <c:v>-0.79451529549053934</c:v>
                </c:pt>
                <c:pt idx="73">
                  <c:v>-0.79283154121863797</c:v>
                </c:pt>
                <c:pt idx="74">
                  <c:v>-0.79315384401655964</c:v>
                </c:pt>
                <c:pt idx="75">
                  <c:v>-0.7919591008863327</c:v>
                </c:pt>
                <c:pt idx="76">
                  <c:v>-0.79084771192798198</c:v>
                </c:pt>
                <c:pt idx="77">
                  <c:v>-0.78916395765608072</c:v>
                </c:pt>
                <c:pt idx="78">
                  <c:v>-0.78541301992164703</c:v>
                </c:pt>
                <c:pt idx="79">
                  <c:v>-0.78596315745603063</c:v>
                </c:pt>
                <c:pt idx="80">
                  <c:v>-0.78771359506543304</c:v>
                </c:pt>
                <c:pt idx="81">
                  <c:v>-0.78978077852796535</c:v>
                </c:pt>
                <c:pt idx="82">
                  <c:v>-0.78881387013420023</c:v>
                </c:pt>
                <c:pt idx="83">
                  <c:v>-0.79130338140090584</c:v>
                </c:pt>
                <c:pt idx="84">
                  <c:v>-0.79267594676446884</c:v>
                </c:pt>
                <c:pt idx="85">
                  <c:v>-0.79194798699674918</c:v>
                </c:pt>
                <c:pt idx="86">
                  <c:v>-0.79704926231557893</c:v>
                </c:pt>
                <c:pt idx="87">
                  <c:v>-0.79879969992498123</c:v>
                </c:pt>
                <c:pt idx="88">
                  <c:v>-0.79654913728432108</c:v>
                </c:pt>
                <c:pt idx="89">
                  <c:v>-0.79853852351976884</c:v>
                </c:pt>
                <c:pt idx="90">
                  <c:v>-0.79807174015726157</c:v>
                </c:pt>
                <c:pt idx="91">
                  <c:v>-0.79748826095412739</c:v>
                </c:pt>
                <c:pt idx="92">
                  <c:v>-0.80270623211358394</c:v>
                </c:pt>
                <c:pt idx="93">
                  <c:v>-0.80197271540107251</c:v>
                </c:pt>
                <c:pt idx="94">
                  <c:v>-0.8063738156761413</c:v>
                </c:pt>
                <c:pt idx="95">
                  <c:v>-0.80522352810424824</c:v>
                </c:pt>
                <c:pt idx="96">
                  <c:v>-0.80536800866883385</c:v>
                </c:pt>
                <c:pt idx="97">
                  <c:v>-0.80569031146675552</c:v>
                </c:pt>
                <c:pt idx="98">
                  <c:v>-0.80696285182406713</c:v>
                </c:pt>
                <c:pt idx="99">
                  <c:v>-0.80331749604067682</c:v>
                </c:pt>
                <c:pt idx="100">
                  <c:v>-0.80346197660526242</c:v>
                </c:pt>
                <c:pt idx="101">
                  <c:v>-0.8021616515239921</c:v>
                </c:pt>
                <c:pt idx="102">
                  <c:v>-0.80146147648023114</c:v>
                </c:pt>
                <c:pt idx="103">
                  <c:v>-0.80270067516879218</c:v>
                </c:pt>
                <c:pt idx="104">
                  <c:v>-0.80021116390208658</c:v>
                </c:pt>
                <c:pt idx="105">
                  <c:v>-0.8006723903198022</c:v>
                </c:pt>
                <c:pt idx="106">
                  <c:v>-0.80018337917812787</c:v>
                </c:pt>
                <c:pt idx="107">
                  <c:v>-0.8022338918062849</c:v>
                </c:pt>
                <c:pt idx="108">
                  <c:v>-0.8016115139896085</c:v>
                </c:pt>
                <c:pt idx="109">
                  <c:v>-0.80100580700730739</c:v>
                </c:pt>
                <c:pt idx="110">
                  <c:v>-0.79926648328748851</c:v>
                </c:pt>
                <c:pt idx="111">
                  <c:v>-0.80051123892084131</c:v>
                </c:pt>
                <c:pt idx="112">
                  <c:v>-0.8033341668750521</c:v>
                </c:pt>
                <c:pt idx="113">
                  <c:v>-0.80352310299797169</c:v>
                </c:pt>
                <c:pt idx="114">
                  <c:v>-0.80468450445944817</c:v>
                </c:pt>
                <c:pt idx="115">
                  <c:v>-0.80556250173654531</c:v>
                </c:pt>
                <c:pt idx="116">
                  <c:v>-0.80279514323025203</c:v>
                </c:pt>
                <c:pt idx="117">
                  <c:v>-0.80180600705731986</c:v>
                </c:pt>
                <c:pt idx="118">
                  <c:v>-0.80078352921563722</c:v>
                </c:pt>
                <c:pt idx="119">
                  <c:v>-0.80025006251562891</c:v>
                </c:pt>
                <c:pt idx="120">
                  <c:v>-0.79856630824372754</c:v>
                </c:pt>
                <c:pt idx="121">
                  <c:v>-0.799572115251035</c:v>
                </c:pt>
                <c:pt idx="122">
                  <c:v>-0.79703814842599541</c:v>
                </c:pt>
                <c:pt idx="123">
                  <c:v>-0.79762162762912947</c:v>
                </c:pt>
                <c:pt idx="124">
                  <c:v>-0.79562112750409819</c:v>
                </c:pt>
                <c:pt idx="125">
                  <c:v>-0.79693812341974379</c:v>
                </c:pt>
                <c:pt idx="126">
                  <c:v>-0.79648245394682005</c:v>
                </c:pt>
                <c:pt idx="127">
                  <c:v>-0.79807729710205333</c:v>
                </c:pt>
                <c:pt idx="128">
                  <c:v>-0.79754938734683667</c:v>
                </c:pt>
                <c:pt idx="129">
                  <c:v>-0.796821427579117</c:v>
                </c:pt>
                <c:pt idx="130">
                  <c:v>-0.79450973854574758</c:v>
                </c:pt>
                <c:pt idx="131">
                  <c:v>-0.79352615931760717</c:v>
                </c:pt>
                <c:pt idx="132">
                  <c:v>-0.79469311772387541</c:v>
                </c:pt>
                <c:pt idx="133">
                  <c:v>-0.79578783584785084</c:v>
                </c:pt>
                <c:pt idx="134">
                  <c:v>-0.79822177766663893</c:v>
                </c:pt>
                <c:pt idx="135">
                  <c:v>-0.7972993248312078</c:v>
                </c:pt>
                <c:pt idx="136">
                  <c:v>-0.79692700953016038</c:v>
                </c:pt>
                <c:pt idx="137">
                  <c:v>-0.79459309271762391</c:v>
                </c:pt>
                <c:pt idx="138">
                  <c:v>-0.79428746075407741</c:v>
                </c:pt>
                <c:pt idx="139">
                  <c:v>-0.79501542052179708</c:v>
                </c:pt>
                <c:pt idx="140">
                  <c:v>-0.7955044316634714</c:v>
                </c:pt>
                <c:pt idx="141">
                  <c:v>-0.79621572059681589</c:v>
                </c:pt>
                <c:pt idx="142">
                  <c:v>-0.79320941346447726</c:v>
                </c:pt>
                <c:pt idx="143">
                  <c:v>-0.79465421911033318</c:v>
                </c:pt>
                <c:pt idx="144">
                  <c:v>-0.79486538301241971</c:v>
                </c:pt>
                <c:pt idx="145">
                  <c:v>-0.79523769831346725</c:v>
                </c:pt>
                <c:pt idx="146">
                  <c:v>-0.79445416909782995</c:v>
                </c:pt>
                <c:pt idx="147">
                  <c:v>-0.79403184129365678</c:v>
                </c:pt>
                <c:pt idx="148">
                  <c:v>-0.79412075241032476</c:v>
                </c:pt>
                <c:pt idx="149">
                  <c:v>-0.79264816204051014</c:v>
                </c:pt>
                <c:pt idx="150">
                  <c:v>-0.79238698563529764</c:v>
                </c:pt>
                <c:pt idx="151">
                  <c:v>-0.79242032730404821</c:v>
                </c:pt>
                <c:pt idx="152">
                  <c:v>-0.79479314273012702</c:v>
                </c:pt>
                <c:pt idx="153">
                  <c:v>-0.79637687199577667</c:v>
                </c:pt>
                <c:pt idx="154">
                  <c:v>-0.79816065127392954</c:v>
                </c:pt>
                <c:pt idx="155">
                  <c:v>-0.80058903614792587</c:v>
                </c:pt>
                <c:pt idx="156">
                  <c:v>-0.8009891361729321</c:v>
                </c:pt>
                <c:pt idx="157">
                  <c:v>-0.79996110138645771</c:v>
                </c:pt>
                <c:pt idx="158">
                  <c:v>-0.79939429301769893</c:v>
                </c:pt>
                <c:pt idx="159">
                  <c:v>-0.80168375427190131</c:v>
                </c:pt>
                <c:pt idx="160">
                  <c:v>-0.80061126392709281</c:v>
                </c:pt>
                <c:pt idx="161">
                  <c:v>-0.79968325414687003</c:v>
                </c:pt>
                <c:pt idx="162">
                  <c:v>-0.7983273596176822</c:v>
                </c:pt>
                <c:pt idx="163">
                  <c:v>-0.79761051373954595</c:v>
                </c:pt>
                <c:pt idx="164">
                  <c:v>-0.79580450668222613</c:v>
                </c:pt>
                <c:pt idx="165">
                  <c:v>-0.7944486121530383</c:v>
                </c:pt>
                <c:pt idx="166">
                  <c:v>-0.79348170375927318</c:v>
                </c:pt>
                <c:pt idx="167">
                  <c:v>-0.79292600928009782</c:v>
                </c:pt>
                <c:pt idx="168">
                  <c:v>-0.79231474535300495</c:v>
                </c:pt>
                <c:pt idx="169">
                  <c:v>-0.78732460893001033</c:v>
                </c:pt>
                <c:pt idx="170">
                  <c:v>-0.78556305743102439</c:v>
                </c:pt>
                <c:pt idx="171">
                  <c:v>-0.78583534772582031</c:v>
                </c:pt>
                <c:pt idx="172">
                  <c:v>-0.78595760051123897</c:v>
                </c:pt>
                <c:pt idx="173">
                  <c:v>-0.78566308243727601</c:v>
                </c:pt>
                <c:pt idx="174">
                  <c:v>-0.78555750048623274</c:v>
                </c:pt>
                <c:pt idx="175">
                  <c:v>-0.7834792031341169</c:v>
                </c:pt>
                <c:pt idx="176">
                  <c:v>-0.78309577394348584</c:v>
                </c:pt>
                <c:pt idx="177">
                  <c:v>-0.78256786418826929</c:v>
                </c:pt>
                <c:pt idx="178">
                  <c:v>-0.78307354616431879</c:v>
                </c:pt>
                <c:pt idx="179">
                  <c:v>-0.78529632408102024</c:v>
                </c:pt>
                <c:pt idx="180">
                  <c:v>-0.78156761412575371</c:v>
                </c:pt>
                <c:pt idx="181">
                  <c:v>-0.78143424745075163</c:v>
                </c:pt>
                <c:pt idx="182">
                  <c:v>-0.78116751410074736</c:v>
                </c:pt>
                <c:pt idx="183">
                  <c:v>-0.77997832791531219</c:v>
                </c:pt>
                <c:pt idx="184">
                  <c:v>-0.77736656386318803</c:v>
                </c:pt>
                <c:pt idx="185">
                  <c:v>-0.77780000555694473</c:v>
                </c:pt>
                <c:pt idx="186">
                  <c:v>-0.77880581256425219</c:v>
                </c:pt>
                <c:pt idx="187">
                  <c:v>-0.77989497374343586</c:v>
                </c:pt>
                <c:pt idx="188">
                  <c:v>-0.78258453502264458</c:v>
                </c:pt>
                <c:pt idx="189">
                  <c:v>-0.78071740157261538</c:v>
                </c:pt>
                <c:pt idx="190">
                  <c:v>-0.77790558750798811</c:v>
                </c:pt>
                <c:pt idx="191">
                  <c:v>-0.7787169014475841</c:v>
                </c:pt>
                <c:pt idx="192">
                  <c:v>-0.77992275846739467</c:v>
                </c:pt>
                <c:pt idx="193">
                  <c:v>-0.77991164457781115</c:v>
                </c:pt>
                <c:pt idx="194">
                  <c:v>-0.78355700036120135</c:v>
                </c:pt>
                <c:pt idx="195">
                  <c:v>-0.78257342113306105</c:v>
                </c:pt>
                <c:pt idx="196">
                  <c:v>-0.78218999194243</c:v>
                </c:pt>
                <c:pt idx="197">
                  <c:v>-0.78135645022366707</c:v>
                </c:pt>
                <c:pt idx="198">
                  <c:v>-0.78441276985913144</c:v>
                </c:pt>
                <c:pt idx="199">
                  <c:v>-0.78617987830290903</c:v>
                </c:pt>
                <c:pt idx="200">
                  <c:v>-0.78632435886749463</c:v>
                </c:pt>
                <c:pt idx="201">
                  <c:v>-0.78445166847267367</c:v>
                </c:pt>
                <c:pt idx="202">
                  <c:v>-0.78292350865494154</c:v>
                </c:pt>
                <c:pt idx="203">
                  <c:v>-0.78264566141535385</c:v>
                </c:pt>
                <c:pt idx="204">
                  <c:v>-0.78171765163513096</c:v>
                </c:pt>
                <c:pt idx="205">
                  <c:v>-0.78125086827262369</c:v>
                </c:pt>
                <c:pt idx="206">
                  <c:v>-0.78393487260704064</c:v>
                </c:pt>
                <c:pt idx="207">
                  <c:v>-0.78226778916951456</c:v>
                </c:pt>
                <c:pt idx="208">
                  <c:v>-0.78158428496012888</c:v>
                </c:pt>
                <c:pt idx="209">
                  <c:v>-0.78341807674140762</c:v>
                </c:pt>
                <c:pt idx="210">
                  <c:v>-0.78053957933927931</c:v>
                </c:pt>
                <c:pt idx="211">
                  <c:v>-0.77798338473507267</c:v>
                </c:pt>
                <c:pt idx="212">
                  <c:v>-0.77684421105276313</c:v>
                </c:pt>
                <c:pt idx="213">
                  <c:v>-0.77579950543191356</c:v>
                </c:pt>
                <c:pt idx="214">
                  <c:v>-0.77666638881942707</c:v>
                </c:pt>
                <c:pt idx="215">
                  <c:v>-0.77866133199966658</c:v>
                </c:pt>
                <c:pt idx="216">
                  <c:v>-0.77798894167986443</c:v>
                </c:pt>
                <c:pt idx="217">
                  <c:v>-0.78024506126531634</c:v>
                </c:pt>
                <c:pt idx="218">
                  <c:v>-0.78405156844766744</c:v>
                </c:pt>
                <c:pt idx="219">
                  <c:v>-0.78375705037370458</c:v>
                </c:pt>
                <c:pt idx="220">
                  <c:v>-0.78295129337890024</c:v>
                </c:pt>
                <c:pt idx="221">
                  <c:v>-0.7836514684226612</c:v>
                </c:pt>
                <c:pt idx="222">
                  <c:v>-0.78511850184768417</c:v>
                </c:pt>
                <c:pt idx="223">
                  <c:v>-0.78377927815287152</c:v>
                </c:pt>
                <c:pt idx="224">
                  <c:v>-0.78334027951432306</c:v>
                </c:pt>
                <c:pt idx="225">
                  <c:v>-0.78371259481537048</c:v>
                </c:pt>
                <c:pt idx="226">
                  <c:v>-0.78613542274457504</c:v>
                </c:pt>
                <c:pt idx="227">
                  <c:v>-0.79013086604984584</c:v>
                </c:pt>
                <c:pt idx="228">
                  <c:v>-0.79633797338223444</c:v>
                </c:pt>
                <c:pt idx="229">
                  <c:v>-0.79599899974993749</c:v>
                </c:pt>
                <c:pt idx="230">
                  <c:v>-0.79384846211552884</c:v>
                </c:pt>
                <c:pt idx="231">
                  <c:v>-0.79283154121863797</c:v>
                </c:pt>
                <c:pt idx="232">
                  <c:v>-0.79546553304992917</c:v>
                </c:pt>
                <c:pt idx="233">
                  <c:v>-0.79337612180822981</c:v>
                </c:pt>
                <c:pt idx="234">
                  <c:v>-0.79300936345197415</c:v>
                </c:pt>
                <c:pt idx="235">
                  <c:v>-0.79258703564780086</c:v>
                </c:pt>
                <c:pt idx="236">
                  <c:v>-0.797227084548915</c:v>
                </c:pt>
                <c:pt idx="237">
                  <c:v>-0.8000055569447917</c:v>
                </c:pt>
                <c:pt idx="238">
                  <c:v>-0.79954988747186795</c:v>
                </c:pt>
                <c:pt idx="239">
                  <c:v>-0.80358422939068097</c:v>
                </c:pt>
                <c:pt idx="240">
                  <c:v>-0.80681837125948153</c:v>
                </c:pt>
                <c:pt idx="241">
                  <c:v>-0.81260870773248861</c:v>
                </c:pt>
                <c:pt idx="242">
                  <c:v>-0.80989136172932119</c:v>
                </c:pt>
                <c:pt idx="243">
                  <c:v>-0.80375649467922539</c:v>
                </c:pt>
                <c:pt idx="244">
                  <c:v>-0.80374538078964186</c:v>
                </c:pt>
                <c:pt idx="245">
                  <c:v>-0.80198938623544769</c:v>
                </c:pt>
                <c:pt idx="246">
                  <c:v>-0.80533466700008338</c:v>
                </c:pt>
                <c:pt idx="247">
                  <c:v>-0.80292295296046234</c:v>
                </c:pt>
                <c:pt idx="248">
                  <c:v>-0.80255063765941481</c:v>
                </c:pt>
                <c:pt idx="249">
                  <c:v>-0.80175599455419411</c:v>
                </c:pt>
                <c:pt idx="250">
                  <c:v>-0.80414548081464809</c:v>
                </c:pt>
                <c:pt idx="251">
                  <c:v>-0.80234503070211993</c:v>
                </c:pt>
                <c:pt idx="252">
                  <c:v>-0.8033341668750521</c:v>
                </c:pt>
                <c:pt idx="253">
                  <c:v>-0.80366202661776553</c:v>
                </c:pt>
                <c:pt idx="254">
                  <c:v>-0.80274513072712617</c:v>
                </c:pt>
                <c:pt idx="255">
                  <c:v>-0.80512350309799674</c:v>
                </c:pt>
                <c:pt idx="256">
                  <c:v>-0.8062293351115557</c:v>
                </c:pt>
                <c:pt idx="257">
                  <c:v>-0.80564029896362976</c:v>
                </c:pt>
                <c:pt idx="258">
                  <c:v>-0.80502347809174513</c:v>
                </c:pt>
                <c:pt idx="259">
                  <c:v>-0.80624600594593088</c:v>
                </c:pt>
                <c:pt idx="260">
                  <c:v>-0.80934122419493759</c:v>
                </c:pt>
                <c:pt idx="261">
                  <c:v>-0.80943569225639744</c:v>
                </c:pt>
                <c:pt idx="262">
                  <c:v>-0.81347003417521047</c:v>
                </c:pt>
                <c:pt idx="263">
                  <c:v>-0.81120280070017503</c:v>
                </c:pt>
                <c:pt idx="264">
                  <c:v>-0.81315884526687232</c:v>
                </c:pt>
                <c:pt idx="265">
                  <c:v>-0.81563168569920252</c:v>
                </c:pt>
                <c:pt idx="266">
                  <c:v>-0.81251423967102887</c:v>
                </c:pt>
                <c:pt idx="267">
                  <c:v>-0.80700730738240112</c:v>
                </c:pt>
                <c:pt idx="268">
                  <c:v>-0.80684059903864846</c:v>
                </c:pt>
                <c:pt idx="269">
                  <c:v>-0.80905226306576639</c:v>
                </c:pt>
                <c:pt idx="270">
                  <c:v>-0.80825761996054568</c:v>
                </c:pt>
                <c:pt idx="271">
                  <c:v>-0.80898002278347358</c:v>
                </c:pt>
                <c:pt idx="272">
                  <c:v>-0.80776860881887136</c:v>
                </c:pt>
                <c:pt idx="273">
                  <c:v>-0.81289211191686817</c:v>
                </c:pt>
                <c:pt idx="274">
                  <c:v>-0.81577616626378813</c:v>
                </c:pt>
                <c:pt idx="275">
                  <c:v>-0.81879914423050204</c:v>
                </c:pt>
                <c:pt idx="276">
                  <c:v>-0.81599844405545829</c:v>
                </c:pt>
                <c:pt idx="277">
                  <c:v>-0.81399238698563525</c:v>
                </c:pt>
                <c:pt idx="278">
                  <c:v>-0.81663193576171822</c:v>
                </c:pt>
                <c:pt idx="279">
                  <c:v>-0.8167208468783862</c:v>
                </c:pt>
                <c:pt idx="280">
                  <c:v>-0.81243644244394431</c:v>
                </c:pt>
                <c:pt idx="281">
                  <c:v>-0.80829651857408802</c:v>
                </c:pt>
                <c:pt idx="282">
                  <c:v>-0.80687394070739904</c:v>
                </c:pt>
                <c:pt idx="283">
                  <c:v>-0.80834653107721377</c:v>
                </c:pt>
                <c:pt idx="284">
                  <c:v>-0.80819093662304464</c:v>
                </c:pt>
                <c:pt idx="285">
                  <c:v>-0.80966908393765102</c:v>
                </c:pt>
                <c:pt idx="286">
                  <c:v>-0.81296990914395262</c:v>
                </c:pt>
                <c:pt idx="287">
                  <c:v>-0.81467033425022928</c:v>
                </c:pt>
                <c:pt idx="288">
                  <c:v>-0.81328109805229087</c:v>
                </c:pt>
                <c:pt idx="289">
                  <c:v>-0.81331443972104134</c:v>
                </c:pt>
                <c:pt idx="290">
                  <c:v>-0.8114250784918452</c:v>
                </c:pt>
                <c:pt idx="291">
                  <c:v>-0.80843544219388175</c:v>
                </c:pt>
                <c:pt idx="292">
                  <c:v>-0.80650718235114338</c:v>
                </c:pt>
                <c:pt idx="293">
                  <c:v>-0.80829096162929615</c:v>
                </c:pt>
                <c:pt idx="294">
                  <c:v>-0.81172515351059982</c:v>
                </c:pt>
                <c:pt idx="295">
                  <c:v>-0.81064154927620791</c:v>
                </c:pt>
                <c:pt idx="296">
                  <c:v>-0.80678502959073106</c:v>
                </c:pt>
                <c:pt idx="297">
                  <c:v>-0.80324525575838401</c:v>
                </c:pt>
                <c:pt idx="298">
                  <c:v>-0.80433441693756769</c:v>
                </c:pt>
                <c:pt idx="299">
                  <c:v>-0.80261732099691585</c:v>
                </c:pt>
                <c:pt idx="300">
                  <c:v>-0.80469006140423993</c:v>
                </c:pt>
                <c:pt idx="301">
                  <c:v>-0.80456780861882138</c:v>
                </c:pt>
                <c:pt idx="302">
                  <c:v>-0.80319524325525826</c:v>
                </c:pt>
                <c:pt idx="303">
                  <c:v>-0.80567364063238034</c:v>
                </c:pt>
                <c:pt idx="304">
                  <c:v>-0.80521797115945648</c:v>
                </c:pt>
                <c:pt idx="305">
                  <c:v>-0.80579033647300713</c:v>
                </c:pt>
                <c:pt idx="306">
                  <c:v>-0.80485121280320082</c:v>
                </c:pt>
                <c:pt idx="307">
                  <c:v>-0.80379539329276761</c:v>
                </c:pt>
                <c:pt idx="308">
                  <c:v>-0.8038843044094357</c:v>
                </c:pt>
                <c:pt idx="309">
                  <c:v>-0.80482342807924201</c:v>
                </c:pt>
                <c:pt idx="310">
                  <c:v>-0.80124475563335273</c:v>
                </c:pt>
                <c:pt idx="311">
                  <c:v>-0.79994998749687418</c:v>
                </c:pt>
                <c:pt idx="312">
                  <c:v>-0.79852185268539355</c:v>
                </c:pt>
                <c:pt idx="313">
                  <c:v>-0.79631574560306739</c:v>
                </c:pt>
                <c:pt idx="314">
                  <c:v>-0.79682698452390877</c:v>
                </c:pt>
                <c:pt idx="315">
                  <c:v>-0.797632741518713</c:v>
                </c:pt>
                <c:pt idx="316">
                  <c:v>-0.7968936678614098</c:v>
                </c:pt>
                <c:pt idx="317">
                  <c:v>-0.7983273596176822</c:v>
                </c:pt>
                <c:pt idx="318">
                  <c:v>-0.79601011363952101</c:v>
                </c:pt>
                <c:pt idx="319">
                  <c:v>-0.79652135256036227</c:v>
                </c:pt>
                <c:pt idx="320">
                  <c:v>-0.79807729710205333</c:v>
                </c:pt>
                <c:pt idx="321">
                  <c:v>-0.79856075129893589</c:v>
                </c:pt>
                <c:pt idx="322">
                  <c:v>-0.79606012614264676</c:v>
                </c:pt>
                <c:pt idx="323">
                  <c:v>-0.79595454419160339</c:v>
                </c:pt>
                <c:pt idx="324">
                  <c:v>-0.79600455669472925</c:v>
                </c:pt>
                <c:pt idx="325">
                  <c:v>-0.79499874968742179</c:v>
                </c:pt>
                <c:pt idx="326">
                  <c:v>-0.79598788586035396</c:v>
                </c:pt>
                <c:pt idx="327">
                  <c:v>-0.79538773582284461</c:v>
                </c:pt>
                <c:pt idx="328">
                  <c:v>-0.79696590814370261</c:v>
                </c:pt>
                <c:pt idx="329">
                  <c:v>-0.79663804840098917</c:v>
                </c:pt>
                <c:pt idx="330">
                  <c:v>-0.79571003862076628</c:v>
                </c:pt>
                <c:pt idx="331">
                  <c:v>-0.79803839848851099</c:v>
                </c:pt>
                <c:pt idx="332">
                  <c:v>-0.80083909866355474</c:v>
                </c:pt>
                <c:pt idx="333">
                  <c:v>-0.80133922369481259</c:v>
                </c:pt>
                <c:pt idx="334">
                  <c:v>-0.80473451696257392</c:v>
                </c:pt>
                <c:pt idx="335">
                  <c:v>-0.80506793365007923</c:v>
                </c:pt>
                <c:pt idx="336">
                  <c:v>-0.80716290183657025</c:v>
                </c:pt>
                <c:pt idx="337">
                  <c:v>-0.80528465449695763</c:v>
                </c:pt>
                <c:pt idx="338">
                  <c:v>-0.80484565585840906</c:v>
                </c:pt>
                <c:pt idx="339">
                  <c:v>-0.80649606846155986</c:v>
                </c:pt>
                <c:pt idx="340">
                  <c:v>-0.80572365313550609</c:v>
                </c:pt>
                <c:pt idx="341">
                  <c:v>-0.80420105026256561</c:v>
                </c:pt>
                <c:pt idx="342">
                  <c:v>-0.7968936678614098</c:v>
                </c:pt>
                <c:pt idx="343">
                  <c:v>-0.79423744825095166</c:v>
                </c:pt>
                <c:pt idx="344">
                  <c:v>-0.79495985107387956</c:v>
                </c:pt>
                <c:pt idx="345">
                  <c:v>-0.79666027618015611</c:v>
                </c:pt>
                <c:pt idx="346">
                  <c:v>-0.7954766469395127</c:v>
                </c:pt>
                <c:pt idx="347">
                  <c:v>-0.79260926342696791</c:v>
                </c:pt>
                <c:pt idx="348">
                  <c:v>-0.79180350643216357</c:v>
                </c:pt>
                <c:pt idx="349">
                  <c:v>-0.7917868355977884</c:v>
                </c:pt>
                <c:pt idx="350">
                  <c:v>-0.79184796199049767</c:v>
                </c:pt>
                <c:pt idx="351">
                  <c:v>-0.78868606040398992</c:v>
                </c:pt>
                <c:pt idx="352">
                  <c:v>-0.78681337000916896</c:v>
                </c:pt>
                <c:pt idx="353">
                  <c:v>-0.78734683670917727</c:v>
                </c:pt>
                <c:pt idx="354">
                  <c:v>-0.78391264482787359</c:v>
                </c:pt>
                <c:pt idx="355">
                  <c:v>-0.78198438498513512</c:v>
                </c:pt>
                <c:pt idx="356">
                  <c:v>-0.77774999305381898</c:v>
                </c:pt>
                <c:pt idx="357">
                  <c:v>-0.7786446611652913</c:v>
                </c:pt>
                <c:pt idx="358">
                  <c:v>-0.77685532494234666</c:v>
                </c:pt>
                <c:pt idx="359">
                  <c:v>-0.77102053291100558</c:v>
                </c:pt>
                <c:pt idx="360">
                  <c:v>-0.7728987802506182</c:v>
                </c:pt>
                <c:pt idx="361">
                  <c:v>-0.77066488844433334</c:v>
                </c:pt>
                <c:pt idx="362">
                  <c:v>-0.77363785390792139</c:v>
                </c:pt>
                <c:pt idx="363">
                  <c:v>-0.77058709121724878</c:v>
                </c:pt>
                <c:pt idx="364">
                  <c:v>-0.77036481342557861</c:v>
                </c:pt>
                <c:pt idx="365">
                  <c:v>-0.7729988052568697</c:v>
                </c:pt>
                <c:pt idx="366">
                  <c:v>-0.77310438720791308</c:v>
                </c:pt>
                <c:pt idx="367">
                  <c:v>-0.77262093301103052</c:v>
                </c:pt>
                <c:pt idx="368">
                  <c:v>-0.77154288572143037</c:v>
                </c:pt>
                <c:pt idx="369">
                  <c:v>-0.77427134561418132</c:v>
                </c:pt>
                <c:pt idx="370">
                  <c:v>-0.77119279819954989</c:v>
                </c:pt>
                <c:pt idx="371">
                  <c:v>-0.77156511350059742</c:v>
                </c:pt>
                <c:pt idx="372">
                  <c:v>-0.76943124670056395</c:v>
                </c:pt>
                <c:pt idx="373">
                  <c:v>-0.77006473840682399</c:v>
                </c:pt>
                <c:pt idx="374">
                  <c:v>-0.76544136034008503</c:v>
                </c:pt>
                <c:pt idx="375">
                  <c:v>-0.76577477702759023</c:v>
                </c:pt>
                <c:pt idx="376">
                  <c:v>-0.76591370064738407</c:v>
                </c:pt>
                <c:pt idx="377">
                  <c:v>-0.76647495207135119</c:v>
                </c:pt>
                <c:pt idx="378">
                  <c:v>-0.76764746742241119</c:v>
                </c:pt>
                <c:pt idx="379">
                  <c:v>-0.76945903142452277</c:v>
                </c:pt>
                <c:pt idx="380">
                  <c:v>-0.76661943263593679</c:v>
                </c:pt>
                <c:pt idx="381">
                  <c:v>-0.76728070906615542</c:v>
                </c:pt>
                <c:pt idx="382">
                  <c:v>-0.76722513961823791</c:v>
                </c:pt>
                <c:pt idx="383">
                  <c:v>-0.76814203550887727</c:v>
                </c:pt>
                <c:pt idx="384">
                  <c:v>-0.77156511350059742</c:v>
                </c:pt>
                <c:pt idx="385">
                  <c:v>-0.77073712872662603</c:v>
                </c:pt>
                <c:pt idx="386">
                  <c:v>-0.77156511350059742</c:v>
                </c:pt>
                <c:pt idx="387">
                  <c:v>-0.77089828012558692</c:v>
                </c:pt>
                <c:pt idx="388">
                  <c:v>-0.76940346197660525</c:v>
                </c:pt>
                <c:pt idx="389">
                  <c:v>-0.76536912005779223</c:v>
                </c:pt>
                <c:pt idx="390">
                  <c:v>-0.76595815620571805</c:v>
                </c:pt>
                <c:pt idx="391">
                  <c:v>-0.76603595343280262</c:v>
                </c:pt>
                <c:pt idx="392">
                  <c:v>-0.76841988274846484</c:v>
                </c:pt>
                <c:pt idx="393">
                  <c:v>-0.76329082270567639</c:v>
                </c:pt>
                <c:pt idx="394">
                  <c:v>-0.76361868244838993</c:v>
                </c:pt>
                <c:pt idx="395">
                  <c:v>-0.76299630463171342</c:v>
                </c:pt>
                <c:pt idx="396">
                  <c:v>-0.76574699230363141</c:v>
                </c:pt>
                <c:pt idx="397">
                  <c:v>-0.76367980884109921</c:v>
                </c:pt>
                <c:pt idx="398">
                  <c:v>-0.76684726737239872</c:v>
                </c:pt>
                <c:pt idx="399">
                  <c:v>-0.76710288683281935</c:v>
                </c:pt>
                <c:pt idx="400">
                  <c:v>-0.7643021866577755</c:v>
                </c:pt>
                <c:pt idx="401">
                  <c:v>-0.76257397682754025</c:v>
                </c:pt>
                <c:pt idx="402">
                  <c:v>-0.76203495318274017</c:v>
                </c:pt>
                <c:pt idx="403">
                  <c:v>-0.75801728209830233</c:v>
                </c:pt>
                <c:pt idx="404">
                  <c:v>-0.75624461670973298</c:v>
                </c:pt>
                <c:pt idx="405">
                  <c:v>-0.75748381539829401</c:v>
                </c:pt>
                <c:pt idx="406">
                  <c:v>-0.76013447806396051</c:v>
                </c:pt>
                <c:pt idx="407">
                  <c:v>-0.7621460920785752</c:v>
                </c:pt>
                <c:pt idx="408">
                  <c:v>-0.76164041010252559</c:v>
                </c:pt>
                <c:pt idx="409">
                  <c:v>-0.76100136145147401</c:v>
                </c:pt>
                <c:pt idx="410">
                  <c:v>-0.76317968380984136</c:v>
                </c:pt>
                <c:pt idx="411">
                  <c:v>-0.76330193659525991</c:v>
                </c:pt>
                <c:pt idx="412">
                  <c:v>-0.76660276180156151</c:v>
                </c:pt>
                <c:pt idx="413">
                  <c:v>-0.76548025895362737</c:v>
                </c:pt>
                <c:pt idx="414">
                  <c:v>-0.7623905976494123</c:v>
                </c:pt>
                <c:pt idx="415">
                  <c:v>-0.76224056014003505</c:v>
                </c:pt>
                <c:pt idx="416">
                  <c:v>-0.76203495318274017</c:v>
                </c:pt>
                <c:pt idx="417">
                  <c:v>-0.76232947125670303</c:v>
                </c:pt>
                <c:pt idx="418">
                  <c:v>-0.76393542830151984</c:v>
                </c:pt>
                <c:pt idx="419">
                  <c:v>-0.76319079769942488</c:v>
                </c:pt>
                <c:pt idx="420">
                  <c:v>-0.76011780722958511</c:v>
                </c:pt>
                <c:pt idx="421">
                  <c:v>-0.76477452696507453</c:v>
                </c:pt>
                <c:pt idx="422">
                  <c:v>-0.76406879497652191</c:v>
                </c:pt>
                <c:pt idx="423">
                  <c:v>-0.76726403823178013</c:v>
                </c:pt>
                <c:pt idx="424">
                  <c:v>-0.76914784251618462</c:v>
                </c:pt>
                <c:pt idx="425">
                  <c:v>-0.7668361534828152</c:v>
                </c:pt>
                <c:pt idx="426">
                  <c:v>-0.76659164791197798</c:v>
                </c:pt>
                <c:pt idx="427">
                  <c:v>-0.76660831874635327</c:v>
                </c:pt>
                <c:pt idx="428">
                  <c:v>-0.76465783112444774</c:v>
                </c:pt>
                <c:pt idx="429">
                  <c:v>-0.76412436442443943</c:v>
                </c:pt>
                <c:pt idx="430">
                  <c:v>-0.76488566586090967</c:v>
                </c:pt>
                <c:pt idx="431">
                  <c:v>-0.76324081020255063</c:v>
                </c:pt>
                <c:pt idx="432">
                  <c:v>-0.76037342669000585</c:v>
                </c:pt>
                <c:pt idx="433">
                  <c:v>-0.75983440304520578</c:v>
                </c:pt>
                <c:pt idx="434">
                  <c:v>-0.75720596815870633</c:v>
                </c:pt>
                <c:pt idx="435">
                  <c:v>-0.75536106248784418</c:v>
                </c:pt>
                <c:pt idx="436">
                  <c:v>-0.75639465421911034</c:v>
                </c:pt>
                <c:pt idx="437">
                  <c:v>-0.75656691950765476</c:v>
                </c:pt>
                <c:pt idx="438">
                  <c:v>-0.75822844600038897</c:v>
                </c:pt>
                <c:pt idx="439">
                  <c:v>-0.75912867105665305</c:v>
                </c:pt>
                <c:pt idx="440">
                  <c:v>-0.76176266288794414</c:v>
                </c:pt>
                <c:pt idx="441">
                  <c:v>-0.76222388930565976</c:v>
                </c:pt>
                <c:pt idx="442">
                  <c:v>-0.76062348920563472</c:v>
                </c:pt>
                <c:pt idx="443">
                  <c:v>-0.76338529076713624</c:v>
                </c:pt>
                <c:pt idx="444">
                  <c:v>-0.76274624211608455</c:v>
                </c:pt>
                <c:pt idx="445">
                  <c:v>-0.75982328915562225</c:v>
                </c:pt>
                <c:pt idx="446">
                  <c:v>-0.76116806979522655</c:v>
                </c:pt>
                <c:pt idx="447">
                  <c:v>-0.7621183073546165</c:v>
                </c:pt>
                <c:pt idx="448">
                  <c:v>-0.76431330054735902</c:v>
                </c:pt>
                <c:pt idx="449">
                  <c:v>-0.76410213664527249</c:v>
                </c:pt>
                <c:pt idx="450">
                  <c:v>-0.76264066016504128</c:v>
                </c:pt>
                <c:pt idx="451">
                  <c:v>-0.76679725486927286</c:v>
                </c:pt>
                <c:pt idx="452">
                  <c:v>-0.7669639632130254</c:v>
                </c:pt>
                <c:pt idx="453">
                  <c:v>-0.76636381317551616</c:v>
                </c:pt>
                <c:pt idx="454">
                  <c:v>-0.76459670473173846</c:v>
                </c:pt>
                <c:pt idx="455">
                  <c:v>-0.76656942013281104</c:v>
                </c:pt>
                <c:pt idx="456">
                  <c:v>-0.76231280042232785</c:v>
                </c:pt>
                <c:pt idx="457">
                  <c:v>-0.76259620460670718</c:v>
                </c:pt>
                <c:pt idx="458">
                  <c:v>-0.76510238670778807</c:v>
                </c:pt>
                <c:pt idx="459">
                  <c:v>-0.7645911477869467</c:v>
                </c:pt>
                <c:pt idx="460">
                  <c:v>-0.76215720596815872</c:v>
                </c:pt>
                <c:pt idx="461">
                  <c:v>-0.76328526576088462</c:v>
                </c:pt>
                <c:pt idx="462">
                  <c:v>-0.76351865744213832</c:v>
                </c:pt>
                <c:pt idx="463">
                  <c:v>-0.76274624211608455</c:v>
                </c:pt>
                <c:pt idx="464">
                  <c:v>-0.76067905865355223</c:v>
                </c:pt>
                <c:pt idx="465">
                  <c:v>-0.75928982245561394</c:v>
                </c:pt>
                <c:pt idx="466">
                  <c:v>-0.75981773221083049</c:v>
                </c:pt>
                <c:pt idx="467">
                  <c:v>-0.76003445305770889</c:v>
                </c:pt>
                <c:pt idx="468">
                  <c:v>-0.75739490428162592</c:v>
                </c:pt>
                <c:pt idx="469">
                  <c:v>-0.75811730710455394</c:v>
                </c:pt>
                <c:pt idx="470">
                  <c:v>-0.75893973493373346</c:v>
                </c:pt>
                <c:pt idx="471">
                  <c:v>-0.7611180572921008</c:v>
                </c:pt>
                <c:pt idx="472">
                  <c:v>-0.76160151148898336</c:v>
                </c:pt>
                <c:pt idx="473">
                  <c:v>-0.76012892111916863</c:v>
                </c:pt>
                <c:pt idx="474">
                  <c:v>-0.76013447806396051</c:v>
                </c:pt>
                <c:pt idx="475">
                  <c:v>-0.75869522936289624</c:v>
                </c:pt>
                <c:pt idx="476">
                  <c:v>-0.7564002111639021</c:v>
                </c:pt>
                <c:pt idx="477">
                  <c:v>-0.75568892223055761</c:v>
                </c:pt>
                <c:pt idx="478">
                  <c:v>-0.7561112500347309</c:v>
                </c:pt>
                <c:pt idx="479">
                  <c:v>-0.7560390097524381</c:v>
                </c:pt>
                <c:pt idx="480">
                  <c:v>-0.75727820844099913</c:v>
                </c:pt>
                <c:pt idx="481">
                  <c:v>-0.75365508043677587</c:v>
                </c:pt>
                <c:pt idx="482">
                  <c:v>-0.75359395404406659</c:v>
                </c:pt>
                <c:pt idx="483">
                  <c:v>-0.75433858464616155</c:v>
                </c:pt>
                <c:pt idx="484">
                  <c:v>-0.75565002361701539</c:v>
                </c:pt>
                <c:pt idx="485">
                  <c:v>-0.7550109749659637</c:v>
                </c:pt>
                <c:pt idx="486">
                  <c:v>-0.75398849712428107</c:v>
                </c:pt>
                <c:pt idx="487">
                  <c:v>-0.75377733322219442</c:v>
                </c:pt>
                <c:pt idx="488">
                  <c:v>-0.75412186379928314</c:v>
                </c:pt>
                <c:pt idx="489">
                  <c:v>-0.75645022366702785</c:v>
                </c:pt>
                <c:pt idx="490">
                  <c:v>-0.76215720596815872</c:v>
                </c:pt>
                <c:pt idx="491">
                  <c:v>-0.76028451557333776</c:v>
                </c:pt>
                <c:pt idx="492">
                  <c:v>-0.75322719568781082</c:v>
                </c:pt>
                <c:pt idx="493">
                  <c:v>-0.75274929843572003</c:v>
                </c:pt>
                <c:pt idx="494">
                  <c:v>-0.75095440526798363</c:v>
                </c:pt>
                <c:pt idx="495">
                  <c:v>-0.75107110110861053</c:v>
                </c:pt>
                <c:pt idx="496">
                  <c:v>-0.75151565669195075</c:v>
                </c:pt>
                <c:pt idx="497">
                  <c:v>-0.74921508154816485</c:v>
                </c:pt>
                <c:pt idx="498">
                  <c:v>-0.74931510655441635</c:v>
                </c:pt>
                <c:pt idx="499">
                  <c:v>-0.74990414270234229</c:v>
                </c:pt>
                <c:pt idx="500">
                  <c:v>-0.7519435414409158</c:v>
                </c:pt>
                <c:pt idx="501">
                  <c:v>-0.75330499291489539</c:v>
                </c:pt>
                <c:pt idx="502">
                  <c:v>-0.75382734572532017</c:v>
                </c:pt>
                <c:pt idx="503">
                  <c:v>-0.75384401655969546</c:v>
                </c:pt>
                <c:pt idx="504">
                  <c:v>-0.75408852213053268</c:v>
                </c:pt>
                <c:pt idx="505">
                  <c:v>-0.75654469172848771</c:v>
                </c:pt>
                <c:pt idx="506">
                  <c:v>-0.75620571809619075</c:v>
                </c:pt>
                <c:pt idx="507">
                  <c:v>-0.75477758328471001</c:v>
                </c:pt>
                <c:pt idx="508">
                  <c:v>-0.75714484176599706</c:v>
                </c:pt>
                <c:pt idx="509">
                  <c:v>-0.75565558056180715</c:v>
                </c:pt>
                <c:pt idx="510">
                  <c:v>-0.75581117501597617</c:v>
                </c:pt>
                <c:pt idx="511">
                  <c:v>-0.75489983607012867</c:v>
                </c:pt>
                <c:pt idx="512">
                  <c:v>-0.75450529298991409</c:v>
                </c:pt>
                <c:pt idx="513">
                  <c:v>-0.75423300269511828</c:v>
                </c:pt>
                <c:pt idx="514">
                  <c:v>-0.75549442916284626</c:v>
                </c:pt>
                <c:pt idx="515">
                  <c:v>-0.75426634436386875</c:v>
                </c:pt>
                <c:pt idx="516">
                  <c:v>-0.75477758328471001</c:v>
                </c:pt>
                <c:pt idx="517">
                  <c:v>-0.75502208885554722</c:v>
                </c:pt>
                <c:pt idx="518">
                  <c:v>-0.75539440415659476</c:v>
                </c:pt>
                <c:pt idx="519">
                  <c:v>-0.75408852213053268</c:v>
                </c:pt>
                <c:pt idx="520">
                  <c:v>-0.75322719568781082</c:v>
                </c:pt>
                <c:pt idx="521">
                  <c:v>-0.75382734572532017</c:v>
                </c:pt>
                <c:pt idx="522">
                  <c:v>-0.75622238893056593</c:v>
                </c:pt>
                <c:pt idx="523">
                  <c:v>-0.7581506487733044</c:v>
                </c:pt>
                <c:pt idx="524">
                  <c:v>-0.75923980995248819</c:v>
                </c:pt>
                <c:pt idx="525">
                  <c:v>-0.75847850851601795</c:v>
                </c:pt>
                <c:pt idx="526">
                  <c:v>-0.7609291211691811</c:v>
                </c:pt>
                <c:pt idx="527">
                  <c:v>-0.75855074879831075</c:v>
                </c:pt>
                <c:pt idx="528">
                  <c:v>-0.75793948487121776</c:v>
                </c:pt>
                <c:pt idx="529">
                  <c:v>-0.75475535550554307</c:v>
                </c:pt>
                <c:pt idx="530">
                  <c:v>-0.75186018726903947</c:v>
                </c:pt>
                <c:pt idx="531">
                  <c:v>-0.75072101358673005</c:v>
                </c:pt>
                <c:pt idx="532">
                  <c:v>-0.75127115112111365</c:v>
                </c:pt>
                <c:pt idx="533">
                  <c:v>-0.75090439276485788</c:v>
                </c:pt>
                <c:pt idx="534">
                  <c:v>-0.75246589425134058</c:v>
                </c:pt>
                <c:pt idx="535">
                  <c:v>-0.75385513044927899</c:v>
                </c:pt>
                <c:pt idx="536">
                  <c:v>-0.75378289016698619</c:v>
                </c:pt>
                <c:pt idx="537">
                  <c:v>-0.75560556805868129</c:v>
                </c:pt>
                <c:pt idx="538">
                  <c:v>-0.75614459170348147</c:v>
                </c:pt>
                <c:pt idx="539">
                  <c:v>-0.7527103998221778</c:v>
                </c:pt>
                <c:pt idx="540">
                  <c:v>-0.75140451779611572</c:v>
                </c:pt>
                <c:pt idx="541">
                  <c:v>-0.7504653941263093</c:v>
                </c:pt>
                <c:pt idx="542">
                  <c:v>-0.75078213997943932</c:v>
                </c:pt>
                <c:pt idx="543">
                  <c:v>-0.7514934289127837</c:v>
                </c:pt>
                <c:pt idx="544">
                  <c:v>-0.75194909838570756</c:v>
                </c:pt>
                <c:pt idx="545">
                  <c:v>-0.75282153871801283</c:v>
                </c:pt>
                <c:pt idx="546">
                  <c:v>-0.75195465533049932</c:v>
                </c:pt>
                <c:pt idx="547">
                  <c:v>-0.74953738434608652</c:v>
                </c:pt>
                <c:pt idx="548">
                  <c:v>-0.74993748437109276</c:v>
                </c:pt>
                <c:pt idx="549">
                  <c:v>-0.74979300380650726</c:v>
                </c:pt>
                <c:pt idx="550">
                  <c:v>-0.7474702008835542</c:v>
                </c:pt>
                <c:pt idx="551">
                  <c:v>-0.74702008835542211</c:v>
                </c:pt>
                <c:pt idx="552">
                  <c:v>-0.74715901197521606</c:v>
                </c:pt>
                <c:pt idx="553">
                  <c:v>-0.75640576810869387</c:v>
                </c:pt>
                <c:pt idx="554">
                  <c:v>-0.75465533049929145</c:v>
                </c:pt>
                <c:pt idx="555">
                  <c:v>-0.75835625573059928</c:v>
                </c:pt>
                <c:pt idx="556">
                  <c:v>-0.75890639326498288</c:v>
                </c:pt>
                <c:pt idx="557">
                  <c:v>-0.75792837098163424</c:v>
                </c:pt>
                <c:pt idx="558">
                  <c:v>-0.76035675585563056</c:v>
                </c:pt>
                <c:pt idx="559">
                  <c:v>-0.7608013114389709</c:v>
                </c:pt>
                <c:pt idx="560">
                  <c:v>-0.75913422800144481</c:v>
                </c:pt>
                <c:pt idx="561">
                  <c:v>-0.75999555444416655</c:v>
                </c:pt>
                <c:pt idx="562">
                  <c:v>-0.76082353921813783</c:v>
                </c:pt>
                <c:pt idx="563">
                  <c:v>-0.75678919729932481</c:v>
                </c:pt>
                <c:pt idx="564">
                  <c:v>-0.75701147509099498</c:v>
                </c:pt>
                <c:pt idx="565">
                  <c:v>-0.75756161262537858</c:v>
                </c:pt>
                <c:pt idx="566">
                  <c:v>-0.75926203773165513</c:v>
                </c:pt>
                <c:pt idx="567">
                  <c:v>-0.75816731960767969</c:v>
                </c:pt>
                <c:pt idx="568">
                  <c:v>-0.75866188769414578</c:v>
                </c:pt>
                <c:pt idx="569">
                  <c:v>-0.75881192520352314</c:v>
                </c:pt>
                <c:pt idx="570">
                  <c:v>-0.75893417798894169</c:v>
                </c:pt>
                <c:pt idx="571">
                  <c:v>-0.7564724514461949</c:v>
                </c:pt>
                <c:pt idx="572">
                  <c:v>-0.7546053179961657</c:v>
                </c:pt>
                <c:pt idx="573">
                  <c:v>-0.75459976105137394</c:v>
                </c:pt>
                <c:pt idx="574">
                  <c:v>-0.75566669445139056</c:v>
                </c:pt>
                <c:pt idx="575">
                  <c:v>-0.75519435414409153</c:v>
                </c:pt>
                <c:pt idx="576">
                  <c:v>-0.75580561807118452</c:v>
                </c:pt>
                <c:pt idx="577">
                  <c:v>-0.75291044983468092</c:v>
                </c:pt>
                <c:pt idx="578">
                  <c:v>-0.74666444388874997</c:v>
                </c:pt>
                <c:pt idx="579">
                  <c:v>-0.74490289238976404</c:v>
                </c:pt>
                <c:pt idx="580">
                  <c:v>-0.74136867550220886</c:v>
                </c:pt>
                <c:pt idx="581">
                  <c:v>-0.74026840043344166</c:v>
                </c:pt>
                <c:pt idx="582">
                  <c:v>-0.73471701258647992</c:v>
                </c:pt>
                <c:pt idx="583">
                  <c:v>-0.73347225695312712</c:v>
                </c:pt>
                <c:pt idx="584">
                  <c:v>-0.73335556111250033</c:v>
                </c:pt>
                <c:pt idx="585">
                  <c:v>-0.73202189436247944</c:v>
                </c:pt>
                <c:pt idx="586">
                  <c:v>-0.73279430968853321</c:v>
                </c:pt>
                <c:pt idx="587">
                  <c:v>-0.73313884026562193</c:v>
                </c:pt>
                <c:pt idx="588">
                  <c:v>-0.7326942846822817</c:v>
                </c:pt>
                <c:pt idx="589">
                  <c:v>-0.73298880275624456</c:v>
                </c:pt>
                <c:pt idx="590">
                  <c:v>-0.73459475980106137</c:v>
                </c:pt>
                <c:pt idx="591">
                  <c:v>-0.73507265705315217</c:v>
                </c:pt>
                <c:pt idx="592">
                  <c:v>-0.73116612486454946</c:v>
                </c:pt>
                <c:pt idx="593">
                  <c:v>-0.73093273318329577</c:v>
                </c:pt>
                <c:pt idx="594">
                  <c:v>-0.73256091800727963</c:v>
                </c:pt>
                <c:pt idx="595">
                  <c:v>-0.73212747631352282</c:v>
                </c:pt>
                <c:pt idx="596">
                  <c:v>-0.73372787641354775</c:v>
                </c:pt>
                <c:pt idx="597">
                  <c:v>-0.73610069183962656</c:v>
                </c:pt>
                <c:pt idx="598">
                  <c:v>-0.73258870273123833</c:v>
                </c:pt>
                <c:pt idx="599">
                  <c:v>-0.73461143063543666</c:v>
                </c:pt>
                <c:pt idx="600">
                  <c:v>-0.73427801394793146</c:v>
                </c:pt>
                <c:pt idx="601">
                  <c:v>-0.73454474729793562</c:v>
                </c:pt>
                <c:pt idx="602">
                  <c:v>-0.73452807646356033</c:v>
                </c:pt>
                <c:pt idx="603">
                  <c:v>-0.73746214331360616</c:v>
                </c:pt>
                <c:pt idx="604">
                  <c:v>-0.73663415853963488</c:v>
                </c:pt>
                <c:pt idx="605">
                  <c:v>-0.73843460865216304</c:v>
                </c:pt>
                <c:pt idx="606">
                  <c:v>-0.7378900280625712</c:v>
                </c:pt>
                <c:pt idx="607">
                  <c:v>-0.73502264455002642</c:v>
                </c:pt>
                <c:pt idx="608">
                  <c:v>-0.7349226195437748</c:v>
                </c:pt>
                <c:pt idx="609">
                  <c:v>-0.73486705009585729</c:v>
                </c:pt>
                <c:pt idx="610">
                  <c:v>-0.73656191825734219</c:v>
                </c:pt>
                <c:pt idx="611">
                  <c:v>-0.73471701258647992</c:v>
                </c:pt>
                <c:pt idx="612">
                  <c:v>-0.73469478480731287</c:v>
                </c:pt>
                <c:pt idx="613">
                  <c:v>-0.73251646244894553</c:v>
                </c:pt>
                <c:pt idx="614">
                  <c:v>-0.7347058986968964</c:v>
                </c:pt>
                <c:pt idx="615">
                  <c:v>-0.73538940290628219</c:v>
                </c:pt>
                <c:pt idx="616">
                  <c:v>-0.73864577255424968</c:v>
                </c:pt>
                <c:pt idx="617">
                  <c:v>-0.73807340724069903</c:v>
                </c:pt>
                <c:pt idx="618">
                  <c:v>-0.73443916534689224</c:v>
                </c:pt>
                <c:pt idx="619">
                  <c:v>-0.73600066683337495</c:v>
                </c:pt>
                <c:pt idx="620">
                  <c:v>-0.73541718763024089</c:v>
                </c:pt>
                <c:pt idx="621">
                  <c:v>-0.73651190575421632</c:v>
                </c:pt>
                <c:pt idx="622">
                  <c:v>-0.73336667500208386</c:v>
                </c:pt>
                <c:pt idx="623">
                  <c:v>-0.73431135561668193</c:v>
                </c:pt>
                <c:pt idx="624">
                  <c:v>-0.73505042927398512</c:v>
                </c:pt>
                <c:pt idx="625">
                  <c:v>-0.73512266955627792</c:v>
                </c:pt>
                <c:pt idx="626">
                  <c:v>-0.7347781389791892</c:v>
                </c:pt>
                <c:pt idx="627">
                  <c:v>-0.7370231446750577</c:v>
                </c:pt>
                <c:pt idx="628">
                  <c:v>-0.73881803784279398</c:v>
                </c:pt>
                <c:pt idx="629">
                  <c:v>-0.74009613514489736</c:v>
                </c:pt>
                <c:pt idx="630">
                  <c:v>-0.73954599761051376</c:v>
                </c:pt>
                <c:pt idx="631">
                  <c:v>-0.73842905170737128</c:v>
                </c:pt>
                <c:pt idx="632">
                  <c:v>-0.74026840043344166</c:v>
                </c:pt>
                <c:pt idx="633">
                  <c:v>-0.74035175460531799</c:v>
                </c:pt>
                <c:pt idx="634">
                  <c:v>-0.73909032813759001</c:v>
                </c:pt>
                <c:pt idx="635">
                  <c:v>-0.73872356978133413</c:v>
                </c:pt>
                <c:pt idx="636">
                  <c:v>-0.7366452724292184</c:v>
                </c:pt>
                <c:pt idx="637">
                  <c:v>-0.73692311966880608</c:v>
                </c:pt>
                <c:pt idx="638">
                  <c:v>-0.7365007918646328</c:v>
                </c:pt>
                <c:pt idx="639">
                  <c:v>-0.73553388347086768</c:v>
                </c:pt>
                <c:pt idx="640">
                  <c:v>-0.73642299463754823</c:v>
                </c:pt>
                <c:pt idx="641">
                  <c:v>-0.73708427106776697</c:v>
                </c:pt>
                <c:pt idx="642">
                  <c:v>-0.73782334472507016</c:v>
                </c:pt>
                <c:pt idx="643">
                  <c:v>-0.73759550998860823</c:v>
                </c:pt>
                <c:pt idx="644">
                  <c:v>-0.74039621016365209</c:v>
                </c:pt>
                <c:pt idx="645">
                  <c:v>-0.74065738656886437</c:v>
                </c:pt>
                <c:pt idx="646">
                  <c:v>-0.74020171709594074</c:v>
                </c:pt>
                <c:pt idx="647">
                  <c:v>-0.73984607262926838</c:v>
                </c:pt>
                <c:pt idx="648">
                  <c:v>-0.74223555888972248</c:v>
                </c:pt>
                <c:pt idx="649">
                  <c:v>-0.74154094079075317</c:v>
                </c:pt>
                <c:pt idx="650">
                  <c:v>-0.73882915173237751</c:v>
                </c:pt>
                <c:pt idx="651">
                  <c:v>-0.74366369370120311</c:v>
                </c:pt>
                <c:pt idx="652">
                  <c:v>-0.74595871190019725</c:v>
                </c:pt>
                <c:pt idx="653">
                  <c:v>-0.74197993942930185</c:v>
                </c:pt>
                <c:pt idx="654">
                  <c:v>-0.73960712400322304</c:v>
                </c:pt>
                <c:pt idx="655">
                  <c:v>-0.73844572254174656</c:v>
                </c:pt>
                <c:pt idx="656">
                  <c:v>-0.73438359589897473</c:v>
                </c:pt>
                <c:pt idx="657">
                  <c:v>-0.73187741379789384</c:v>
                </c:pt>
                <c:pt idx="658">
                  <c:v>-0.73201633741768779</c:v>
                </c:pt>
                <c:pt idx="659">
                  <c:v>-0.73578394598649655</c:v>
                </c:pt>
                <c:pt idx="660">
                  <c:v>-0.73571170570420374</c:v>
                </c:pt>
                <c:pt idx="661">
                  <c:v>-0.73600066683337495</c:v>
                </c:pt>
                <c:pt idx="662">
                  <c:v>-0.73484482231669024</c:v>
                </c:pt>
                <c:pt idx="663">
                  <c:v>-0.73648967797504938</c:v>
                </c:pt>
                <c:pt idx="664">
                  <c:v>-0.73681198077297094</c:v>
                </c:pt>
                <c:pt idx="665">
                  <c:v>-0.73633964046567191</c:v>
                </c:pt>
                <c:pt idx="666">
                  <c:v>-0.73446695007085105</c:v>
                </c:pt>
                <c:pt idx="667">
                  <c:v>-0.73257203189686315</c:v>
                </c:pt>
                <c:pt idx="668">
                  <c:v>-0.7341279764385541</c:v>
                </c:pt>
                <c:pt idx="669">
                  <c:v>-0.73117168180934122</c:v>
                </c:pt>
                <c:pt idx="670">
                  <c:v>-0.73117723875413299</c:v>
                </c:pt>
                <c:pt idx="671">
                  <c:v>-0.73118279569892475</c:v>
                </c:pt>
                <c:pt idx="672">
                  <c:v>-0.73157178183434746</c:v>
                </c:pt>
                <c:pt idx="673">
                  <c:v>-0.73143285821455362</c:v>
                </c:pt>
                <c:pt idx="674">
                  <c:v>-0.72973799005306883</c:v>
                </c:pt>
                <c:pt idx="675">
                  <c:v>-0.73113834014059065</c:v>
                </c:pt>
                <c:pt idx="676">
                  <c:v>-0.7310160873551721</c:v>
                </c:pt>
                <c:pt idx="677">
                  <c:v>-0.73313328332083016</c:v>
                </c:pt>
                <c:pt idx="678">
                  <c:v>-0.7349670751021089</c:v>
                </c:pt>
                <c:pt idx="679">
                  <c:v>-0.73310549859687146</c:v>
                </c:pt>
                <c:pt idx="680">
                  <c:v>-0.73079380956350204</c:v>
                </c:pt>
                <c:pt idx="681">
                  <c:v>-0.73141063043538668</c:v>
                </c:pt>
                <c:pt idx="682">
                  <c:v>-0.73321108054791473</c:v>
                </c:pt>
                <c:pt idx="683">
                  <c:v>-0.73223305826456619</c:v>
                </c:pt>
                <c:pt idx="684">
                  <c:v>-0.73385012919896642</c:v>
                </c:pt>
                <c:pt idx="685">
                  <c:v>-0.73335000416770857</c:v>
                </c:pt>
                <c:pt idx="686">
                  <c:v>-0.73037148175932876</c:v>
                </c:pt>
                <c:pt idx="687">
                  <c:v>-0.73126614987080107</c:v>
                </c:pt>
                <c:pt idx="688">
                  <c:v>-0.72991025534161325</c:v>
                </c:pt>
                <c:pt idx="689">
                  <c:v>-0.73228307076769195</c:v>
                </c:pt>
                <c:pt idx="690">
                  <c:v>-0.73156622488955569</c:v>
                </c:pt>
                <c:pt idx="691">
                  <c:v>-0.73239976660831874</c:v>
                </c:pt>
                <c:pt idx="692">
                  <c:v>-0.73225528604373313</c:v>
                </c:pt>
                <c:pt idx="693">
                  <c:v>-0.73229974160206712</c:v>
                </c:pt>
                <c:pt idx="694">
                  <c:v>-0.73432246950626545</c:v>
                </c:pt>
                <c:pt idx="695">
                  <c:v>-0.73614514739796055</c:v>
                </c:pt>
                <c:pt idx="696">
                  <c:v>-0.73497263204690055</c:v>
                </c:pt>
                <c:pt idx="697">
                  <c:v>-0.73450584868439339</c:v>
                </c:pt>
                <c:pt idx="698">
                  <c:v>-0.73415020421772104</c:v>
                </c:pt>
                <c:pt idx="699">
                  <c:v>-0.7354005167958656</c:v>
                </c:pt>
                <c:pt idx="700">
                  <c:v>-0.73932927676363536</c:v>
                </c:pt>
                <c:pt idx="701">
                  <c:v>-0.7401628184823984</c:v>
                </c:pt>
                <c:pt idx="702">
                  <c:v>-0.73840126698341257</c:v>
                </c:pt>
                <c:pt idx="703">
                  <c:v>-0.73857353227195688</c:v>
                </c:pt>
                <c:pt idx="704">
                  <c:v>-0.73815676141257536</c:v>
                </c:pt>
                <c:pt idx="705">
                  <c:v>-0.73815120446778359</c:v>
                </c:pt>
                <c:pt idx="706">
                  <c:v>-0.73860687394070745</c:v>
                </c:pt>
                <c:pt idx="707">
                  <c:v>-0.7383234697563279</c:v>
                </c:pt>
                <c:pt idx="708">
                  <c:v>-0.73474479731043874</c:v>
                </c:pt>
                <c:pt idx="709">
                  <c:v>-0.73526159317607176</c:v>
                </c:pt>
                <c:pt idx="710">
                  <c:v>-0.73218304576144033</c:v>
                </c:pt>
                <c:pt idx="711">
                  <c:v>-0.73289989163957658</c:v>
                </c:pt>
                <c:pt idx="712">
                  <c:v>-0.7314217443249702</c:v>
                </c:pt>
                <c:pt idx="713">
                  <c:v>-0.73445027923647577</c:v>
                </c:pt>
                <c:pt idx="714">
                  <c:v>-0.7337223194687561</c:v>
                </c:pt>
                <c:pt idx="715">
                  <c:v>-0.73113834014059065</c:v>
                </c:pt>
                <c:pt idx="716">
                  <c:v>-0.73088272068017002</c:v>
                </c:pt>
                <c:pt idx="717">
                  <c:v>-0.73071601233641736</c:v>
                </c:pt>
                <c:pt idx="718">
                  <c:v>-0.7288877774999305</c:v>
                </c:pt>
                <c:pt idx="719">
                  <c:v>-0.7292656497457698</c:v>
                </c:pt>
                <c:pt idx="720">
                  <c:v>-0.72895446083743165</c:v>
                </c:pt>
                <c:pt idx="721">
                  <c:v>-0.73019365952599258</c:v>
                </c:pt>
                <c:pt idx="722">
                  <c:v>-0.73138284571142786</c:v>
                </c:pt>
                <c:pt idx="723">
                  <c:v>-0.73137173182184434</c:v>
                </c:pt>
                <c:pt idx="724">
                  <c:v>-0.73321108054791473</c:v>
                </c:pt>
                <c:pt idx="725">
                  <c:v>-0.73246089300102801</c:v>
                </c:pt>
                <c:pt idx="726">
                  <c:v>-0.73277208190936616</c:v>
                </c:pt>
                <c:pt idx="727">
                  <c:v>-0.73275541107499098</c:v>
                </c:pt>
                <c:pt idx="728">
                  <c:v>-0.72883220805201299</c:v>
                </c:pt>
                <c:pt idx="729">
                  <c:v>-0.72575366063738156</c:v>
                </c:pt>
                <c:pt idx="730">
                  <c:v>-0.7246478286238226</c:v>
                </c:pt>
                <c:pt idx="731">
                  <c:v>-0.72444777861131948</c:v>
                </c:pt>
                <c:pt idx="732">
                  <c:v>-0.72379205912589262</c:v>
                </c:pt>
                <c:pt idx="733">
                  <c:v>-0.72415881748214828</c:v>
                </c:pt>
                <c:pt idx="734">
                  <c:v>-0.72556472451446186</c:v>
                </c:pt>
                <c:pt idx="735">
                  <c:v>-0.72650940512906004</c:v>
                </c:pt>
                <c:pt idx="736">
                  <c:v>-0.72750409824678397</c:v>
                </c:pt>
                <c:pt idx="737">
                  <c:v>-0.72703175793948482</c:v>
                </c:pt>
                <c:pt idx="738">
                  <c:v>-0.72735961768219837</c:v>
                </c:pt>
                <c:pt idx="739">
                  <c:v>-0.72807090661554275</c:v>
                </c:pt>
                <c:pt idx="740">
                  <c:v>-0.7280931343947098</c:v>
                </c:pt>
                <c:pt idx="741">
                  <c:v>-0.72662054402489518</c:v>
                </c:pt>
                <c:pt idx="742">
                  <c:v>-0.72603150787696924</c:v>
                </c:pt>
                <c:pt idx="743">
                  <c:v>-0.72558139534883725</c:v>
                </c:pt>
                <c:pt idx="744">
                  <c:v>-0.72763190797699417</c:v>
                </c:pt>
                <c:pt idx="745">
                  <c:v>-0.72756522463949325</c:v>
                </c:pt>
                <c:pt idx="746">
                  <c:v>-0.72978244561140282</c:v>
                </c:pt>
                <c:pt idx="747">
                  <c:v>-0.73243866522186107</c:v>
                </c:pt>
                <c:pt idx="748">
                  <c:v>-0.73181628740518456</c:v>
                </c:pt>
                <c:pt idx="749">
                  <c:v>-0.73052151926870601</c:v>
                </c:pt>
                <c:pt idx="750">
                  <c:v>-0.73049929148953896</c:v>
                </c:pt>
                <c:pt idx="751">
                  <c:v>-0.72964352199160909</c:v>
                </c:pt>
                <c:pt idx="752">
                  <c:v>-0.7300880775749492</c:v>
                </c:pt>
                <c:pt idx="753">
                  <c:v>-0.72869328443221915</c:v>
                </c:pt>
                <c:pt idx="754">
                  <c:v>-0.7274263010196993</c:v>
                </c:pt>
                <c:pt idx="755">
                  <c:v>-0.72740963018532412</c:v>
                </c:pt>
                <c:pt idx="756">
                  <c:v>-0.72797088160929124</c:v>
                </c:pt>
                <c:pt idx="757">
                  <c:v>-0.72967686366035955</c:v>
                </c:pt>
                <c:pt idx="758">
                  <c:v>-0.72831541218637996</c:v>
                </c:pt>
                <c:pt idx="759">
                  <c:v>-0.7259648245394682</c:v>
                </c:pt>
                <c:pt idx="760">
                  <c:v>-0.72620377316551354</c:v>
                </c:pt>
                <c:pt idx="761">
                  <c:v>-0.72236948125920364</c:v>
                </c:pt>
                <c:pt idx="762">
                  <c:v>-0.72593148287071774</c:v>
                </c:pt>
                <c:pt idx="763">
                  <c:v>-0.72583145786446612</c:v>
                </c:pt>
                <c:pt idx="764">
                  <c:v>-0.72581478703009084</c:v>
                </c:pt>
                <c:pt idx="765">
                  <c:v>-0.72385874246339355</c:v>
                </c:pt>
                <c:pt idx="766">
                  <c:v>-0.72431996888110917</c:v>
                </c:pt>
                <c:pt idx="767">
                  <c:v>-0.72757633852907677</c:v>
                </c:pt>
                <c:pt idx="768">
                  <c:v>-0.72737628851657354</c:v>
                </c:pt>
                <c:pt idx="769">
                  <c:v>-0.72657608846656108</c:v>
                </c:pt>
                <c:pt idx="770">
                  <c:v>-0.72925453585618627</c:v>
                </c:pt>
                <c:pt idx="771">
                  <c:v>-0.72772081909366226</c:v>
                </c:pt>
                <c:pt idx="772">
                  <c:v>-0.72758189547386842</c:v>
                </c:pt>
                <c:pt idx="773">
                  <c:v>-0.72691506209885803</c:v>
                </c:pt>
                <c:pt idx="774">
                  <c:v>-0.72789864132699833</c:v>
                </c:pt>
                <c:pt idx="775">
                  <c:v>-0.73169959156455788</c:v>
                </c:pt>
                <c:pt idx="776">
                  <c:v>-0.7334611430635436</c:v>
                </c:pt>
                <c:pt idx="777">
                  <c:v>-0.73370564863438081</c:v>
                </c:pt>
                <c:pt idx="778">
                  <c:v>-0.73562279458753577</c:v>
                </c:pt>
                <c:pt idx="779">
                  <c:v>-0.73331110555416634</c:v>
                </c:pt>
                <c:pt idx="780">
                  <c:v>-0.73663415853963488</c:v>
                </c:pt>
                <c:pt idx="781">
                  <c:v>-0.7335055986218777</c:v>
                </c:pt>
                <c:pt idx="782">
                  <c:v>-0.7322886277124836</c:v>
                </c:pt>
                <c:pt idx="783">
                  <c:v>-0.73223861520935785</c:v>
                </c:pt>
                <c:pt idx="784">
                  <c:v>-0.73206634992081354</c:v>
                </c:pt>
                <c:pt idx="785">
                  <c:v>-0.73067155677808338</c:v>
                </c:pt>
                <c:pt idx="786">
                  <c:v>-0.72852101914367484</c:v>
                </c:pt>
                <c:pt idx="787">
                  <c:v>-0.72818204551137788</c:v>
                </c:pt>
                <c:pt idx="788">
                  <c:v>-0.72805423578116746</c:v>
                </c:pt>
                <c:pt idx="789">
                  <c:v>-0.72855991775721707</c:v>
                </c:pt>
                <c:pt idx="790">
                  <c:v>-0.72888222055513885</c:v>
                </c:pt>
                <c:pt idx="791">
                  <c:v>-0.7263704815092662</c:v>
                </c:pt>
                <c:pt idx="792">
                  <c:v>-0.72610374815926204</c:v>
                </c:pt>
                <c:pt idx="793">
                  <c:v>-0.72502570086966189</c:v>
                </c:pt>
                <c:pt idx="794">
                  <c:v>-0.72454780361757098</c:v>
                </c:pt>
                <c:pt idx="795">
                  <c:v>-0.72597038148425996</c:v>
                </c:pt>
                <c:pt idx="796">
                  <c:v>-0.72321969381234197</c:v>
                </c:pt>
                <c:pt idx="797">
                  <c:v>-0.72499235920091132</c:v>
                </c:pt>
                <c:pt idx="798">
                  <c:v>-0.72676502458948078</c:v>
                </c:pt>
                <c:pt idx="799">
                  <c:v>-0.72577033147175674</c:v>
                </c:pt>
                <c:pt idx="800">
                  <c:v>-0.72614820371759603</c:v>
                </c:pt>
                <c:pt idx="801">
                  <c:v>-0.7254591425634187</c:v>
                </c:pt>
                <c:pt idx="802">
                  <c:v>-0.72542580089466813</c:v>
                </c:pt>
                <c:pt idx="803">
                  <c:v>-0.72307521324775637</c:v>
                </c:pt>
                <c:pt idx="804">
                  <c:v>-0.72261398683004086</c:v>
                </c:pt>
                <c:pt idx="805">
                  <c:v>-0.72288072018004501</c:v>
                </c:pt>
                <c:pt idx="806">
                  <c:v>-0.72395876746964516</c:v>
                </c:pt>
                <c:pt idx="807">
                  <c:v>-0.72482009391236701</c:v>
                </c:pt>
                <c:pt idx="808">
                  <c:v>-0.72246394932066349</c:v>
                </c:pt>
                <c:pt idx="809">
                  <c:v>-0.72194715345503035</c:v>
                </c:pt>
                <c:pt idx="810">
                  <c:v>-0.7199299824956239</c:v>
                </c:pt>
                <c:pt idx="811">
                  <c:v>-0.72089689088938902</c:v>
                </c:pt>
                <c:pt idx="812">
                  <c:v>-0.71917979494873718</c:v>
                </c:pt>
                <c:pt idx="813">
                  <c:v>-0.71811841849351232</c:v>
                </c:pt>
                <c:pt idx="814">
                  <c:v>-0.71747381289766887</c:v>
                </c:pt>
                <c:pt idx="815">
                  <c:v>-0.71664027117890583</c:v>
                </c:pt>
                <c:pt idx="816">
                  <c:v>-0.71691811841849351</c:v>
                </c:pt>
                <c:pt idx="817">
                  <c:v>-0.71746825595287711</c:v>
                </c:pt>
                <c:pt idx="818">
                  <c:v>-0.71743491428412653</c:v>
                </c:pt>
                <c:pt idx="819">
                  <c:v>-0.71600122252785425</c:v>
                </c:pt>
                <c:pt idx="820">
                  <c:v>-0.71382845711427856</c:v>
                </c:pt>
                <c:pt idx="821">
                  <c:v>-0.71271151121113618</c:v>
                </c:pt>
                <c:pt idx="822">
                  <c:v>-0.71349504042677325</c:v>
                </c:pt>
                <c:pt idx="823">
                  <c:v>-0.71415631685699199</c:v>
                </c:pt>
                <c:pt idx="824">
                  <c:v>-0.71474535300491793</c:v>
                </c:pt>
                <c:pt idx="825">
                  <c:v>-0.71531771831846847</c:v>
                </c:pt>
                <c:pt idx="826">
                  <c:v>-0.71546775582784594</c:v>
                </c:pt>
                <c:pt idx="827">
                  <c:v>-0.71615681698202327</c:v>
                </c:pt>
                <c:pt idx="828">
                  <c:v>-0.71356728070906605</c:v>
                </c:pt>
                <c:pt idx="829">
                  <c:v>-0.70971631796838097</c:v>
                </c:pt>
                <c:pt idx="830">
                  <c:v>-0.71009419021422016</c:v>
                </c:pt>
                <c:pt idx="831">
                  <c:v>-0.7103498096746409</c:v>
                </c:pt>
                <c:pt idx="832">
                  <c:v>-0.71118335139340383</c:v>
                </c:pt>
                <c:pt idx="833">
                  <c:v>-0.71054430274235225</c:v>
                </c:pt>
                <c:pt idx="834">
                  <c:v>-0.71093328887777496</c:v>
                </c:pt>
                <c:pt idx="835">
                  <c:v>-0.71168903336945344</c:v>
                </c:pt>
                <c:pt idx="836">
                  <c:v>-0.71112778194548643</c:v>
                </c:pt>
                <c:pt idx="837">
                  <c:v>-0.71316162373926817</c:v>
                </c:pt>
                <c:pt idx="838">
                  <c:v>-0.71326164874551967</c:v>
                </c:pt>
                <c:pt idx="839">
                  <c:v>-0.7138951404517796</c:v>
                </c:pt>
                <c:pt idx="840">
                  <c:v>-0.71377288766636093</c:v>
                </c:pt>
                <c:pt idx="841">
                  <c:v>-0.71627351282265006</c:v>
                </c:pt>
                <c:pt idx="842">
                  <c:v>-0.71737378789141726</c:v>
                </c:pt>
                <c:pt idx="843">
                  <c:v>-0.71609569058931399</c:v>
                </c:pt>
                <c:pt idx="844">
                  <c:v>-0.71603456419660472</c:v>
                </c:pt>
                <c:pt idx="845">
                  <c:v>-0.71470089744658383</c:v>
                </c:pt>
                <c:pt idx="846">
                  <c:v>-0.71278375149342887</c:v>
                </c:pt>
                <c:pt idx="847">
                  <c:v>-0.71195576671945759</c:v>
                </c:pt>
                <c:pt idx="848">
                  <c:v>-0.71216137367675247</c:v>
                </c:pt>
                <c:pt idx="849">
                  <c:v>-0.71327831957989496</c:v>
                </c:pt>
                <c:pt idx="850">
                  <c:v>-0.71443972104137143</c:v>
                </c:pt>
                <c:pt idx="851">
                  <c:v>-0.71303937095384962</c:v>
                </c:pt>
                <c:pt idx="852">
                  <c:v>-0.71263371398405151</c:v>
                </c:pt>
                <c:pt idx="853">
                  <c:v>-0.70999972215276042</c:v>
                </c:pt>
                <c:pt idx="854">
                  <c:v>-0.71000527909755218</c:v>
                </c:pt>
                <c:pt idx="855">
                  <c:v>-0.7112166930621544</c:v>
                </c:pt>
                <c:pt idx="856">
                  <c:v>-0.7108554916506904</c:v>
                </c:pt>
                <c:pt idx="857">
                  <c:v>-0.71076658053402242</c:v>
                </c:pt>
                <c:pt idx="858">
                  <c:v>-0.70824372759856624</c:v>
                </c:pt>
                <c:pt idx="859">
                  <c:v>-0.70813814564752298</c:v>
                </c:pt>
                <c:pt idx="860">
                  <c:v>-0.70506515517768331</c:v>
                </c:pt>
                <c:pt idx="861">
                  <c:v>-0.70332027451307266</c:v>
                </c:pt>
                <c:pt idx="862">
                  <c:v>-0.70370926064849537</c:v>
                </c:pt>
                <c:pt idx="863">
                  <c:v>-0.70429829679642131</c:v>
                </c:pt>
                <c:pt idx="864">
                  <c:v>-0.70589313995165459</c:v>
                </c:pt>
                <c:pt idx="865">
                  <c:v>-0.7052818760245616</c:v>
                </c:pt>
                <c:pt idx="866">
                  <c:v>-0.70433163846517188</c:v>
                </c:pt>
                <c:pt idx="867">
                  <c:v>-0.70630435386624435</c:v>
                </c:pt>
                <c:pt idx="868">
                  <c:v>-0.71330610430385377</c:v>
                </c:pt>
                <c:pt idx="869">
                  <c:v>-0.71369509043927648</c:v>
                </c:pt>
                <c:pt idx="870">
                  <c:v>-0.71460087244033232</c:v>
                </c:pt>
                <c:pt idx="871">
                  <c:v>-0.71305604178822479</c:v>
                </c:pt>
                <c:pt idx="872">
                  <c:v>-0.7123169681309216</c:v>
                </c:pt>
                <c:pt idx="873">
                  <c:v>-0.71253924592259177</c:v>
                </c:pt>
                <c:pt idx="874">
                  <c:v>-0.70850490400377875</c:v>
                </c:pt>
                <c:pt idx="875">
                  <c:v>-0.7075268817204301</c:v>
                </c:pt>
                <c:pt idx="876">
                  <c:v>-0.70682114973187737</c:v>
                </c:pt>
                <c:pt idx="877">
                  <c:v>-0.70766580534022383</c:v>
                </c:pt>
                <c:pt idx="878">
                  <c:v>-0.70369814675891185</c:v>
                </c:pt>
                <c:pt idx="879">
                  <c:v>-0.70273123836514673</c:v>
                </c:pt>
                <c:pt idx="880">
                  <c:v>-0.70397043705370788</c:v>
                </c:pt>
                <c:pt idx="881">
                  <c:v>-0.70472062460059459</c:v>
                </c:pt>
                <c:pt idx="882">
                  <c:v>-0.69899697146508855</c:v>
                </c:pt>
                <c:pt idx="883">
                  <c:v>-0.69913033814009062</c:v>
                </c:pt>
                <c:pt idx="884">
                  <c:v>-0.69785224083798725</c:v>
                </c:pt>
                <c:pt idx="885">
                  <c:v>-0.69956933677863908</c:v>
                </c:pt>
                <c:pt idx="886">
                  <c:v>-0.70213664527242914</c:v>
                </c:pt>
                <c:pt idx="887">
                  <c:v>-0.70106415492762075</c:v>
                </c:pt>
                <c:pt idx="888">
                  <c:v>-0.70108082576199604</c:v>
                </c:pt>
                <c:pt idx="889">
                  <c:v>-0.70309243977661084</c:v>
                </c:pt>
                <c:pt idx="890">
                  <c:v>-0.70071962435053203</c:v>
                </c:pt>
                <c:pt idx="891">
                  <c:v>-0.70185324108804981</c:v>
                </c:pt>
                <c:pt idx="892">
                  <c:v>-0.7027090105859799</c:v>
                </c:pt>
                <c:pt idx="893">
                  <c:v>-0.70278680781306435</c:v>
                </c:pt>
                <c:pt idx="894">
                  <c:v>-0.70324247728598821</c:v>
                </c:pt>
                <c:pt idx="895">
                  <c:v>-0.70124753410574869</c:v>
                </c:pt>
                <c:pt idx="896">
                  <c:v>-0.70329804673390572</c:v>
                </c:pt>
                <c:pt idx="897">
                  <c:v>-0.70126420494012387</c:v>
                </c:pt>
                <c:pt idx="898">
                  <c:v>-0.70044733405573623</c:v>
                </c:pt>
                <c:pt idx="899">
                  <c:v>-0.70063627017865571</c:v>
                </c:pt>
                <c:pt idx="900">
                  <c:v>-0.70154205217971155</c:v>
                </c:pt>
                <c:pt idx="901">
                  <c:v>-0.7073101608735517</c:v>
                </c:pt>
                <c:pt idx="902">
                  <c:v>-0.70667666916729188</c:v>
                </c:pt>
                <c:pt idx="903">
                  <c:v>-0.7074268567141786</c:v>
                </c:pt>
                <c:pt idx="904">
                  <c:v>-0.70638770803812068</c:v>
                </c:pt>
                <c:pt idx="905">
                  <c:v>-0.70695451640687945</c:v>
                </c:pt>
                <c:pt idx="906">
                  <c:v>-0.7026200994693117</c:v>
                </c:pt>
                <c:pt idx="907">
                  <c:v>-0.70205329110055292</c:v>
                </c:pt>
                <c:pt idx="908">
                  <c:v>-0.70242560640160034</c:v>
                </c:pt>
                <c:pt idx="909">
                  <c:v>-0.70257564391097771</c:v>
                </c:pt>
                <c:pt idx="910">
                  <c:v>-0.70221444249951381</c:v>
                </c:pt>
                <c:pt idx="911">
                  <c:v>-0.70317023700369541</c:v>
                </c:pt>
                <c:pt idx="912">
                  <c:v>-0.70472618154538635</c:v>
                </c:pt>
                <c:pt idx="913">
                  <c:v>-0.70570420382873489</c:v>
                </c:pt>
                <c:pt idx="914">
                  <c:v>-0.70833819566002609</c:v>
                </c:pt>
                <c:pt idx="915">
                  <c:v>-0.71008307632463663</c:v>
                </c:pt>
                <c:pt idx="916">
                  <c:v>-0.71232808202050513</c:v>
                </c:pt>
                <c:pt idx="917">
                  <c:v>-0.70932177488816639</c:v>
                </c:pt>
                <c:pt idx="918">
                  <c:v>-0.70931621794337474</c:v>
                </c:pt>
                <c:pt idx="919">
                  <c:v>-0.70873829568503233</c:v>
                </c:pt>
                <c:pt idx="920">
                  <c:v>-0.70787141229751871</c:v>
                </c:pt>
                <c:pt idx="921">
                  <c:v>-0.70628768303186917</c:v>
                </c:pt>
                <c:pt idx="922">
                  <c:v>-0.7051540662943514</c:v>
                </c:pt>
                <c:pt idx="923">
                  <c:v>-0.70478730793809563</c:v>
                </c:pt>
                <c:pt idx="924">
                  <c:v>-0.70554860937456587</c:v>
                </c:pt>
                <c:pt idx="925">
                  <c:v>-0.70604873440582372</c:v>
                </c:pt>
                <c:pt idx="926">
                  <c:v>-0.70555972326414929</c:v>
                </c:pt>
                <c:pt idx="927">
                  <c:v>-0.70450390375371619</c:v>
                </c:pt>
                <c:pt idx="928">
                  <c:v>-0.70419827179016981</c:v>
                </c:pt>
                <c:pt idx="929">
                  <c:v>-0.70788252618710235</c:v>
                </c:pt>
                <c:pt idx="930">
                  <c:v>-0.7074990969964714</c:v>
                </c:pt>
                <c:pt idx="931">
                  <c:v>-0.70688783306937841</c:v>
                </c:pt>
                <c:pt idx="932">
                  <c:v>-0.70687671917979489</c:v>
                </c:pt>
                <c:pt idx="933">
                  <c:v>-0.70203662026617764</c:v>
                </c:pt>
                <c:pt idx="934">
                  <c:v>-0.70001389236197942</c:v>
                </c:pt>
                <c:pt idx="935">
                  <c:v>-0.70317023700369541</c:v>
                </c:pt>
                <c:pt idx="936">
                  <c:v>-0.7016643049651301</c:v>
                </c:pt>
                <c:pt idx="937">
                  <c:v>-0.70102525631407853</c:v>
                </c:pt>
                <c:pt idx="938">
                  <c:v>-0.69795782278903062</c:v>
                </c:pt>
                <c:pt idx="939">
                  <c:v>-0.6986413269984163</c:v>
                </c:pt>
                <c:pt idx="940">
                  <c:v>-0.70005834792031341</c:v>
                </c:pt>
                <c:pt idx="941">
                  <c:v>-0.69759106443277485</c:v>
                </c:pt>
                <c:pt idx="942">
                  <c:v>-0.69747436859214806</c:v>
                </c:pt>
                <c:pt idx="943">
                  <c:v>-0.69835792281403686</c:v>
                </c:pt>
                <c:pt idx="944">
                  <c:v>-0.69996387985885367</c:v>
                </c:pt>
                <c:pt idx="945">
                  <c:v>-0.70150871051096109</c:v>
                </c:pt>
                <c:pt idx="946">
                  <c:v>-0.70347586896724179</c:v>
                </c:pt>
                <c:pt idx="947">
                  <c:v>-0.70264232724847875</c:v>
                </c:pt>
                <c:pt idx="948">
                  <c:v>-0.70289794670889938</c:v>
                </c:pt>
                <c:pt idx="949">
                  <c:v>-0.7016365202411714</c:v>
                </c:pt>
                <c:pt idx="950">
                  <c:v>-0.70131977438804149</c:v>
                </c:pt>
                <c:pt idx="951">
                  <c:v>-0.70226445500263956</c:v>
                </c:pt>
                <c:pt idx="952">
                  <c:v>-0.70148092578700227</c:v>
                </c:pt>
                <c:pt idx="953">
                  <c:v>-0.70073073824011556</c:v>
                </c:pt>
                <c:pt idx="954">
                  <c:v>-0.70397043705370788</c:v>
                </c:pt>
                <c:pt idx="955">
                  <c:v>-0.70227001194743133</c:v>
                </c:pt>
                <c:pt idx="956">
                  <c:v>-0.70246450501514268</c:v>
                </c:pt>
                <c:pt idx="957">
                  <c:v>-0.70429273985162966</c:v>
                </c:pt>
                <c:pt idx="958">
                  <c:v>-0.70186435497763333</c:v>
                </c:pt>
                <c:pt idx="959">
                  <c:v>-0.70120307854741459</c:v>
                </c:pt>
                <c:pt idx="960">
                  <c:v>-0.69831346725570276</c:v>
                </c:pt>
                <c:pt idx="961">
                  <c:v>-0.699074768692173</c:v>
                </c:pt>
                <c:pt idx="962">
                  <c:v>-0.69918035064321638</c:v>
                </c:pt>
                <c:pt idx="963">
                  <c:v>-0.70016948681614855</c:v>
                </c:pt>
                <c:pt idx="964">
                  <c:v>-0.70214220221722101</c:v>
                </c:pt>
                <c:pt idx="965">
                  <c:v>-0.70507071212247507</c:v>
                </c:pt>
                <c:pt idx="966">
                  <c:v>-0.70413158845266877</c:v>
                </c:pt>
                <c:pt idx="967">
                  <c:v>-0.70025284098802487</c:v>
                </c:pt>
                <c:pt idx="968">
                  <c:v>-0.70056958684115478</c:v>
                </c:pt>
                <c:pt idx="969">
                  <c:v>-0.69999722152760413</c:v>
                </c:pt>
                <c:pt idx="970">
                  <c:v>-0.70059181462032183</c:v>
                </c:pt>
                <c:pt idx="971">
                  <c:v>-0.69925259092550918</c:v>
                </c:pt>
                <c:pt idx="972">
                  <c:v>-0.69980828540468454</c:v>
                </c:pt>
                <c:pt idx="973">
                  <c:v>-0.70212553138284572</c:v>
                </c:pt>
                <c:pt idx="974">
                  <c:v>-0.70190881053596732</c:v>
                </c:pt>
                <c:pt idx="975">
                  <c:v>-0.70104192714845381</c:v>
                </c:pt>
                <c:pt idx="976">
                  <c:v>-0.70112528132033014</c:v>
                </c:pt>
                <c:pt idx="977">
                  <c:v>-0.7029090605984829</c:v>
                </c:pt>
                <c:pt idx="978">
                  <c:v>-0.70118085076824754</c:v>
                </c:pt>
                <c:pt idx="979">
                  <c:v>-0.69980272845989266</c:v>
                </c:pt>
                <c:pt idx="980">
                  <c:v>-0.7003195243255258</c:v>
                </c:pt>
                <c:pt idx="981">
                  <c:v>-0.70101969936928676</c:v>
                </c:pt>
                <c:pt idx="982">
                  <c:v>-0.69898030063071315</c:v>
                </c:pt>
                <c:pt idx="983">
                  <c:v>-0.7003917646078186</c:v>
                </c:pt>
                <c:pt idx="984">
                  <c:v>-0.69895251590675445</c:v>
                </c:pt>
                <c:pt idx="985">
                  <c:v>-0.69943041315884524</c:v>
                </c:pt>
                <c:pt idx="986">
                  <c:v>-0.69989163957656086</c:v>
                </c:pt>
                <c:pt idx="987">
                  <c:v>-0.70011947431302268</c:v>
                </c:pt>
                <c:pt idx="988">
                  <c:v>-0.69973604512239174</c:v>
                </c:pt>
                <c:pt idx="989">
                  <c:v>-0.69814120196715845</c:v>
                </c:pt>
                <c:pt idx="990">
                  <c:v>-0.69896918674112962</c:v>
                </c:pt>
                <c:pt idx="991">
                  <c:v>-0.69827456864216053</c:v>
                </c:pt>
                <c:pt idx="992">
                  <c:v>-0.6992637048150927</c:v>
                </c:pt>
                <c:pt idx="993">
                  <c:v>-0.69844683393070484</c:v>
                </c:pt>
                <c:pt idx="994">
                  <c:v>-0.69686866160984695</c:v>
                </c:pt>
                <c:pt idx="995">
                  <c:v>-0.69631296713067159</c:v>
                </c:pt>
                <c:pt idx="996">
                  <c:v>-0.69436247950876606</c:v>
                </c:pt>
                <c:pt idx="997">
                  <c:v>-0.69407351837959497</c:v>
                </c:pt>
                <c:pt idx="998">
                  <c:v>-0.69425134061293092</c:v>
                </c:pt>
                <c:pt idx="999">
                  <c:v>-0.69484037676085686</c:v>
                </c:pt>
                <c:pt idx="1000">
                  <c:v>-0.69178405712539248</c:v>
                </c:pt>
                <c:pt idx="1001">
                  <c:v>-0.6915062098858048</c:v>
                </c:pt>
                <c:pt idx="1002">
                  <c:v>-0.69082270567641912</c:v>
                </c:pt>
                <c:pt idx="1003">
                  <c:v>-0.69115612236392432</c:v>
                </c:pt>
                <c:pt idx="1004">
                  <c:v>-0.69018365702536744</c:v>
                </c:pt>
                <c:pt idx="1005">
                  <c:v>-0.68902225556389096</c:v>
                </c:pt>
                <c:pt idx="1006">
                  <c:v>-0.68925564724514454</c:v>
                </c:pt>
                <c:pt idx="1007">
                  <c:v>-0.69046150426495512</c:v>
                </c:pt>
                <c:pt idx="1008">
                  <c:v>-0.69038370703787066</c:v>
                </c:pt>
                <c:pt idx="1009">
                  <c:v>-0.69226751132227504</c:v>
                </c:pt>
                <c:pt idx="1010">
                  <c:v>-0.69351226695562773</c:v>
                </c:pt>
                <c:pt idx="1011">
                  <c:v>-0.69281764885665864</c:v>
                </c:pt>
                <c:pt idx="1012">
                  <c:v>-0.68998360701286432</c:v>
                </c:pt>
                <c:pt idx="1013">
                  <c:v>-0.68963351949098384</c:v>
                </c:pt>
                <c:pt idx="1014">
                  <c:v>-0.69106721124725623</c:v>
                </c:pt>
                <c:pt idx="1015">
                  <c:v>-0.68990580978577976</c:v>
                </c:pt>
                <c:pt idx="1016">
                  <c:v>-0.69135061543163578</c:v>
                </c:pt>
                <c:pt idx="1017">
                  <c:v>-0.69175627240143367</c:v>
                </c:pt>
                <c:pt idx="1018">
                  <c:v>-0.69423466977855575</c:v>
                </c:pt>
                <c:pt idx="1019">
                  <c:v>-0.69564613375566109</c:v>
                </c:pt>
                <c:pt idx="1020">
                  <c:v>-0.69345669750771033</c:v>
                </c:pt>
                <c:pt idx="1021">
                  <c:v>-0.69242310577644406</c:v>
                </c:pt>
                <c:pt idx="1022">
                  <c:v>-0.69236197938373478</c:v>
                </c:pt>
                <c:pt idx="1023">
                  <c:v>-0.68951682365035705</c:v>
                </c:pt>
                <c:pt idx="1024">
                  <c:v>-0.68969464588369322</c:v>
                </c:pt>
                <c:pt idx="1025">
                  <c:v>-0.69062821260870777</c:v>
                </c:pt>
                <c:pt idx="1026">
                  <c:v>-0.69140618487955319</c:v>
                </c:pt>
                <c:pt idx="1027">
                  <c:v>-0.68978911394515297</c:v>
                </c:pt>
                <c:pt idx="1028">
                  <c:v>-0.68962796254619207</c:v>
                </c:pt>
                <c:pt idx="1029">
                  <c:v>-0.68970575977327664</c:v>
                </c:pt>
                <c:pt idx="1030">
                  <c:v>-0.69001139173682313</c:v>
                </c:pt>
                <c:pt idx="1031">
                  <c:v>-0.69105054041288105</c:v>
                </c:pt>
                <c:pt idx="1032">
                  <c:v>-0.690261454252452</c:v>
                </c:pt>
                <c:pt idx="1033">
                  <c:v>-0.68987802506182105</c:v>
                </c:pt>
                <c:pt idx="1034">
                  <c:v>-0.68971687366286016</c:v>
                </c:pt>
                <c:pt idx="1035">
                  <c:v>-0.6894668111472313</c:v>
                </c:pt>
                <c:pt idx="1036">
                  <c:v>-0.68584368314300792</c:v>
                </c:pt>
                <c:pt idx="1037">
                  <c:v>-0.68404878997527163</c:v>
                </c:pt>
                <c:pt idx="1038">
                  <c:v>-0.68472118029507367</c:v>
                </c:pt>
                <c:pt idx="1039">
                  <c:v>-0.68621599844405545</c:v>
                </c:pt>
                <c:pt idx="1040">
                  <c:v>-0.6863104665055153</c:v>
                </c:pt>
                <c:pt idx="1041">
                  <c:v>-0.68678836375760599</c:v>
                </c:pt>
                <c:pt idx="1042">
                  <c:v>-0.68819982773471144</c:v>
                </c:pt>
                <c:pt idx="1043">
                  <c:v>-0.68752188047011753</c:v>
                </c:pt>
                <c:pt idx="1044">
                  <c:v>-0.68740518462949074</c:v>
                </c:pt>
                <c:pt idx="1045">
                  <c:v>-0.6871940207274041</c:v>
                </c:pt>
                <c:pt idx="1046">
                  <c:v>-0.6850934955961212</c:v>
                </c:pt>
                <c:pt idx="1047">
                  <c:v>-0.6850212553138284</c:v>
                </c:pt>
                <c:pt idx="1048">
                  <c:v>-0.68409324553360562</c:v>
                </c:pt>
                <c:pt idx="1049">
                  <c:v>-0.6844433330554861</c:v>
                </c:pt>
                <c:pt idx="1050">
                  <c:v>-0.68807201800450102</c:v>
                </c:pt>
                <c:pt idx="1051">
                  <c:v>-0.69168958906393263</c:v>
                </c:pt>
                <c:pt idx="1052">
                  <c:v>-0.69010585979828298</c:v>
                </c:pt>
                <c:pt idx="1053">
                  <c:v>-0.6896112917118169</c:v>
                </c:pt>
                <c:pt idx="1054">
                  <c:v>-0.68950015281598176</c:v>
                </c:pt>
                <c:pt idx="1055">
                  <c:v>-0.68719957767219575</c:v>
                </c:pt>
                <c:pt idx="1056">
                  <c:v>-0.68792753743991553</c:v>
                </c:pt>
                <c:pt idx="1057">
                  <c:v>-0.68606596093467809</c:v>
                </c:pt>
                <c:pt idx="1058">
                  <c:v>-0.68708288183156907</c:v>
                </c:pt>
                <c:pt idx="1059">
                  <c:v>-0.68501569836903675</c:v>
                </c:pt>
                <c:pt idx="1060">
                  <c:v>-0.68629379567114002</c:v>
                </c:pt>
                <c:pt idx="1061">
                  <c:v>-0.68708843877636072</c:v>
                </c:pt>
                <c:pt idx="1062">
                  <c:v>-0.68773860131699593</c:v>
                </c:pt>
                <c:pt idx="1063">
                  <c:v>-0.69006696118474053</c:v>
                </c:pt>
                <c:pt idx="1064">
                  <c:v>-0.68874440832430328</c:v>
                </c:pt>
                <c:pt idx="1065">
                  <c:v>-0.68773304437220406</c:v>
                </c:pt>
                <c:pt idx="1066">
                  <c:v>-0.68725514712011337</c:v>
                </c:pt>
                <c:pt idx="1067">
                  <c:v>-0.68798310688783304</c:v>
                </c:pt>
                <c:pt idx="1068">
                  <c:v>-0.68802756244616714</c:v>
                </c:pt>
                <c:pt idx="1069">
                  <c:v>-0.68793309438470729</c:v>
                </c:pt>
                <c:pt idx="1070">
                  <c:v>-0.68704398321802673</c:v>
                </c:pt>
                <c:pt idx="1071">
                  <c:v>-0.68584368314300792</c:v>
                </c:pt>
                <c:pt idx="1072">
                  <c:v>-0.6847489650190326</c:v>
                </c:pt>
                <c:pt idx="1073">
                  <c:v>-0.68450445944819538</c:v>
                </c:pt>
                <c:pt idx="1074">
                  <c:v>-0.6848212053013254</c:v>
                </c:pt>
                <c:pt idx="1075">
                  <c:v>-0.686138201216971</c:v>
                </c:pt>
                <c:pt idx="1076">
                  <c:v>-0.68629379567114002</c:v>
                </c:pt>
                <c:pt idx="1077">
                  <c:v>-0.68508238170653768</c:v>
                </c:pt>
                <c:pt idx="1078">
                  <c:v>-0.68684949015031538</c:v>
                </c:pt>
                <c:pt idx="1079">
                  <c:v>-0.68766080408991126</c:v>
                </c:pt>
                <c:pt idx="1080">
                  <c:v>-0.68663832624822874</c:v>
                </c:pt>
                <c:pt idx="1081">
                  <c:v>-0.68457669973048818</c:v>
                </c:pt>
                <c:pt idx="1082">
                  <c:v>-0.68492678725236855</c:v>
                </c:pt>
                <c:pt idx="1083">
                  <c:v>-0.68529354560862432</c:v>
                </c:pt>
                <c:pt idx="1084">
                  <c:v>-0.68392653718985308</c:v>
                </c:pt>
                <c:pt idx="1085">
                  <c:v>-0.68388208163151898</c:v>
                </c:pt>
                <c:pt idx="1086">
                  <c:v>-0.68153149398460722</c:v>
                </c:pt>
                <c:pt idx="1087">
                  <c:v>-0.68125364674501965</c:v>
                </c:pt>
                <c:pt idx="1088">
                  <c:v>-0.68148703842627323</c:v>
                </c:pt>
                <c:pt idx="1089">
                  <c:v>-0.68278736350754354</c:v>
                </c:pt>
                <c:pt idx="1090">
                  <c:v>-0.68425439693256651</c:v>
                </c:pt>
                <c:pt idx="1091">
                  <c:v>-0.68487121780445115</c:v>
                </c:pt>
                <c:pt idx="1092">
                  <c:v>-0.68377094273568395</c:v>
                </c:pt>
                <c:pt idx="1093">
                  <c:v>-0.68330971631796844</c:v>
                </c:pt>
                <c:pt idx="1094">
                  <c:v>-0.6836042343919313</c:v>
                </c:pt>
                <c:pt idx="1095">
                  <c:v>-0.68172043010752681</c:v>
                </c:pt>
                <c:pt idx="1096">
                  <c:v>-0.67804728960017779</c:v>
                </c:pt>
                <c:pt idx="1097">
                  <c:v>-0.67881970492623156</c:v>
                </c:pt>
                <c:pt idx="1098">
                  <c:v>-0.67879192020227275</c:v>
                </c:pt>
                <c:pt idx="1099">
                  <c:v>-0.679914423050207</c:v>
                </c:pt>
                <c:pt idx="1100">
                  <c:v>-0.67823066877830573</c:v>
                </c:pt>
                <c:pt idx="1101">
                  <c:v>-0.67932538690228106</c:v>
                </c:pt>
                <c:pt idx="1102">
                  <c:v>-0.67867522436164596</c:v>
                </c:pt>
                <c:pt idx="1103">
                  <c:v>-0.67863632574810373</c:v>
                </c:pt>
                <c:pt idx="1104">
                  <c:v>-0.67817509933038811</c:v>
                </c:pt>
                <c:pt idx="1105">
                  <c:v>-0.67835292156372429</c:v>
                </c:pt>
                <c:pt idx="1106">
                  <c:v>-0.6801755994554195</c:v>
                </c:pt>
                <c:pt idx="1107">
                  <c:v>-0.6808535467200133</c:v>
                </c:pt>
                <c:pt idx="1108">
                  <c:v>-0.67929760217832236</c:v>
                </c:pt>
                <c:pt idx="1109">
                  <c:v>-0.6766858381261982</c:v>
                </c:pt>
                <c:pt idx="1110">
                  <c:v>-0.6755577783334723</c:v>
                </c:pt>
                <c:pt idx="1111">
                  <c:v>-0.67351837959489869</c:v>
                </c:pt>
                <c:pt idx="1112">
                  <c:v>-0.67477424911783501</c:v>
                </c:pt>
                <c:pt idx="1113">
                  <c:v>-0.67314606429385115</c:v>
                </c:pt>
                <c:pt idx="1114">
                  <c:v>-0.6739796060126142</c:v>
                </c:pt>
                <c:pt idx="1115">
                  <c:v>-0.68120919118668555</c:v>
                </c:pt>
                <c:pt idx="1116">
                  <c:v>-0.67980884109916362</c:v>
                </c:pt>
                <c:pt idx="1117">
                  <c:v>-0.680275624461671</c:v>
                </c:pt>
                <c:pt idx="1118">
                  <c:v>-0.67902531188352644</c:v>
                </c:pt>
                <c:pt idx="1119">
                  <c:v>-0.68160929121169178</c:v>
                </c:pt>
                <c:pt idx="1120">
                  <c:v>-0.68074796476897004</c:v>
                </c:pt>
                <c:pt idx="1121">
                  <c:v>-0.6806368258731349</c:v>
                </c:pt>
                <c:pt idx="1122">
                  <c:v>-0.67900864104915115</c:v>
                </c:pt>
                <c:pt idx="1123">
                  <c:v>-0.67880859103664803</c:v>
                </c:pt>
                <c:pt idx="1124">
                  <c:v>-0.68047011752938236</c:v>
                </c:pt>
                <c:pt idx="1125">
                  <c:v>-0.68221499819399289</c:v>
                </c:pt>
                <c:pt idx="1126">
                  <c:v>-0.67959767719707709</c:v>
                </c:pt>
                <c:pt idx="1127">
                  <c:v>-0.6800589036147926</c:v>
                </c:pt>
                <c:pt idx="1128">
                  <c:v>-0.68441554833152729</c:v>
                </c:pt>
                <c:pt idx="1129">
                  <c:v>-0.68317634964296636</c:v>
                </c:pt>
                <c:pt idx="1130">
                  <c:v>-0.68238170653774555</c:v>
                </c:pt>
                <c:pt idx="1131">
                  <c:v>-0.68418215665027371</c:v>
                </c:pt>
                <c:pt idx="1132">
                  <c:v>-0.68380984134922618</c:v>
                </c:pt>
                <c:pt idx="1133">
                  <c:v>-0.68501569836903675</c:v>
                </c:pt>
                <c:pt idx="1134">
                  <c:v>-0.68380984134922618</c:v>
                </c:pt>
                <c:pt idx="1135">
                  <c:v>-0.68229835236586922</c:v>
                </c:pt>
                <c:pt idx="1136">
                  <c:v>-0.68298741352004666</c:v>
                </c:pt>
                <c:pt idx="1137">
                  <c:v>-0.68204828985024035</c:v>
                </c:pt>
                <c:pt idx="1138">
                  <c:v>-0.68418771359506536</c:v>
                </c:pt>
                <c:pt idx="1139">
                  <c:v>-0.68245394682003835</c:v>
                </c:pt>
                <c:pt idx="1140">
                  <c:v>-0.68179822733461148</c:v>
                </c:pt>
                <c:pt idx="1141">
                  <c:v>-0.6820260620710733</c:v>
                </c:pt>
                <c:pt idx="1142">
                  <c:v>-0.68037009252313074</c:v>
                </c:pt>
                <c:pt idx="1143">
                  <c:v>-0.67934761468144811</c:v>
                </c:pt>
                <c:pt idx="1144">
                  <c:v>-0.67923647578561308</c:v>
                </c:pt>
                <c:pt idx="1145">
                  <c:v>-0.68095357172626492</c:v>
                </c:pt>
                <c:pt idx="1146">
                  <c:v>-0.68077574949292874</c:v>
                </c:pt>
                <c:pt idx="1147">
                  <c:v>-0.68094801478147315</c:v>
                </c:pt>
                <c:pt idx="1148">
                  <c:v>-0.68379872745964265</c:v>
                </c:pt>
                <c:pt idx="1149">
                  <c:v>-0.68618821372009664</c:v>
                </c:pt>
                <c:pt idx="1150">
                  <c:v>-0.68658275680031111</c:v>
                </c:pt>
                <c:pt idx="1151">
                  <c:v>-0.69167847517434911</c:v>
                </c:pt>
                <c:pt idx="1152">
                  <c:v>-0.69639076435775604</c:v>
                </c:pt>
                <c:pt idx="1153">
                  <c:v>-0.69622961295879526</c:v>
                </c:pt>
                <c:pt idx="1154">
                  <c:v>-0.70083076324636706</c:v>
                </c:pt>
                <c:pt idx="1155">
                  <c:v>-0.6943569225639743</c:v>
                </c:pt>
                <c:pt idx="1156">
                  <c:v>-0.69452363090772695</c:v>
                </c:pt>
                <c:pt idx="1157">
                  <c:v>-0.69258981412019671</c:v>
                </c:pt>
                <c:pt idx="1158">
                  <c:v>-0.69514600872440324</c:v>
                </c:pt>
                <c:pt idx="1159">
                  <c:v>-0.6932288627712484</c:v>
                </c:pt>
                <c:pt idx="1160">
                  <c:v>-0.69478480731293935</c:v>
                </c:pt>
                <c:pt idx="1161">
                  <c:v>-0.6956739184796199</c:v>
                </c:pt>
                <c:pt idx="1162">
                  <c:v>-0.69556833652857653</c:v>
                </c:pt>
                <c:pt idx="1163">
                  <c:v>-0.69570726014837048</c:v>
                </c:pt>
                <c:pt idx="1164">
                  <c:v>-0.69821344224945125</c:v>
                </c:pt>
                <c:pt idx="1165">
                  <c:v>-0.6981467589119501</c:v>
                </c:pt>
                <c:pt idx="1166">
                  <c:v>-0.69854130199216469</c:v>
                </c:pt>
                <c:pt idx="1167">
                  <c:v>-0.69391792392542584</c:v>
                </c:pt>
                <c:pt idx="1168">
                  <c:v>-0.69467366841710421</c:v>
                </c:pt>
                <c:pt idx="1169">
                  <c:v>-0.69116167930871608</c:v>
                </c:pt>
                <c:pt idx="1170">
                  <c:v>-0.69168403211914087</c:v>
                </c:pt>
                <c:pt idx="1171">
                  <c:v>-0.69356783640354536</c:v>
                </c:pt>
                <c:pt idx="1172">
                  <c:v>-0.69233419465977608</c:v>
                </c:pt>
                <c:pt idx="1173">
                  <c:v>-0.69078936400766855</c:v>
                </c:pt>
                <c:pt idx="1174">
                  <c:v>-0.69073379455975104</c:v>
                </c:pt>
                <c:pt idx="1175">
                  <c:v>-0.69158956405768102</c:v>
                </c:pt>
                <c:pt idx="1176">
                  <c:v>-0.69171181684309968</c:v>
                </c:pt>
                <c:pt idx="1177">
                  <c:v>-0.69411241699313719</c:v>
                </c:pt>
                <c:pt idx="1178">
                  <c:v>-0.69762440610152532</c:v>
                </c:pt>
                <c:pt idx="1179">
                  <c:v>-0.69507932538690231</c:v>
                </c:pt>
                <c:pt idx="1180">
                  <c:v>-0.6981467589119501</c:v>
                </c:pt>
                <c:pt idx="1181">
                  <c:v>-0.6965852574254674</c:v>
                </c:pt>
                <c:pt idx="1182">
                  <c:v>-0.69631296713067159</c:v>
                </c:pt>
                <c:pt idx="1183">
                  <c:v>-0.69597955044316628</c:v>
                </c:pt>
                <c:pt idx="1184">
                  <c:v>-0.69258425717540495</c:v>
                </c:pt>
                <c:pt idx="1185">
                  <c:v>-0.6896112917118169</c:v>
                </c:pt>
                <c:pt idx="1186">
                  <c:v>-0.68768858881387018</c:v>
                </c:pt>
                <c:pt idx="1187">
                  <c:v>-0.68861659859409297</c:v>
                </c:pt>
                <c:pt idx="1188">
                  <c:v>-0.6897557722764025</c:v>
                </c:pt>
                <c:pt idx="1189">
                  <c:v>-0.68859437081492603</c:v>
                </c:pt>
                <c:pt idx="1190">
                  <c:v>-0.68746075407740825</c:v>
                </c:pt>
                <c:pt idx="1191">
                  <c:v>-0.68696618599094217</c:v>
                </c:pt>
                <c:pt idx="1192">
                  <c:v>-0.68672168042010506</c:v>
                </c:pt>
                <c:pt idx="1193">
                  <c:v>-0.68728293184407208</c:v>
                </c:pt>
                <c:pt idx="1194">
                  <c:v>-0.68648273179405961</c:v>
                </c:pt>
                <c:pt idx="1195">
                  <c:v>-0.68639937762218328</c:v>
                </c:pt>
                <c:pt idx="1196">
                  <c:v>-0.68468228168153145</c:v>
                </c:pt>
                <c:pt idx="1197">
                  <c:v>-0.6854713678419605</c:v>
                </c:pt>
                <c:pt idx="1198">
                  <c:v>-0.68591592342530072</c:v>
                </c:pt>
                <c:pt idx="1199">
                  <c:v>-0.68669945264093801</c:v>
                </c:pt>
                <c:pt idx="1200">
                  <c:v>-0.68600483454196892</c:v>
                </c:pt>
                <c:pt idx="1201">
                  <c:v>-0.68544358311800169</c:v>
                </c:pt>
                <c:pt idx="1202">
                  <c:v>-0.6851379511544553</c:v>
                </c:pt>
                <c:pt idx="1203">
                  <c:v>-0.68287627462421163</c:v>
                </c:pt>
                <c:pt idx="1204">
                  <c:v>-0.68407101775443868</c:v>
                </c:pt>
                <c:pt idx="1205">
                  <c:v>-0.68314300797421579</c:v>
                </c:pt>
                <c:pt idx="1206">
                  <c:v>-0.68552693728987801</c:v>
                </c:pt>
                <c:pt idx="1207">
                  <c:v>-0.68756077908365976</c:v>
                </c:pt>
                <c:pt idx="1208">
                  <c:v>-0.69040037787224584</c:v>
                </c:pt>
                <c:pt idx="1209">
                  <c:v>-0.68920007779722714</c:v>
                </c:pt>
                <c:pt idx="1210">
                  <c:v>-0.69156733627851408</c:v>
                </c:pt>
                <c:pt idx="1211">
                  <c:v>-0.69611847406296024</c:v>
                </c:pt>
                <c:pt idx="1212">
                  <c:v>-0.69298435720041118</c:v>
                </c:pt>
                <c:pt idx="1213">
                  <c:v>-0.69375677252646495</c:v>
                </c:pt>
                <c:pt idx="1214">
                  <c:v>-0.69265649745769775</c:v>
                </c:pt>
                <c:pt idx="1215">
                  <c:v>-0.69494595871190024</c:v>
                </c:pt>
                <c:pt idx="1216">
                  <c:v>-0.69355116556917007</c:v>
                </c:pt>
                <c:pt idx="1217">
                  <c:v>-0.69335111555666695</c:v>
                </c:pt>
                <c:pt idx="1218">
                  <c:v>-0.69350671001083608</c:v>
                </c:pt>
                <c:pt idx="1219">
                  <c:v>-0.69196187935872855</c:v>
                </c:pt>
                <c:pt idx="1220">
                  <c:v>-0.69116167930871608</c:v>
                </c:pt>
                <c:pt idx="1221">
                  <c:v>-0.69214525853685638</c:v>
                </c:pt>
                <c:pt idx="1222">
                  <c:v>-0.69221749881914918</c:v>
                </c:pt>
                <c:pt idx="1223">
                  <c:v>-0.69168403211914087</c:v>
                </c:pt>
                <c:pt idx="1224">
                  <c:v>-0.68843321941596514</c:v>
                </c:pt>
                <c:pt idx="1225">
                  <c:v>-0.68792198049512376</c:v>
                </c:pt>
                <c:pt idx="1226">
                  <c:v>-0.68716067905865352</c:v>
                </c:pt>
                <c:pt idx="1227">
                  <c:v>-0.68808313189408465</c:v>
                </c:pt>
                <c:pt idx="1228">
                  <c:v>-0.68963351949098384</c:v>
                </c:pt>
                <c:pt idx="1229">
                  <c:v>-0.68893890139201464</c:v>
                </c:pt>
                <c:pt idx="1230">
                  <c:v>-0.68859437081492603</c:v>
                </c:pt>
                <c:pt idx="1231">
                  <c:v>-0.68776082909616298</c:v>
                </c:pt>
                <c:pt idx="1232">
                  <c:v>-0.68833319440971352</c:v>
                </c:pt>
                <c:pt idx="1233">
                  <c:v>-0.68885554722013831</c:v>
                </c:pt>
                <c:pt idx="1234">
                  <c:v>-0.68771637353782888</c:v>
                </c:pt>
                <c:pt idx="1235">
                  <c:v>-0.68493234419716043</c:v>
                </c:pt>
                <c:pt idx="1236">
                  <c:v>-0.6829540718512962</c:v>
                </c:pt>
                <c:pt idx="1237">
                  <c:v>-0.68316523575338284</c:v>
                </c:pt>
                <c:pt idx="1238">
                  <c:v>-0.68253730099191467</c:v>
                </c:pt>
                <c:pt idx="1239">
                  <c:v>-0.68454891500652937</c:v>
                </c:pt>
                <c:pt idx="1240">
                  <c:v>-0.68543802617320992</c:v>
                </c:pt>
                <c:pt idx="1241">
                  <c:v>-0.68481564835653352</c:v>
                </c:pt>
                <c:pt idx="1242">
                  <c:v>-0.68463782612319746</c:v>
                </c:pt>
                <c:pt idx="1243">
                  <c:v>-0.68297629963046314</c:v>
                </c:pt>
                <c:pt idx="1244">
                  <c:v>-0.68394320802422826</c:v>
                </c:pt>
                <c:pt idx="1245">
                  <c:v>-0.68181489816898666</c:v>
                </c:pt>
                <c:pt idx="1246">
                  <c:v>-0.68220388430440937</c:v>
                </c:pt>
                <c:pt idx="1247">
                  <c:v>-0.67955322163874299</c:v>
                </c:pt>
                <c:pt idx="1248">
                  <c:v>-0.67942541190853267</c:v>
                </c:pt>
                <c:pt idx="1249">
                  <c:v>-0.68079242032730414</c:v>
                </c:pt>
                <c:pt idx="1250">
                  <c:v>-0.68043121891584002</c:v>
                </c:pt>
                <c:pt idx="1251">
                  <c:v>-0.6813314439721041</c:v>
                </c:pt>
                <c:pt idx="1252">
                  <c:v>-0.67981439804395538</c:v>
                </c:pt>
                <c:pt idx="1253">
                  <c:v>-0.67668028118140644</c:v>
                </c:pt>
                <c:pt idx="1254">
                  <c:v>-0.67728598816370755</c:v>
                </c:pt>
                <c:pt idx="1255">
                  <c:v>-0.67327387402406158</c:v>
                </c:pt>
                <c:pt idx="1256">
                  <c:v>-0.67266816704176047</c:v>
                </c:pt>
                <c:pt idx="1257">
                  <c:v>-0.67162346142091078</c:v>
                </c:pt>
                <c:pt idx="1258">
                  <c:v>-0.67201244755633349</c:v>
                </c:pt>
                <c:pt idx="1259">
                  <c:v>-0.67355727820844091</c:v>
                </c:pt>
                <c:pt idx="1260">
                  <c:v>-0.67496874218554637</c:v>
                </c:pt>
                <c:pt idx="1261">
                  <c:v>-0.67435192131366173</c:v>
                </c:pt>
                <c:pt idx="1262">
                  <c:v>-0.67496874218554637</c:v>
                </c:pt>
                <c:pt idx="1263">
                  <c:v>-0.67345169625739776</c:v>
                </c:pt>
                <c:pt idx="1264">
                  <c:v>-0.6767302936845323</c:v>
                </c:pt>
                <c:pt idx="1265">
                  <c:v>-0.67806951737934473</c:v>
                </c:pt>
                <c:pt idx="1266">
                  <c:v>-0.67715817843349724</c:v>
                </c:pt>
                <c:pt idx="1267">
                  <c:v>-0.67626906726681668</c:v>
                </c:pt>
                <c:pt idx="1268">
                  <c:v>-0.67209580172820982</c:v>
                </c:pt>
                <c:pt idx="1269">
                  <c:v>-0.67459086993970718</c:v>
                </c:pt>
                <c:pt idx="1270">
                  <c:v>-0.67469645189075045</c:v>
                </c:pt>
                <c:pt idx="1271">
                  <c:v>-0.67985885360228937</c:v>
                </c:pt>
                <c:pt idx="1272">
                  <c:v>-0.68117029257314332</c:v>
                </c:pt>
                <c:pt idx="1273">
                  <c:v>-0.68129810230335364</c:v>
                </c:pt>
                <c:pt idx="1274">
                  <c:v>-0.6824039343169126</c:v>
                </c:pt>
                <c:pt idx="1275">
                  <c:v>-0.6814036842543969</c:v>
                </c:pt>
                <c:pt idx="1276">
                  <c:v>-0.68054791475646681</c:v>
                </c:pt>
                <c:pt idx="1277">
                  <c:v>-0.67861409796893668</c:v>
                </c:pt>
                <c:pt idx="1278">
                  <c:v>-0.68036453557833898</c:v>
                </c:pt>
                <c:pt idx="1279">
                  <c:v>-0.68003667583562555</c:v>
                </c:pt>
                <c:pt idx="1280">
                  <c:v>-0.68057569948042562</c:v>
                </c:pt>
                <c:pt idx="1281">
                  <c:v>-0.68544914006279356</c:v>
                </c:pt>
                <c:pt idx="1282">
                  <c:v>-0.68618821372009664</c:v>
                </c:pt>
                <c:pt idx="1283">
                  <c:v>-0.68698841377010922</c:v>
                </c:pt>
                <c:pt idx="1284">
                  <c:v>-0.68506015392737074</c:v>
                </c:pt>
                <c:pt idx="1285">
                  <c:v>-0.6823316940346198</c:v>
                </c:pt>
                <c:pt idx="1286">
                  <c:v>-0.67764718957517156</c:v>
                </c:pt>
                <c:pt idx="1287">
                  <c:v>-0.67786946736684173</c:v>
                </c:pt>
                <c:pt idx="1288">
                  <c:v>-0.67648578811369509</c:v>
                </c:pt>
                <c:pt idx="1289">
                  <c:v>-0.67532994359701037</c:v>
                </c:pt>
                <c:pt idx="1290">
                  <c:v>-0.67539662693451141</c:v>
                </c:pt>
                <c:pt idx="1291">
                  <c:v>-0.67628573810119197</c:v>
                </c:pt>
                <c:pt idx="1292">
                  <c:v>-0.67446861715428863</c:v>
                </c:pt>
                <c:pt idx="1293">
                  <c:v>-0.67684143258036733</c:v>
                </c:pt>
                <c:pt idx="1294">
                  <c:v>-0.67819732710955516</c:v>
                </c:pt>
                <c:pt idx="1295">
                  <c:v>-0.68098135645022362</c:v>
                </c:pt>
                <c:pt idx="1296">
                  <c:v>-0.68045900363979883</c:v>
                </c:pt>
                <c:pt idx="1297">
                  <c:v>-0.67966991747936989</c:v>
                </c:pt>
                <c:pt idx="1298">
                  <c:v>-0.67743046872829316</c:v>
                </c:pt>
                <c:pt idx="1299">
                  <c:v>-0.67192909338445728</c:v>
                </c:pt>
                <c:pt idx="1300">
                  <c:v>-0.67284598927509653</c:v>
                </c:pt>
                <c:pt idx="1301">
                  <c:v>-0.6754855380511795</c:v>
                </c:pt>
                <c:pt idx="1302">
                  <c:v>-0.67678030618765805</c:v>
                </c:pt>
                <c:pt idx="1303">
                  <c:v>-0.67575782834597531</c:v>
                </c:pt>
                <c:pt idx="1304">
                  <c:v>-0.67950320913561724</c:v>
                </c:pt>
                <c:pt idx="1305">
                  <c:v>-0.6788586035397739</c:v>
                </c:pt>
                <c:pt idx="1306">
                  <c:v>-0.67699147008974458</c:v>
                </c:pt>
                <c:pt idx="1307">
                  <c:v>-0.67713595065433019</c:v>
                </c:pt>
                <c:pt idx="1308">
                  <c:v>-0.6778305687532995</c:v>
                </c:pt>
                <c:pt idx="1309">
                  <c:v>-0.67923091884082132</c:v>
                </c:pt>
                <c:pt idx="1310">
                  <c:v>-0.67659137006473835</c:v>
                </c:pt>
                <c:pt idx="1311">
                  <c:v>-0.67728043121891579</c:v>
                </c:pt>
                <c:pt idx="1312">
                  <c:v>-0.67682476174599204</c:v>
                </c:pt>
                <c:pt idx="1313">
                  <c:v>-0.67823066877830573</c:v>
                </c:pt>
                <c:pt idx="1314">
                  <c:v>-0.67961990497624414</c:v>
                </c:pt>
                <c:pt idx="1315">
                  <c:v>-0.68180378427940314</c:v>
                </c:pt>
                <c:pt idx="1316">
                  <c:v>-0.68750520963574224</c:v>
                </c:pt>
                <c:pt idx="1317">
                  <c:v>-0.68757189297324328</c:v>
                </c:pt>
                <c:pt idx="1318">
                  <c:v>-0.68581589841904922</c:v>
                </c:pt>
                <c:pt idx="1319">
                  <c:v>-0.68446000388986139</c:v>
                </c:pt>
                <c:pt idx="1320">
                  <c:v>-0.68374315801172514</c:v>
                </c:pt>
                <c:pt idx="1321">
                  <c:v>-0.68476007890861612</c:v>
                </c:pt>
                <c:pt idx="1322">
                  <c:v>-0.68801644855658362</c:v>
                </c:pt>
                <c:pt idx="1323">
                  <c:v>-0.68492678725236855</c:v>
                </c:pt>
                <c:pt idx="1324">
                  <c:v>-0.68486010391486762</c:v>
                </c:pt>
                <c:pt idx="1325">
                  <c:v>-0.6849934705898697</c:v>
                </c:pt>
                <c:pt idx="1326">
                  <c:v>-0.68628823872634825</c:v>
                </c:pt>
                <c:pt idx="1327">
                  <c:v>-0.69029479592120246</c:v>
                </c:pt>
                <c:pt idx="1328">
                  <c:v>-0.68911672362535081</c:v>
                </c:pt>
                <c:pt idx="1329">
                  <c:v>-0.68734405823678135</c:v>
                </c:pt>
                <c:pt idx="1330">
                  <c:v>-0.68684393320552362</c:v>
                </c:pt>
                <c:pt idx="1331">
                  <c:v>-0.6834875385513044</c:v>
                </c:pt>
                <c:pt idx="1332">
                  <c:v>-0.68320413436692506</c:v>
                </c:pt>
                <c:pt idx="1333">
                  <c:v>-0.68079242032730414</c:v>
                </c:pt>
                <c:pt idx="1334">
                  <c:v>-0.6814036842543969</c:v>
                </c:pt>
                <c:pt idx="1335">
                  <c:v>-0.6819538217887805</c:v>
                </c:pt>
                <c:pt idx="1336">
                  <c:v>-0.68019782723458644</c:v>
                </c:pt>
                <c:pt idx="1337">
                  <c:v>-0.68015337167625234</c:v>
                </c:pt>
                <c:pt idx="1338">
                  <c:v>-0.67980328415437197</c:v>
                </c:pt>
                <c:pt idx="1339">
                  <c:v>-0.6779583784835097</c:v>
                </c:pt>
                <c:pt idx="1340">
                  <c:v>-0.67908088133144395</c:v>
                </c:pt>
                <c:pt idx="1341">
                  <c:v>-0.67885304659498202</c:v>
                </c:pt>
                <c:pt idx="1342">
                  <c:v>-0.6800866883387513</c:v>
                </c:pt>
                <c:pt idx="1343">
                  <c:v>-0.68018671334500291</c:v>
                </c:pt>
                <c:pt idx="1344">
                  <c:v>-0.67898085632519245</c:v>
                </c:pt>
                <c:pt idx="1345">
                  <c:v>-0.67919757717207085</c:v>
                </c:pt>
                <c:pt idx="1346">
                  <c:v>-0.67896418549081705</c:v>
                </c:pt>
                <c:pt idx="1347">
                  <c:v>-0.67881970492623156</c:v>
                </c:pt>
                <c:pt idx="1348">
                  <c:v>-0.67822511183351397</c:v>
                </c:pt>
                <c:pt idx="1349">
                  <c:v>-0.67823622572309739</c:v>
                </c:pt>
                <c:pt idx="1350">
                  <c:v>-0.67825289655747267</c:v>
                </c:pt>
                <c:pt idx="1351">
                  <c:v>-0.67517434914284125</c:v>
                </c:pt>
                <c:pt idx="1352">
                  <c:v>-0.67279597677197067</c:v>
                </c:pt>
                <c:pt idx="1353">
                  <c:v>-0.67231807951987999</c:v>
                </c:pt>
                <c:pt idx="1354">
                  <c:v>-0.67254591425634191</c:v>
                </c:pt>
                <c:pt idx="1355">
                  <c:v>-0.67447417409908028</c:v>
                </c:pt>
                <c:pt idx="1356">
                  <c:v>-0.67598566308243724</c:v>
                </c:pt>
                <c:pt idx="1357">
                  <c:v>-0.67524658942513405</c:v>
                </c:pt>
                <c:pt idx="1358">
                  <c:v>-0.67518546303242477</c:v>
                </c:pt>
                <c:pt idx="1359">
                  <c:v>-0.67403517546053182</c:v>
                </c:pt>
                <c:pt idx="1360">
                  <c:v>-0.67340724069906366</c:v>
                </c:pt>
                <c:pt idx="1361">
                  <c:v>-0.67196243505320763</c:v>
                </c:pt>
                <c:pt idx="1362">
                  <c:v>-0.67320719068656043</c:v>
                </c:pt>
                <c:pt idx="1363">
                  <c:v>-0.67178461281987167</c:v>
                </c:pt>
                <c:pt idx="1364">
                  <c:v>-0.67177905587507991</c:v>
                </c:pt>
                <c:pt idx="1365">
                  <c:v>-0.67006751687921984</c:v>
                </c:pt>
                <c:pt idx="1366">
                  <c:v>-0.66595537773332225</c:v>
                </c:pt>
                <c:pt idx="1367">
                  <c:v>-0.66404934566975071</c:v>
                </c:pt>
                <c:pt idx="1368">
                  <c:v>-0.66424383873746207</c:v>
                </c:pt>
                <c:pt idx="1369">
                  <c:v>-0.66394932066349921</c:v>
                </c:pt>
                <c:pt idx="1370">
                  <c:v>-0.66457169848017561</c:v>
                </c:pt>
                <c:pt idx="1371">
                  <c:v>-0.66362146092078578</c:v>
                </c:pt>
                <c:pt idx="1372">
                  <c:v>-0.66341029701869902</c:v>
                </c:pt>
                <c:pt idx="1373">
                  <c:v>-0.66271567891972993</c:v>
                </c:pt>
                <c:pt idx="1374">
                  <c:v>-0.66129310105304107</c:v>
                </c:pt>
                <c:pt idx="1375">
                  <c:v>-0.66081520380095027</c:v>
                </c:pt>
                <c:pt idx="1376">
                  <c:v>-0.66302131088327632</c:v>
                </c:pt>
                <c:pt idx="1377">
                  <c:v>-0.66246561640410095</c:v>
                </c:pt>
                <c:pt idx="1378">
                  <c:v>-0.66079297602178322</c:v>
                </c:pt>
                <c:pt idx="1379">
                  <c:v>-0.65943152454780363</c:v>
                </c:pt>
                <c:pt idx="1380">
                  <c:v>-0.6585813119946653</c:v>
                </c:pt>
                <c:pt idx="1381">
                  <c:v>-0.66151537884471123</c:v>
                </c:pt>
                <c:pt idx="1382">
                  <c:v>-0.65899808285404693</c:v>
                </c:pt>
                <c:pt idx="1383">
                  <c:v>-0.6601150287571893</c:v>
                </c:pt>
                <c:pt idx="1384">
                  <c:v>-0.66046511627906979</c:v>
                </c:pt>
                <c:pt idx="1385">
                  <c:v>-0.66019282598427376</c:v>
                </c:pt>
                <c:pt idx="1386">
                  <c:v>-0.65998721902697888</c:v>
                </c:pt>
                <c:pt idx="1387">
                  <c:v>-0.66242671779055873</c:v>
                </c:pt>
                <c:pt idx="1388">
                  <c:v>-0.66170987191242259</c:v>
                </c:pt>
                <c:pt idx="1389">
                  <c:v>-0.66152093578950288</c:v>
                </c:pt>
                <c:pt idx="1390">
                  <c:v>-0.65702536745297424</c:v>
                </c:pt>
                <c:pt idx="1391">
                  <c:v>-0.65666416604151034</c:v>
                </c:pt>
                <c:pt idx="1392">
                  <c:v>-0.65466366591647907</c:v>
                </c:pt>
                <c:pt idx="1393">
                  <c:v>-0.6553527270706565</c:v>
                </c:pt>
                <c:pt idx="1394">
                  <c:v>-0.65285210191436738</c:v>
                </c:pt>
                <c:pt idx="1395">
                  <c:v>-0.65277430468728292</c:v>
                </c:pt>
                <c:pt idx="1396">
                  <c:v>-0.65232974910394259</c:v>
                </c:pt>
                <c:pt idx="1397">
                  <c:v>-0.65307993665082942</c:v>
                </c:pt>
                <c:pt idx="1398">
                  <c:v>-0.65265760884665613</c:v>
                </c:pt>
                <c:pt idx="1399">
                  <c:v>-0.65246311577894467</c:v>
                </c:pt>
                <c:pt idx="1400">
                  <c:v>-0.64894556972576478</c:v>
                </c:pt>
                <c:pt idx="1401">
                  <c:v>-0.64722847378511283</c:v>
                </c:pt>
                <c:pt idx="1402">
                  <c:v>-0.64673390569864686</c:v>
                </c:pt>
                <c:pt idx="1403">
                  <c:v>-0.6472784862882387</c:v>
                </c:pt>
                <c:pt idx="1404">
                  <c:v>-0.64788419327053992</c:v>
                </c:pt>
                <c:pt idx="1405">
                  <c:v>-0.64893445583618126</c:v>
                </c:pt>
                <c:pt idx="1406">
                  <c:v>-0.64806757244866775</c:v>
                </c:pt>
                <c:pt idx="1407">
                  <c:v>-0.64559473201633744</c:v>
                </c:pt>
                <c:pt idx="1408">
                  <c:v>-0.64529465699758282</c:v>
                </c:pt>
                <c:pt idx="1409">
                  <c:v>-0.64493901253091046</c:v>
                </c:pt>
                <c:pt idx="1410">
                  <c:v>-0.64466672223611454</c:v>
                </c:pt>
                <c:pt idx="1411">
                  <c:v>-0.6442388374871495</c:v>
                </c:pt>
                <c:pt idx="1412">
                  <c:v>-0.64527798616320742</c:v>
                </c:pt>
                <c:pt idx="1413">
                  <c:v>-0.64409991386735577</c:v>
                </c:pt>
                <c:pt idx="1414">
                  <c:v>-0.64264955127670809</c:v>
                </c:pt>
                <c:pt idx="1415">
                  <c:v>-0.64478897502153321</c:v>
                </c:pt>
                <c:pt idx="1416">
                  <c:v>-0.64531132783195799</c:v>
                </c:pt>
                <c:pt idx="1417">
                  <c:v>-0.64561695979550437</c:v>
                </c:pt>
                <c:pt idx="1418">
                  <c:v>-0.64536134033508374</c:v>
                </c:pt>
                <c:pt idx="1419">
                  <c:v>-0.6431107776944236</c:v>
                </c:pt>
                <c:pt idx="1420">
                  <c:v>-0.63994887610791595</c:v>
                </c:pt>
                <c:pt idx="1421">
                  <c:v>-0.64046011502875722</c:v>
                </c:pt>
                <c:pt idx="1422">
                  <c:v>-0.64003778722458393</c:v>
                </c:pt>
                <c:pt idx="1423">
                  <c:v>-0.63941540940790753</c:v>
                </c:pt>
                <c:pt idx="1424">
                  <c:v>-0.63859853852351978</c:v>
                </c:pt>
                <c:pt idx="1425">
                  <c:v>-0.63882637325998171</c:v>
                </c:pt>
                <c:pt idx="1426">
                  <c:v>-0.63834847600789091</c:v>
                </c:pt>
                <c:pt idx="1427">
                  <c:v>-0.63438637437137058</c:v>
                </c:pt>
                <c:pt idx="1428">
                  <c:v>-0.63423077991720156</c:v>
                </c:pt>
                <c:pt idx="1429">
                  <c:v>-0.63449751326720571</c:v>
                </c:pt>
                <c:pt idx="1430">
                  <c:v>-0.63167458531299481</c:v>
                </c:pt>
                <c:pt idx="1431">
                  <c:v>-0.63180795198799689</c:v>
                </c:pt>
                <c:pt idx="1432">
                  <c:v>-0.6312133588952793</c:v>
                </c:pt>
                <c:pt idx="1433">
                  <c:v>-0.63115223250257002</c:v>
                </c:pt>
                <c:pt idx="1434">
                  <c:v>-0.63031313383901533</c:v>
                </c:pt>
                <c:pt idx="1435">
                  <c:v>-0.62866827818065629</c:v>
                </c:pt>
                <c:pt idx="1436">
                  <c:v>-0.62830151982440052</c:v>
                </c:pt>
                <c:pt idx="1437">
                  <c:v>-0.6290850490400377</c:v>
                </c:pt>
                <c:pt idx="1438">
                  <c:v>-0.63433080492345306</c:v>
                </c:pt>
                <c:pt idx="1439">
                  <c:v>-0.63443638687449644</c:v>
                </c:pt>
                <c:pt idx="1440">
                  <c:v>-0.6312578144536134</c:v>
                </c:pt>
                <c:pt idx="1441">
                  <c:v>-0.62776805312439221</c:v>
                </c:pt>
                <c:pt idx="1442">
                  <c:v>-0.6277124836764747</c:v>
                </c:pt>
                <c:pt idx="1443">
                  <c:v>-0.62762912950459837</c:v>
                </c:pt>
                <c:pt idx="1444">
                  <c:v>-0.63104665055152676</c:v>
                </c:pt>
                <c:pt idx="1445">
                  <c:v>-0.63107999222027722</c:v>
                </c:pt>
                <c:pt idx="1446">
                  <c:v>-0.6241504820649606</c:v>
                </c:pt>
                <c:pt idx="1447">
                  <c:v>-0.62405601400350086</c:v>
                </c:pt>
                <c:pt idx="1448">
                  <c:v>-0.62468394876496902</c:v>
                </c:pt>
                <c:pt idx="1449">
                  <c:v>-0.62250562640660156</c:v>
                </c:pt>
                <c:pt idx="1450">
                  <c:v>-0.62248339862743463</c:v>
                </c:pt>
                <c:pt idx="1451">
                  <c:v>-0.62418938067850305</c:v>
                </c:pt>
                <c:pt idx="1452">
                  <c:v>-0.62468950570976078</c:v>
                </c:pt>
                <c:pt idx="1453">
                  <c:v>-0.62779583784835102</c:v>
                </c:pt>
                <c:pt idx="1454">
                  <c:v>-0.62570642660665166</c:v>
                </c:pt>
                <c:pt idx="1455">
                  <c:v>-0.62189991942430045</c:v>
                </c:pt>
                <c:pt idx="1456">
                  <c:v>-0.62157761662637878</c:v>
                </c:pt>
                <c:pt idx="1457">
                  <c:v>-0.62111639020866316</c:v>
                </c:pt>
                <c:pt idx="1458">
                  <c:v>-0.61920480120030008</c:v>
                </c:pt>
                <c:pt idx="1459">
                  <c:v>-0.61538162318357359</c:v>
                </c:pt>
                <c:pt idx="1460">
                  <c:v>-0.61554277458253448</c:v>
                </c:pt>
                <c:pt idx="1461">
                  <c:v>-0.61624294962629544</c:v>
                </c:pt>
                <c:pt idx="1462">
                  <c:v>-0.61121947153455025</c:v>
                </c:pt>
                <c:pt idx="1463">
                  <c:v>-0.6121697090939402</c:v>
                </c:pt>
                <c:pt idx="1464">
                  <c:v>-0.6161040260065016</c:v>
                </c:pt>
                <c:pt idx="1465">
                  <c:v>-0.61730432608152042</c:v>
                </c:pt>
                <c:pt idx="1466">
                  <c:v>-0.61552054680336754</c:v>
                </c:pt>
                <c:pt idx="1467">
                  <c:v>-0.61612625378566865</c:v>
                </c:pt>
                <c:pt idx="1468">
                  <c:v>-0.61542052179711593</c:v>
                </c:pt>
                <c:pt idx="1469">
                  <c:v>-0.61374788141479808</c:v>
                </c:pt>
                <c:pt idx="1470">
                  <c:v>-0.61356450223667025</c:v>
                </c:pt>
                <c:pt idx="1471">
                  <c:v>-0.60871328943346947</c:v>
                </c:pt>
                <c:pt idx="1472">
                  <c:v>-0.60696840876885894</c:v>
                </c:pt>
                <c:pt idx="1473">
                  <c:v>-0.60638492956572465</c:v>
                </c:pt>
                <c:pt idx="1474">
                  <c:v>-0.60807979772720966</c:v>
                </c:pt>
                <c:pt idx="1475">
                  <c:v>-0.60373426690005827</c:v>
                </c:pt>
                <c:pt idx="1476">
                  <c:v>-0.60364535578339029</c:v>
                </c:pt>
                <c:pt idx="1477">
                  <c:v>-0.60442888499902758</c:v>
                </c:pt>
                <c:pt idx="1478">
                  <c:v>-0.60242838487399619</c:v>
                </c:pt>
                <c:pt idx="1479">
                  <c:v>-0.60540135033758435</c:v>
                </c:pt>
                <c:pt idx="1480">
                  <c:v>-0.61064710622099971</c:v>
                </c:pt>
                <c:pt idx="1481">
                  <c:v>-0.60882998527409637</c:v>
                </c:pt>
                <c:pt idx="1482">
                  <c:v>-0.6087688588813871</c:v>
                </c:pt>
                <c:pt idx="1483">
                  <c:v>-0.60664054902614539</c:v>
                </c:pt>
                <c:pt idx="1484">
                  <c:v>-0.60347864743963764</c:v>
                </c:pt>
                <c:pt idx="1485">
                  <c:v>-0.60309521824900669</c:v>
                </c:pt>
                <c:pt idx="1486">
                  <c:v>-0.60048345419688254</c:v>
                </c:pt>
                <c:pt idx="1487">
                  <c:v>-0.60208385429690758</c:v>
                </c:pt>
                <c:pt idx="1488">
                  <c:v>-0.60266733350004165</c:v>
                </c:pt>
                <c:pt idx="1489">
                  <c:v>-0.60437331555110996</c:v>
                </c:pt>
                <c:pt idx="1490">
                  <c:v>-0.60488455447195133</c:v>
                </c:pt>
                <c:pt idx="1491">
                  <c:v>-0.60481231418965853</c:v>
                </c:pt>
                <c:pt idx="1492">
                  <c:v>-0.60465116279069764</c:v>
                </c:pt>
                <c:pt idx="1493">
                  <c:v>-0.60383984885110165</c:v>
                </c:pt>
                <c:pt idx="1494">
                  <c:v>-0.60354533077713868</c:v>
                </c:pt>
                <c:pt idx="1495">
                  <c:v>-0.60396765858131207</c:v>
                </c:pt>
                <c:pt idx="1496">
                  <c:v>-0.60546247673029363</c:v>
                </c:pt>
                <c:pt idx="1497">
                  <c:v>-0.60704620599594339</c:v>
                </c:pt>
                <c:pt idx="1498">
                  <c:v>-0.60373426690005827</c:v>
                </c:pt>
                <c:pt idx="1499">
                  <c:v>-0.60450668222611204</c:v>
                </c:pt>
                <c:pt idx="1500">
                  <c:v>-0.60341752104692836</c:v>
                </c:pt>
                <c:pt idx="1501">
                  <c:v>-0.60405656969798005</c:v>
                </c:pt>
                <c:pt idx="1502">
                  <c:v>-0.6038898613542274</c:v>
                </c:pt>
                <c:pt idx="1503">
                  <c:v>-0.6046567197354894</c:v>
                </c:pt>
                <c:pt idx="1504">
                  <c:v>-0.60363979883859853</c:v>
                </c:pt>
                <c:pt idx="1505">
                  <c:v>-0.60526798366258228</c:v>
                </c:pt>
                <c:pt idx="1506">
                  <c:v>-0.60502903503653693</c:v>
                </c:pt>
                <c:pt idx="1507">
                  <c:v>-0.60315078769692421</c:v>
                </c:pt>
                <c:pt idx="1508">
                  <c:v>-0.6038898613542274</c:v>
                </c:pt>
                <c:pt idx="1509">
                  <c:v>-0.60316190158650773</c:v>
                </c:pt>
                <c:pt idx="1510">
                  <c:v>-0.60237837237087044</c:v>
                </c:pt>
                <c:pt idx="1511">
                  <c:v>-0.60166708343752595</c:v>
                </c:pt>
                <c:pt idx="1512">
                  <c:v>-0.60026673335000413</c:v>
                </c:pt>
                <c:pt idx="1513">
                  <c:v>-0.59642132755411081</c:v>
                </c:pt>
                <c:pt idx="1514">
                  <c:v>-0.59563224139368176</c:v>
                </c:pt>
                <c:pt idx="1515">
                  <c:v>-0.59552110249784662</c:v>
                </c:pt>
                <c:pt idx="1516">
                  <c:v>-0.59382067739157007</c:v>
                </c:pt>
                <c:pt idx="1517">
                  <c:v>-0.59293156622488952</c:v>
                </c:pt>
                <c:pt idx="1518">
                  <c:v>-0.5910811036092356</c:v>
                </c:pt>
                <c:pt idx="1519">
                  <c:v>-0.58928065349670744</c:v>
                </c:pt>
                <c:pt idx="1520">
                  <c:v>-0.58583534772582035</c:v>
                </c:pt>
                <c:pt idx="1521">
                  <c:v>-0.58601872690394818</c:v>
                </c:pt>
                <c:pt idx="1522">
                  <c:v>-0.58628546025395234</c:v>
                </c:pt>
                <c:pt idx="1523">
                  <c:v>-0.58526298241226971</c:v>
                </c:pt>
                <c:pt idx="1524">
                  <c:v>-0.58341807674140755</c:v>
                </c:pt>
                <c:pt idx="1525">
                  <c:v>-0.5860742963518657</c:v>
                </c:pt>
                <c:pt idx="1526">
                  <c:v>-0.58697452140812978</c:v>
                </c:pt>
                <c:pt idx="1527">
                  <c:v>-0.58691895196021227</c:v>
                </c:pt>
                <c:pt idx="1528">
                  <c:v>-0.5872023561445916</c:v>
                </c:pt>
                <c:pt idx="1529">
                  <c:v>-0.58726348253730098</c:v>
                </c:pt>
                <c:pt idx="1530">
                  <c:v>-0.58382373371120555</c:v>
                </c:pt>
                <c:pt idx="1531">
                  <c:v>-0.58485732544247171</c:v>
                </c:pt>
                <c:pt idx="1532">
                  <c:v>-0.58675780056125149</c:v>
                </c:pt>
                <c:pt idx="1533">
                  <c:v>-0.58630213108832763</c:v>
                </c:pt>
                <c:pt idx="1534">
                  <c:v>-0.58685226862271123</c:v>
                </c:pt>
                <c:pt idx="1535">
                  <c:v>-0.58588536022894611</c:v>
                </c:pt>
                <c:pt idx="1536">
                  <c:v>-0.58594648662165538</c:v>
                </c:pt>
                <c:pt idx="1537">
                  <c:v>-0.58887499652690956</c:v>
                </c:pt>
                <c:pt idx="1538">
                  <c:v>-0.58948070350921067</c:v>
                </c:pt>
                <c:pt idx="1539">
                  <c:v>-0.58804145480814651</c:v>
                </c:pt>
                <c:pt idx="1540">
                  <c:v>-0.58544080464560588</c:v>
                </c:pt>
                <c:pt idx="1541">
                  <c:v>-0.58444611152788206</c:v>
                </c:pt>
                <c:pt idx="1542">
                  <c:v>-0.58549081714873163</c:v>
                </c:pt>
                <c:pt idx="1543">
                  <c:v>-0.58282348364868986</c:v>
                </c:pt>
                <c:pt idx="1544">
                  <c:v>-0.58227890305909802</c:v>
                </c:pt>
                <c:pt idx="1545">
                  <c:v>-0.57998944180489564</c:v>
                </c:pt>
                <c:pt idx="1546">
                  <c:v>-0.58225111833513932</c:v>
                </c:pt>
                <c:pt idx="1547">
                  <c:v>-0.58395154344141587</c:v>
                </c:pt>
                <c:pt idx="1548">
                  <c:v>-0.58290128087577453</c:v>
                </c:pt>
                <c:pt idx="1549">
                  <c:v>-0.58576866438831932</c:v>
                </c:pt>
                <c:pt idx="1550">
                  <c:v>-0.5898363479758828</c:v>
                </c:pt>
                <c:pt idx="1551">
                  <c:v>-0.58767469645189074</c:v>
                </c:pt>
                <c:pt idx="1552">
                  <c:v>-0.58510183101330893</c:v>
                </c:pt>
                <c:pt idx="1553">
                  <c:v>-0.58634102970186985</c:v>
                </c:pt>
                <c:pt idx="1554">
                  <c:v>-0.58433497263204692</c:v>
                </c:pt>
                <c:pt idx="1555">
                  <c:v>-0.58031730154760908</c:v>
                </c:pt>
                <c:pt idx="1556">
                  <c:v>-0.57968936678614091</c:v>
                </c:pt>
                <c:pt idx="1557">
                  <c:v>-0.58115084326637212</c:v>
                </c:pt>
                <c:pt idx="1558">
                  <c:v>-0.58265677530493742</c:v>
                </c:pt>
                <c:pt idx="1559">
                  <c:v>-0.57872801533716767</c:v>
                </c:pt>
                <c:pt idx="1560">
                  <c:v>-0.57749993053819004</c:v>
                </c:pt>
                <c:pt idx="1561">
                  <c:v>-0.57786113194965405</c:v>
                </c:pt>
                <c:pt idx="1562">
                  <c:v>-0.57808340974132422</c:v>
                </c:pt>
                <c:pt idx="1563">
                  <c:v>-0.580183934872607</c:v>
                </c:pt>
                <c:pt idx="1564">
                  <c:v>-0.57674418604651168</c:v>
                </c:pt>
                <c:pt idx="1565">
                  <c:v>-0.57430468728293183</c:v>
                </c:pt>
                <c:pt idx="1566">
                  <c:v>-0.57235419966102641</c:v>
                </c:pt>
                <c:pt idx="1567">
                  <c:v>-0.57458253452251951</c:v>
                </c:pt>
                <c:pt idx="1568">
                  <c:v>-0.57211525103498095</c:v>
                </c:pt>
                <c:pt idx="1569">
                  <c:v>-0.57341557611625127</c:v>
                </c:pt>
                <c:pt idx="1570">
                  <c:v>-0.57228751632352526</c:v>
                </c:pt>
                <c:pt idx="1571">
                  <c:v>-0.57132060792976025</c:v>
                </c:pt>
                <c:pt idx="1572">
                  <c:v>-0.56761412575366066</c:v>
                </c:pt>
                <c:pt idx="1573">
                  <c:v>-0.56656942013281097</c:v>
                </c:pt>
                <c:pt idx="1574">
                  <c:v>-0.5681864910672112</c:v>
                </c:pt>
                <c:pt idx="1575">
                  <c:v>-0.5670306465505266</c:v>
                </c:pt>
                <c:pt idx="1576">
                  <c:v>-0.5622238893056597</c:v>
                </c:pt>
                <c:pt idx="1577">
                  <c:v>-0.55932872106915621</c:v>
                </c:pt>
                <c:pt idx="1578">
                  <c:v>-0.55743935983996007</c:v>
                </c:pt>
                <c:pt idx="1579">
                  <c:v>-0.5602845155733378</c:v>
                </c:pt>
                <c:pt idx="1580">
                  <c:v>-0.55934539190353139</c:v>
                </c:pt>
                <c:pt idx="1581">
                  <c:v>-0.55787280153371677</c:v>
                </c:pt>
                <c:pt idx="1582">
                  <c:v>-0.55840071128893332</c:v>
                </c:pt>
                <c:pt idx="1583">
                  <c:v>-0.55613347781389799</c:v>
                </c:pt>
                <c:pt idx="1584">
                  <c:v>-0.55950654330249217</c:v>
                </c:pt>
                <c:pt idx="1585">
                  <c:v>-0.55991775721708203</c:v>
                </c:pt>
                <c:pt idx="1586">
                  <c:v>-0.56668611597343777</c:v>
                </c:pt>
                <c:pt idx="1587">
                  <c:v>-0.56302964630046404</c:v>
                </c:pt>
                <c:pt idx="1588">
                  <c:v>-0.56728626601094712</c:v>
                </c:pt>
                <c:pt idx="1589">
                  <c:v>-0.5640187824733961</c:v>
                </c:pt>
                <c:pt idx="1590">
                  <c:v>-0.56296296296296289</c:v>
                </c:pt>
                <c:pt idx="1591">
                  <c:v>-0.56129032258064515</c:v>
                </c:pt>
                <c:pt idx="1592">
                  <c:v>-0.56089022255563892</c:v>
                </c:pt>
                <c:pt idx="1593">
                  <c:v>-0.56117362674001825</c:v>
                </c:pt>
                <c:pt idx="1594">
                  <c:v>-0.55986774471395628</c:v>
                </c:pt>
                <c:pt idx="1595">
                  <c:v>-0.5564335528326525</c:v>
                </c:pt>
                <c:pt idx="1596">
                  <c:v>-0.55593342780139476</c:v>
                </c:pt>
                <c:pt idx="1597">
                  <c:v>-0.55851740712956022</c:v>
                </c:pt>
                <c:pt idx="1598">
                  <c:v>-0.55922313911811283</c:v>
                </c:pt>
                <c:pt idx="1599">
                  <c:v>-0.55784501680975795</c:v>
                </c:pt>
                <c:pt idx="1600">
                  <c:v>-0.56424661720985803</c:v>
                </c:pt>
                <c:pt idx="1601">
                  <c:v>-0.57205412464227168</c:v>
                </c:pt>
                <c:pt idx="1602">
                  <c:v>-0.56902558973076611</c:v>
                </c:pt>
                <c:pt idx="1603">
                  <c:v>-0.56965352449223416</c:v>
                </c:pt>
                <c:pt idx="1604">
                  <c:v>-0.57107610235892303</c:v>
                </c:pt>
                <c:pt idx="1605">
                  <c:v>-0.56490789364007665</c:v>
                </c:pt>
                <c:pt idx="1606">
                  <c:v>-0.56635269928593257</c:v>
                </c:pt>
                <c:pt idx="1607">
                  <c:v>-0.56497457697757769</c:v>
                </c:pt>
                <c:pt idx="1608">
                  <c:v>-0.56240171153899587</c:v>
                </c:pt>
                <c:pt idx="1609">
                  <c:v>-0.56127920869106163</c:v>
                </c:pt>
                <c:pt idx="1610">
                  <c:v>-0.56171265038481843</c:v>
                </c:pt>
                <c:pt idx="1611">
                  <c:v>-0.55656691950765469</c:v>
                </c:pt>
                <c:pt idx="1612">
                  <c:v>-0.55865633074935395</c:v>
                </c:pt>
                <c:pt idx="1613">
                  <c:v>-0.55537217637742775</c:v>
                </c:pt>
                <c:pt idx="1614">
                  <c:v>-0.55342168875552222</c:v>
                </c:pt>
                <c:pt idx="1615">
                  <c:v>-0.54916506904503903</c:v>
                </c:pt>
                <c:pt idx="1616">
                  <c:v>-0.54488622155538891</c:v>
                </c:pt>
                <c:pt idx="1617">
                  <c:v>-0.54305242977411017</c:v>
                </c:pt>
                <c:pt idx="1618">
                  <c:v>-0.54490289238976408</c:v>
                </c:pt>
                <c:pt idx="1619">
                  <c:v>-0.54086855047095106</c:v>
                </c:pt>
                <c:pt idx="1620">
                  <c:v>-0.53735100441777117</c:v>
                </c:pt>
                <c:pt idx="1621">
                  <c:v>-0.53469478480731292</c:v>
                </c:pt>
                <c:pt idx="1622">
                  <c:v>-0.53019365952599262</c:v>
                </c:pt>
                <c:pt idx="1623">
                  <c:v>-0.52995471089994717</c:v>
                </c:pt>
                <c:pt idx="1624">
                  <c:v>-0.52628712733738992</c:v>
                </c:pt>
                <c:pt idx="1625">
                  <c:v>-0.5268372648717734</c:v>
                </c:pt>
                <c:pt idx="1626">
                  <c:v>-0.53030479842182765</c:v>
                </c:pt>
                <c:pt idx="1627">
                  <c:v>-0.53327220694062405</c:v>
                </c:pt>
                <c:pt idx="1628">
                  <c:v>-0.53560612375316041</c:v>
                </c:pt>
                <c:pt idx="1629">
                  <c:v>-0.54085187963657577</c:v>
                </c:pt>
                <c:pt idx="1630">
                  <c:v>-0.53543385846461611</c:v>
                </c:pt>
                <c:pt idx="1631">
                  <c:v>-0.52769859131449537</c:v>
                </c:pt>
                <c:pt idx="1632">
                  <c:v>-0.52753188297074272</c:v>
                </c:pt>
                <c:pt idx="1633">
                  <c:v>-0.53370564863438075</c:v>
                </c:pt>
                <c:pt idx="1634">
                  <c:v>-0.53596176821983277</c:v>
                </c:pt>
                <c:pt idx="1635">
                  <c:v>-0.5376066238781918</c:v>
                </c:pt>
                <c:pt idx="1636">
                  <c:v>-0.54066850045844794</c:v>
                </c:pt>
                <c:pt idx="1637">
                  <c:v>-0.53782890166986186</c:v>
                </c:pt>
                <c:pt idx="1638">
                  <c:v>-0.53313328332083021</c:v>
                </c:pt>
                <c:pt idx="1639">
                  <c:v>-0.52951571226139871</c:v>
                </c:pt>
                <c:pt idx="1640">
                  <c:v>-0.53209413464477229</c:v>
                </c:pt>
                <c:pt idx="1641">
                  <c:v>-0.53087716373537819</c:v>
                </c:pt>
                <c:pt idx="1642">
                  <c:v>-0.54533633408352089</c:v>
                </c:pt>
                <c:pt idx="1643">
                  <c:v>-0.54063515878969737</c:v>
                </c:pt>
                <c:pt idx="1644">
                  <c:v>-0.54273568392098026</c:v>
                </c:pt>
                <c:pt idx="1645">
                  <c:v>-0.54147425745325217</c:v>
                </c:pt>
                <c:pt idx="1646">
                  <c:v>-0.53980161707093433</c:v>
                </c:pt>
                <c:pt idx="1647">
                  <c:v>-0.53938484621155292</c:v>
                </c:pt>
                <c:pt idx="1648">
                  <c:v>-0.53130504848434335</c:v>
                </c:pt>
                <c:pt idx="1649">
                  <c:v>-0.53198299574893726</c:v>
                </c:pt>
                <c:pt idx="1650">
                  <c:v>-0.53320552360312301</c:v>
                </c:pt>
                <c:pt idx="1651">
                  <c:v>-0.53374454724792308</c:v>
                </c:pt>
                <c:pt idx="1652">
                  <c:v>-0.53271651246144869</c:v>
                </c:pt>
                <c:pt idx="1653">
                  <c:v>-0.53313328332083021</c:v>
                </c:pt>
                <c:pt idx="1654">
                  <c:v>-0.53102720124475566</c:v>
                </c:pt>
                <c:pt idx="1655">
                  <c:v>-0.5338001166958406</c:v>
                </c:pt>
                <c:pt idx="1656">
                  <c:v>-0.5337723319718819</c:v>
                </c:pt>
                <c:pt idx="1657">
                  <c:v>-0.5362451724042121</c:v>
                </c:pt>
                <c:pt idx="1658">
                  <c:v>-0.5303270262009947</c:v>
                </c:pt>
                <c:pt idx="1659">
                  <c:v>-0.52913228307076765</c:v>
                </c:pt>
                <c:pt idx="1660">
                  <c:v>-0.5286766135978439</c:v>
                </c:pt>
                <c:pt idx="1661">
                  <c:v>-0.52865438581867685</c:v>
                </c:pt>
                <c:pt idx="1662">
                  <c:v>-0.53684532244172156</c:v>
                </c:pt>
                <c:pt idx="1663">
                  <c:v>-0.53830679892195266</c:v>
                </c:pt>
                <c:pt idx="1664">
                  <c:v>-0.54454169097830007</c:v>
                </c:pt>
                <c:pt idx="1665">
                  <c:v>-0.54616431885749206</c:v>
                </c:pt>
                <c:pt idx="1666">
                  <c:v>-0.54218554638659655</c:v>
                </c:pt>
                <c:pt idx="1667">
                  <c:v>-0.53803450862715674</c:v>
                </c:pt>
                <c:pt idx="1668">
                  <c:v>-0.53622850156983692</c:v>
                </c:pt>
                <c:pt idx="1669">
                  <c:v>-0.53860131699591562</c:v>
                </c:pt>
                <c:pt idx="1670">
                  <c:v>-0.53715095440526794</c:v>
                </c:pt>
                <c:pt idx="1671">
                  <c:v>-0.53610069183962661</c:v>
                </c:pt>
                <c:pt idx="1672">
                  <c:v>-0.53407240699063652</c:v>
                </c:pt>
                <c:pt idx="1673">
                  <c:v>-0.53141063043538661</c:v>
                </c:pt>
                <c:pt idx="1674">
                  <c:v>-0.53240532355311054</c:v>
                </c:pt>
                <c:pt idx="1675">
                  <c:v>-0.53046039287599678</c:v>
                </c:pt>
                <c:pt idx="1676">
                  <c:v>-0.52997693867911422</c:v>
                </c:pt>
                <c:pt idx="1677">
                  <c:v>-0.52946014281348108</c:v>
                </c:pt>
                <c:pt idx="1678">
                  <c:v>-0.52941013031035533</c:v>
                </c:pt>
                <c:pt idx="1679">
                  <c:v>-0.5290544858436832</c:v>
                </c:pt>
                <c:pt idx="1680">
                  <c:v>-0.53703981550943292</c:v>
                </c:pt>
                <c:pt idx="1681">
                  <c:v>-0.53827901419799395</c:v>
                </c:pt>
                <c:pt idx="1682">
                  <c:v>-0.53882359478758579</c:v>
                </c:pt>
                <c:pt idx="1683">
                  <c:v>-0.54064627267928089</c:v>
                </c:pt>
                <c:pt idx="1684">
                  <c:v>-0.53583951543441422</c:v>
                </c:pt>
                <c:pt idx="1685">
                  <c:v>-0.53523380845211299</c:v>
                </c:pt>
                <c:pt idx="1686">
                  <c:v>-0.5303992664832875</c:v>
                </c:pt>
                <c:pt idx="1687">
                  <c:v>-0.52352532577588839</c:v>
                </c:pt>
                <c:pt idx="1688">
                  <c:v>-0.52049679086438272</c:v>
                </c:pt>
                <c:pt idx="1689">
                  <c:v>-0.52055236031230034</c:v>
                </c:pt>
                <c:pt idx="1690">
                  <c:v>-0.52091356172376435</c:v>
                </c:pt>
                <c:pt idx="1691">
                  <c:v>-0.51779055875079882</c:v>
                </c:pt>
                <c:pt idx="1692">
                  <c:v>-0.51468978355700035</c:v>
                </c:pt>
                <c:pt idx="1693">
                  <c:v>-0.51496207385179626</c:v>
                </c:pt>
                <c:pt idx="1694">
                  <c:v>-0.51081659303714821</c:v>
                </c:pt>
                <c:pt idx="1695">
                  <c:v>-0.51255035981217523</c:v>
                </c:pt>
                <c:pt idx="1696">
                  <c:v>-0.51073323886527189</c:v>
                </c:pt>
                <c:pt idx="1697">
                  <c:v>-0.51525659192575923</c:v>
                </c:pt>
                <c:pt idx="1698">
                  <c:v>-0.51823511433413905</c:v>
                </c:pt>
                <c:pt idx="1699">
                  <c:v>-0.5154344141590953</c:v>
                </c:pt>
                <c:pt idx="1700">
                  <c:v>-0.51727376288516569</c:v>
                </c:pt>
                <c:pt idx="1701">
                  <c:v>-0.51830735461643185</c:v>
                </c:pt>
                <c:pt idx="1702">
                  <c:v>-0.51476202383929315</c:v>
                </c:pt>
                <c:pt idx="1703">
                  <c:v>-0.51038315134339141</c:v>
                </c:pt>
                <c:pt idx="1704">
                  <c:v>-0.51420077241532602</c:v>
                </c:pt>
                <c:pt idx="1705">
                  <c:v>-0.51398960851323938</c:v>
                </c:pt>
                <c:pt idx="1706">
                  <c:v>-0.51480092245283537</c:v>
                </c:pt>
                <c:pt idx="1707">
                  <c:v>-0.51565669195076547</c:v>
                </c:pt>
                <c:pt idx="1708">
                  <c:v>-0.51683476424661712</c:v>
                </c:pt>
                <c:pt idx="1709">
                  <c:v>-0.51761273651746265</c:v>
                </c:pt>
                <c:pt idx="1710">
                  <c:v>-0.51910199772165266</c:v>
                </c:pt>
                <c:pt idx="1711">
                  <c:v>-0.51958545191853522</c:v>
                </c:pt>
                <c:pt idx="1712">
                  <c:v>-0.52181378678002832</c:v>
                </c:pt>
                <c:pt idx="1713">
                  <c:v>-0.52188047011752936</c:v>
                </c:pt>
                <c:pt idx="1714">
                  <c:v>-0.52176377427690257</c:v>
                </c:pt>
                <c:pt idx="1715">
                  <c:v>-0.5183295823955989</c:v>
                </c:pt>
                <c:pt idx="1716">
                  <c:v>-0.51687366286015957</c:v>
                </c:pt>
                <c:pt idx="1717">
                  <c:v>-0.51714039621016372</c:v>
                </c:pt>
                <c:pt idx="1718">
                  <c:v>-0.51994665332999923</c:v>
                </c:pt>
                <c:pt idx="1719">
                  <c:v>-0.51693478925286884</c:v>
                </c:pt>
                <c:pt idx="1720">
                  <c:v>-0.51542885721430354</c:v>
                </c:pt>
                <c:pt idx="1721">
                  <c:v>-0.51156122363924306</c:v>
                </c:pt>
                <c:pt idx="1722">
                  <c:v>-0.51310605429135059</c:v>
                </c:pt>
                <c:pt idx="1723">
                  <c:v>-0.51397293767886421</c:v>
                </c:pt>
                <c:pt idx="1724">
                  <c:v>-0.52477563835403296</c:v>
                </c:pt>
                <c:pt idx="1725">
                  <c:v>-0.52817648856658606</c:v>
                </c:pt>
                <c:pt idx="1726">
                  <c:v>-0.52653163290822702</c:v>
                </c:pt>
                <c:pt idx="1727">
                  <c:v>-0.5255647245144619</c:v>
                </c:pt>
                <c:pt idx="1728">
                  <c:v>-0.53302770136978683</c:v>
                </c:pt>
                <c:pt idx="1729">
                  <c:v>-0.53265538606873941</c:v>
                </c:pt>
                <c:pt idx="1730">
                  <c:v>-0.54450834930954961</c:v>
                </c:pt>
                <c:pt idx="1731">
                  <c:v>-0.54554194104081577</c:v>
                </c:pt>
                <c:pt idx="1732">
                  <c:v>-0.54137423244700056</c:v>
                </c:pt>
                <c:pt idx="1733">
                  <c:v>-0.53447250701564286</c:v>
                </c:pt>
                <c:pt idx="1734">
                  <c:v>-0.53796226834486394</c:v>
                </c:pt>
                <c:pt idx="1735">
                  <c:v>-0.54155205468033674</c:v>
                </c:pt>
                <c:pt idx="1736">
                  <c:v>-0.54653663415853959</c:v>
                </c:pt>
                <c:pt idx="1737">
                  <c:v>-0.54668111472312519</c:v>
                </c:pt>
                <c:pt idx="1738">
                  <c:v>-0.54341363118557418</c:v>
                </c:pt>
                <c:pt idx="1739">
                  <c:v>-0.53999055319385403</c:v>
                </c:pt>
                <c:pt idx="1740">
                  <c:v>-0.54353588397099273</c:v>
                </c:pt>
                <c:pt idx="1741">
                  <c:v>-0.54036842543969321</c:v>
                </c:pt>
                <c:pt idx="1742">
                  <c:v>-0.53683976549692969</c:v>
                </c:pt>
                <c:pt idx="1743">
                  <c:v>-0.52945458586868943</c:v>
                </c:pt>
                <c:pt idx="1744">
                  <c:v>-0.52040232280292298</c:v>
                </c:pt>
                <c:pt idx="1745">
                  <c:v>-0.52199716595815615</c:v>
                </c:pt>
                <c:pt idx="1746">
                  <c:v>-0.52042455058208992</c:v>
                </c:pt>
                <c:pt idx="1747">
                  <c:v>-0.51906865605290209</c:v>
                </c:pt>
                <c:pt idx="1748">
                  <c:v>-0.52019115890083634</c:v>
                </c:pt>
                <c:pt idx="1749">
                  <c:v>-0.52043010752688179</c:v>
                </c:pt>
                <c:pt idx="1750">
                  <c:v>-0.51774610319246483</c:v>
                </c:pt>
                <c:pt idx="1751">
                  <c:v>-0.52165263538106754</c:v>
                </c:pt>
                <c:pt idx="1752">
                  <c:v>-0.52023561445917033</c:v>
                </c:pt>
                <c:pt idx="1753">
                  <c:v>-0.52004112139145886</c:v>
                </c:pt>
                <c:pt idx="1754">
                  <c:v>-0.51786279903309151</c:v>
                </c:pt>
                <c:pt idx="1755">
                  <c:v>-0.51685143508099241</c:v>
                </c:pt>
                <c:pt idx="1756">
                  <c:v>-0.51745158511850176</c:v>
                </c:pt>
                <c:pt idx="1757">
                  <c:v>-0.51784057125392458</c:v>
                </c:pt>
                <c:pt idx="1758">
                  <c:v>-0.51376177377677745</c:v>
                </c:pt>
                <c:pt idx="1759">
                  <c:v>-0.51639020866327701</c:v>
                </c:pt>
                <c:pt idx="1760">
                  <c:v>-0.51867411297268762</c:v>
                </c:pt>
                <c:pt idx="1761">
                  <c:v>-0.51684032119140899</c:v>
                </c:pt>
                <c:pt idx="1762">
                  <c:v>-0.51786835597788339</c:v>
                </c:pt>
                <c:pt idx="1763">
                  <c:v>-0.52315856741963263</c:v>
                </c:pt>
                <c:pt idx="1764">
                  <c:v>-0.52707065655302721</c:v>
                </c:pt>
                <c:pt idx="1765">
                  <c:v>-0.52508682726237121</c:v>
                </c:pt>
                <c:pt idx="1766">
                  <c:v>-0.5242477285988163</c:v>
                </c:pt>
                <c:pt idx="1767">
                  <c:v>-0.52868772748742743</c:v>
                </c:pt>
                <c:pt idx="1768">
                  <c:v>-0.52411991886860609</c:v>
                </c:pt>
                <c:pt idx="1769">
                  <c:v>-0.51824622822372257</c:v>
                </c:pt>
                <c:pt idx="1770">
                  <c:v>-0.51815176016226272</c:v>
                </c:pt>
                <c:pt idx="1771">
                  <c:v>-0.51553999611013868</c:v>
                </c:pt>
                <c:pt idx="1772">
                  <c:v>-0.51257258759134228</c:v>
                </c:pt>
                <c:pt idx="1773">
                  <c:v>-0.50575421633186068</c:v>
                </c:pt>
                <c:pt idx="1774">
                  <c:v>-0.50312022450056959</c:v>
                </c:pt>
                <c:pt idx="1775">
                  <c:v>-0.50387596899224807</c:v>
                </c:pt>
                <c:pt idx="1776">
                  <c:v>-0.50492067461309775</c:v>
                </c:pt>
                <c:pt idx="1777">
                  <c:v>-0.50378150093078822</c:v>
                </c:pt>
                <c:pt idx="1778">
                  <c:v>-0.50085299102553416</c:v>
                </c:pt>
                <c:pt idx="1779">
                  <c:v>-0.50123642021616521</c:v>
                </c:pt>
                <c:pt idx="1780">
                  <c:v>-0.50186991192242503</c:v>
                </c:pt>
                <c:pt idx="1781">
                  <c:v>-0.50169208968908885</c:v>
                </c:pt>
                <c:pt idx="1782">
                  <c:v>-0.50151426745575289</c:v>
                </c:pt>
                <c:pt idx="1783">
                  <c:v>-0.50126420494012391</c:v>
                </c:pt>
                <c:pt idx="1784">
                  <c:v>-0.50044733405573605</c:v>
                </c:pt>
                <c:pt idx="1785">
                  <c:v>-0.49915812286404937</c:v>
                </c:pt>
                <c:pt idx="1786">
                  <c:v>-0.49549609624628377</c:v>
                </c:pt>
                <c:pt idx="1787">
                  <c:v>-0.49638520741296432</c:v>
                </c:pt>
                <c:pt idx="1788">
                  <c:v>-0.49006140423994893</c:v>
                </c:pt>
                <c:pt idx="1789">
                  <c:v>-0.48867216804201052</c:v>
                </c:pt>
                <c:pt idx="1790">
                  <c:v>-0.49051707371287268</c:v>
                </c:pt>
                <c:pt idx="1791">
                  <c:v>-0.49327887527437408</c:v>
                </c:pt>
                <c:pt idx="1792">
                  <c:v>-0.49478480731293939</c:v>
                </c:pt>
                <c:pt idx="1793">
                  <c:v>-0.4903837070378706</c:v>
                </c:pt>
                <c:pt idx="1794">
                  <c:v>-0.48828873885137947</c:v>
                </c:pt>
                <c:pt idx="1795">
                  <c:v>-0.48898891389514043</c:v>
                </c:pt>
                <c:pt idx="1796">
                  <c:v>-0.48761079158678555</c:v>
                </c:pt>
                <c:pt idx="1797">
                  <c:v>-0.4856936456336306</c:v>
                </c:pt>
                <c:pt idx="1798">
                  <c:v>-0.48290405934817038</c:v>
                </c:pt>
                <c:pt idx="1799">
                  <c:v>-0.48360423439193134</c:v>
                </c:pt>
                <c:pt idx="1800">
                  <c:v>-0.48599372065238533</c:v>
                </c:pt>
                <c:pt idx="1801">
                  <c:v>-0.48546581089716878</c:v>
                </c:pt>
                <c:pt idx="1802">
                  <c:v>-0.48908338195660028</c:v>
                </c:pt>
                <c:pt idx="1803">
                  <c:v>-0.49008363201911587</c:v>
                </c:pt>
                <c:pt idx="1804">
                  <c:v>-0.49274540857436577</c:v>
                </c:pt>
                <c:pt idx="1805">
                  <c:v>-0.48960017782223331</c:v>
                </c:pt>
                <c:pt idx="1806">
                  <c:v>-0.48990025284098804</c:v>
                </c:pt>
                <c:pt idx="1807">
                  <c:v>-0.48667166791697924</c:v>
                </c:pt>
                <c:pt idx="1808">
                  <c:v>-0.48769970270345364</c:v>
                </c:pt>
                <c:pt idx="1809">
                  <c:v>-0.48549359562112748</c:v>
                </c:pt>
                <c:pt idx="1810">
                  <c:v>-0.48009780222833487</c:v>
                </c:pt>
                <c:pt idx="1811">
                  <c:v>-0.47238476285738096</c:v>
                </c:pt>
                <c:pt idx="1812">
                  <c:v>-0.47005084604484459</c:v>
                </c:pt>
                <c:pt idx="1813">
                  <c:v>-0.46769470145314107</c:v>
                </c:pt>
                <c:pt idx="1814">
                  <c:v>-0.46692784307187907</c:v>
                </c:pt>
                <c:pt idx="1815">
                  <c:v>-0.46855047095107105</c:v>
                </c:pt>
                <c:pt idx="1816">
                  <c:v>-0.46726681670417602</c:v>
                </c:pt>
                <c:pt idx="1817">
                  <c:v>-0.46376038454057955</c:v>
                </c:pt>
                <c:pt idx="1818">
                  <c:v>-0.46245450251451747</c:v>
                </c:pt>
                <c:pt idx="1819">
                  <c:v>-0.46284904559473206</c:v>
                </c:pt>
                <c:pt idx="1820">
                  <c:v>-0.4590925509155066</c:v>
                </c:pt>
                <c:pt idx="1821">
                  <c:v>-0.45769220082798479</c:v>
                </c:pt>
                <c:pt idx="1822">
                  <c:v>-0.45855352727070653</c:v>
                </c:pt>
                <c:pt idx="1823">
                  <c:v>-0.45418576866438831</c:v>
                </c:pt>
                <c:pt idx="1824">
                  <c:v>-0.44810647106221002</c:v>
                </c:pt>
                <c:pt idx="1825">
                  <c:v>-0.44876219054763689</c:v>
                </c:pt>
                <c:pt idx="1826">
                  <c:v>-0.449367897529938</c:v>
                </c:pt>
                <c:pt idx="1827">
                  <c:v>-0.44787307938095633</c:v>
                </c:pt>
                <c:pt idx="1828">
                  <c:v>-0.448195382178878</c:v>
                </c:pt>
                <c:pt idx="1829">
                  <c:v>-0.45422466727793054</c:v>
                </c:pt>
                <c:pt idx="1830">
                  <c:v>-0.45639743269150623</c:v>
                </c:pt>
                <c:pt idx="1831">
                  <c:v>-0.45685865910922174</c:v>
                </c:pt>
                <c:pt idx="1832">
                  <c:v>-0.46030396488010883</c:v>
                </c:pt>
                <c:pt idx="1833">
                  <c:v>-0.45284654496957577</c:v>
                </c:pt>
                <c:pt idx="1834">
                  <c:v>-0.45450251451751822</c:v>
                </c:pt>
                <c:pt idx="1835">
                  <c:v>-0.45939262593426133</c:v>
                </c:pt>
                <c:pt idx="1836">
                  <c:v>-0.46756133477813899</c:v>
                </c:pt>
                <c:pt idx="1837">
                  <c:v>-0.46805590286460508</c:v>
                </c:pt>
                <c:pt idx="1838">
                  <c:v>-0.47362951849073376</c:v>
                </c:pt>
                <c:pt idx="1839">
                  <c:v>-0.46993415020421769</c:v>
                </c:pt>
                <c:pt idx="1840">
                  <c:v>-0.46588869439582115</c:v>
                </c:pt>
                <c:pt idx="1841">
                  <c:v>-0.45548609374565863</c:v>
                </c:pt>
                <c:pt idx="1842">
                  <c:v>-0.4532021894362479</c:v>
                </c:pt>
                <c:pt idx="1843">
                  <c:v>-0.45463032424772865</c:v>
                </c:pt>
                <c:pt idx="1844">
                  <c:v>-0.45160734628101473</c:v>
                </c:pt>
                <c:pt idx="1845">
                  <c:v>-0.44810647106221002</c:v>
                </c:pt>
                <c:pt idx="1846">
                  <c:v>-0.4471673473924036</c:v>
                </c:pt>
                <c:pt idx="1847">
                  <c:v>-0.44930677113722872</c:v>
                </c:pt>
                <c:pt idx="1848">
                  <c:v>-0.45880914673112727</c:v>
                </c:pt>
                <c:pt idx="1849">
                  <c:v>-0.46150426495512764</c:v>
                </c:pt>
                <c:pt idx="1850">
                  <c:v>-0.45344113806229336</c:v>
                </c:pt>
                <c:pt idx="1851">
                  <c:v>-0.45370787141229751</c:v>
                </c:pt>
                <c:pt idx="1852">
                  <c:v>-0.44960128921119169</c:v>
                </c:pt>
                <c:pt idx="1853">
                  <c:v>-0.45297435469978609</c:v>
                </c:pt>
                <c:pt idx="1854">
                  <c:v>-0.44825650857158739</c:v>
                </c:pt>
                <c:pt idx="1855">
                  <c:v>-0.44485565835903418</c:v>
                </c:pt>
                <c:pt idx="1856">
                  <c:v>-0.44481675974549184</c:v>
                </c:pt>
                <c:pt idx="1857">
                  <c:v>-0.43797616070684342</c:v>
                </c:pt>
                <c:pt idx="1858">
                  <c:v>-0.43918201772665388</c:v>
                </c:pt>
                <c:pt idx="1859">
                  <c:v>-0.43730377038704116</c:v>
                </c:pt>
                <c:pt idx="1860">
                  <c:v>-0.43258592425884246</c:v>
                </c:pt>
                <c:pt idx="1861">
                  <c:v>-0.43219693812341975</c:v>
                </c:pt>
                <c:pt idx="1862">
                  <c:v>-0.42779583784835096</c:v>
                </c:pt>
                <c:pt idx="1863">
                  <c:v>-0.4251840737962268</c:v>
                </c:pt>
                <c:pt idx="1864">
                  <c:v>-0.43151343391403407</c:v>
                </c:pt>
                <c:pt idx="1865">
                  <c:v>-0.43666472173598958</c:v>
                </c:pt>
                <c:pt idx="1866">
                  <c:v>-0.44068239282042732</c:v>
                </c:pt>
                <c:pt idx="1867">
                  <c:v>-0.44063793726209333</c:v>
                </c:pt>
                <c:pt idx="1868">
                  <c:v>-0.43506432163596453</c:v>
                </c:pt>
                <c:pt idx="1869">
                  <c:v>-0.42645661415353842</c:v>
                </c:pt>
                <c:pt idx="1870">
                  <c:v>-0.42500069461809897</c:v>
                </c:pt>
                <c:pt idx="1871">
                  <c:v>-0.42452835431079994</c:v>
                </c:pt>
                <c:pt idx="1872">
                  <c:v>-0.42263343613681192</c:v>
                </c:pt>
                <c:pt idx="1873">
                  <c:v>-0.43056875329943589</c:v>
                </c:pt>
                <c:pt idx="1874">
                  <c:v>-0.42902392264732847</c:v>
                </c:pt>
                <c:pt idx="1875">
                  <c:v>-0.42212775416076231</c:v>
                </c:pt>
                <c:pt idx="1876">
                  <c:v>-0.42512850434830929</c:v>
                </c:pt>
                <c:pt idx="1877">
                  <c:v>-0.42208329860242833</c:v>
                </c:pt>
                <c:pt idx="1878">
                  <c:v>-0.41227529104498339</c:v>
                </c:pt>
                <c:pt idx="1879">
                  <c:v>-0.40558472951571223</c:v>
                </c:pt>
                <c:pt idx="1880">
                  <c:v>-0.40801311438970855</c:v>
                </c:pt>
                <c:pt idx="1881">
                  <c:v>-0.40217276541357561</c:v>
                </c:pt>
                <c:pt idx="1882">
                  <c:v>-0.40489566836153479</c:v>
                </c:pt>
                <c:pt idx="1883">
                  <c:v>-0.41196410213664525</c:v>
                </c:pt>
                <c:pt idx="1884">
                  <c:v>-0.41270873273874031</c:v>
                </c:pt>
                <c:pt idx="1885">
                  <c:v>-0.40646828373760113</c:v>
                </c:pt>
                <c:pt idx="1886">
                  <c:v>-0.40512906004278848</c:v>
                </c:pt>
                <c:pt idx="1887">
                  <c:v>-0.40973021033036039</c:v>
                </c:pt>
                <c:pt idx="1888">
                  <c:v>-0.41739323719818844</c:v>
                </c:pt>
                <c:pt idx="1889">
                  <c:v>-0.42049401239198692</c:v>
                </c:pt>
                <c:pt idx="1890">
                  <c:v>-0.41719874413047708</c:v>
                </c:pt>
                <c:pt idx="1891">
                  <c:v>-0.42030507626906721</c:v>
                </c:pt>
                <c:pt idx="1892">
                  <c:v>-0.41202522852935464</c:v>
                </c:pt>
                <c:pt idx="1893">
                  <c:v>-0.41446472729293427</c:v>
                </c:pt>
                <c:pt idx="1894">
                  <c:v>-0.40976355199911085</c:v>
                </c:pt>
                <c:pt idx="1895">
                  <c:v>-0.40338417937817783</c:v>
                </c:pt>
                <c:pt idx="1896">
                  <c:v>-0.4050679336500792</c:v>
                </c:pt>
                <c:pt idx="1897">
                  <c:v>-0.41012475341057486</c:v>
                </c:pt>
                <c:pt idx="1898">
                  <c:v>-0.42078853046594988</c:v>
                </c:pt>
                <c:pt idx="1899">
                  <c:v>-0.41813786780028339</c:v>
                </c:pt>
                <c:pt idx="1900">
                  <c:v>-0.41624850657108725</c:v>
                </c:pt>
                <c:pt idx="1901">
                  <c:v>-0.42067739157011474</c:v>
                </c:pt>
                <c:pt idx="1902">
                  <c:v>-0.42352254730349248</c:v>
                </c:pt>
                <c:pt idx="1903">
                  <c:v>-0.42578422383373626</c:v>
                </c:pt>
                <c:pt idx="1904">
                  <c:v>-0.42471173348892777</c:v>
                </c:pt>
                <c:pt idx="1905">
                  <c:v>-0.41971604012114139</c:v>
                </c:pt>
                <c:pt idx="1906">
                  <c:v>-0.42099969436803641</c:v>
                </c:pt>
                <c:pt idx="1907">
                  <c:v>-0.41981050818260124</c:v>
                </c:pt>
                <c:pt idx="1908">
                  <c:v>-0.4320024450557084</c:v>
                </c:pt>
                <c:pt idx="1909">
                  <c:v>-0.44430552082465058</c:v>
                </c:pt>
                <c:pt idx="1910">
                  <c:v>-0.44245505820899667</c:v>
                </c:pt>
                <c:pt idx="1911">
                  <c:v>-0.44934566975077106</c:v>
                </c:pt>
                <c:pt idx="1912">
                  <c:v>-0.44919007529660193</c:v>
                </c:pt>
                <c:pt idx="1913">
                  <c:v>-0.44361090272568138</c:v>
                </c:pt>
                <c:pt idx="1914">
                  <c:v>-0.44049901364229949</c:v>
                </c:pt>
                <c:pt idx="1915">
                  <c:v>-0.43740935233808453</c:v>
                </c:pt>
                <c:pt idx="1916">
                  <c:v>-0.44142702342252227</c:v>
                </c:pt>
                <c:pt idx="1917">
                  <c:v>-0.44307743602567307</c:v>
                </c:pt>
                <c:pt idx="1918">
                  <c:v>-0.45823122447278486</c:v>
                </c:pt>
                <c:pt idx="1919">
                  <c:v>-0.45376344086021503</c:v>
                </c:pt>
                <c:pt idx="1920">
                  <c:v>-0.44569475702258898</c:v>
                </c:pt>
                <c:pt idx="1921">
                  <c:v>-0.43918757467144565</c:v>
                </c:pt>
                <c:pt idx="1922">
                  <c:v>-0.4404545580839655</c:v>
                </c:pt>
                <c:pt idx="1923">
                  <c:v>-0.43709816342974628</c:v>
                </c:pt>
                <c:pt idx="1924">
                  <c:v>-0.44148259287043978</c:v>
                </c:pt>
                <c:pt idx="1925">
                  <c:v>-0.43102442277235975</c:v>
                </c:pt>
                <c:pt idx="1926">
                  <c:v>-0.43170792698174543</c:v>
                </c:pt>
                <c:pt idx="1927">
                  <c:v>-0.43350837709427359</c:v>
                </c:pt>
                <c:pt idx="1928">
                  <c:v>-0.43777611069434019</c:v>
                </c:pt>
                <c:pt idx="1929">
                  <c:v>-0.43212469784112695</c:v>
                </c:pt>
                <c:pt idx="1930">
                  <c:v>-0.4166041510377595</c:v>
                </c:pt>
                <c:pt idx="1931">
                  <c:v>-0.41113056041788221</c:v>
                </c:pt>
                <c:pt idx="1932">
                  <c:v>-0.4131143897085382</c:v>
                </c:pt>
                <c:pt idx="1933">
                  <c:v>-0.40250062515628904</c:v>
                </c:pt>
                <c:pt idx="1934">
                  <c:v>-0.3897696646383817</c:v>
                </c:pt>
                <c:pt idx="1935">
                  <c:v>-0.39154233002695116</c:v>
                </c:pt>
                <c:pt idx="1936">
                  <c:v>-0.40037787224583921</c:v>
                </c:pt>
                <c:pt idx="1937">
                  <c:v>-0.39695479425411906</c:v>
                </c:pt>
                <c:pt idx="1938">
                  <c:v>-0.39346503292489787</c:v>
                </c:pt>
                <c:pt idx="1939">
                  <c:v>-0.3839682142757912</c:v>
                </c:pt>
                <c:pt idx="1940">
                  <c:v>-0.38719124225500823</c:v>
                </c:pt>
                <c:pt idx="1941">
                  <c:v>-0.38496290739351502</c:v>
                </c:pt>
                <c:pt idx="1942">
                  <c:v>-0.38047845294657001</c:v>
                </c:pt>
                <c:pt idx="1943">
                  <c:v>-0.38929176738629101</c:v>
                </c:pt>
                <c:pt idx="1944">
                  <c:v>-0.38669111722375038</c:v>
                </c:pt>
                <c:pt idx="1945">
                  <c:v>-0.38046733905698638</c:v>
                </c:pt>
                <c:pt idx="1946">
                  <c:v>-0.382101080825762</c:v>
                </c:pt>
                <c:pt idx="1947">
                  <c:v>-0.38480175599455424</c:v>
                </c:pt>
                <c:pt idx="1948">
                  <c:v>-0.37642188324858983</c:v>
                </c:pt>
                <c:pt idx="1949">
                  <c:v>-0.3744436109027256</c:v>
                </c:pt>
                <c:pt idx="1950">
                  <c:v>-0.37617737767775283</c:v>
                </c:pt>
                <c:pt idx="1951">
                  <c:v>-0.37838904170487075</c:v>
                </c:pt>
                <c:pt idx="1952">
                  <c:v>-0.37527715262148864</c:v>
                </c:pt>
                <c:pt idx="1953">
                  <c:v>-0.37668305965380233</c:v>
                </c:pt>
                <c:pt idx="1954">
                  <c:v>-0.37732210830485402</c:v>
                </c:pt>
                <c:pt idx="1955">
                  <c:v>-0.38112861548720511</c:v>
                </c:pt>
                <c:pt idx="1956">
                  <c:v>-0.37860576255174905</c:v>
                </c:pt>
                <c:pt idx="1957">
                  <c:v>-0.36783084660053911</c:v>
                </c:pt>
                <c:pt idx="1958">
                  <c:v>-0.36420216165152397</c:v>
                </c:pt>
                <c:pt idx="1959">
                  <c:v>-0.36245172404212167</c:v>
                </c:pt>
                <c:pt idx="1960">
                  <c:v>-0.35916756967019525</c:v>
                </c:pt>
                <c:pt idx="1961">
                  <c:v>-0.34877608290961626</c:v>
                </c:pt>
                <c:pt idx="1962">
                  <c:v>-0.34155761162512843</c:v>
                </c:pt>
                <c:pt idx="1963">
                  <c:v>-0.34106860048345422</c:v>
                </c:pt>
                <c:pt idx="1964">
                  <c:v>-0.34068517129282316</c:v>
                </c:pt>
                <c:pt idx="1965">
                  <c:v>-0.34460837431580116</c:v>
                </c:pt>
                <c:pt idx="1966">
                  <c:v>-0.33800672390319797</c:v>
                </c:pt>
                <c:pt idx="1967">
                  <c:v>-0.33747881414798142</c:v>
                </c:pt>
                <c:pt idx="1968">
                  <c:v>-0.35227140118362932</c:v>
                </c:pt>
                <c:pt idx="1969">
                  <c:v>-0.33920702397821667</c:v>
                </c:pt>
                <c:pt idx="1970">
                  <c:v>-0.3446028173710094</c:v>
                </c:pt>
                <c:pt idx="1971">
                  <c:v>-0.34837598288460991</c:v>
                </c:pt>
                <c:pt idx="1972">
                  <c:v>-0.34569753549498483</c:v>
                </c:pt>
                <c:pt idx="1973">
                  <c:v>-0.34728682170542635</c:v>
                </c:pt>
                <c:pt idx="1974">
                  <c:v>-0.3428523797616071</c:v>
                </c:pt>
                <c:pt idx="1975">
                  <c:v>-0.33317773887916424</c:v>
                </c:pt>
                <c:pt idx="1976">
                  <c:v>-0.32365869245089052</c:v>
                </c:pt>
                <c:pt idx="1977">
                  <c:v>-0.32713178294573653</c:v>
                </c:pt>
                <c:pt idx="1978">
                  <c:v>-0.32215276041232532</c:v>
                </c:pt>
                <c:pt idx="1979">
                  <c:v>-0.33039370953849567</c:v>
                </c:pt>
                <c:pt idx="1980">
                  <c:v>-0.32576477452696506</c:v>
                </c:pt>
                <c:pt idx="1981">
                  <c:v>-0.3235308827206802</c:v>
                </c:pt>
                <c:pt idx="1982">
                  <c:v>-0.32227501319774388</c:v>
                </c:pt>
                <c:pt idx="1983">
                  <c:v>-0.3168292073018254</c:v>
                </c:pt>
                <c:pt idx="1984">
                  <c:v>-0.30879386513294993</c:v>
                </c:pt>
                <c:pt idx="1985">
                  <c:v>-0.31245033480592366</c:v>
                </c:pt>
                <c:pt idx="1986">
                  <c:v>-0.32448112028006992</c:v>
                </c:pt>
                <c:pt idx="1987">
                  <c:v>-0.32622044399988881</c:v>
                </c:pt>
                <c:pt idx="1988">
                  <c:v>-0.31069434025172959</c:v>
                </c:pt>
                <c:pt idx="1989">
                  <c:v>-0.30877163735378277</c:v>
                </c:pt>
                <c:pt idx="1990">
                  <c:v>-0.30600983579228147</c:v>
                </c:pt>
                <c:pt idx="1991">
                  <c:v>-0.30712122475063219</c:v>
                </c:pt>
                <c:pt idx="1992">
                  <c:v>-0.30884943458086744</c:v>
                </c:pt>
                <c:pt idx="1993">
                  <c:v>-0.30445944819538207</c:v>
                </c:pt>
                <c:pt idx="1994">
                  <c:v>-0.29692978800255621</c:v>
                </c:pt>
                <c:pt idx="1995">
                  <c:v>-0.29535161568169821</c:v>
                </c:pt>
                <c:pt idx="1996">
                  <c:v>-0.30060848545469698</c:v>
                </c:pt>
                <c:pt idx="1997">
                  <c:v>-0.2982634547525771</c:v>
                </c:pt>
                <c:pt idx="1998">
                  <c:v>-0.29672418104526133</c:v>
                </c:pt>
                <c:pt idx="1999">
                  <c:v>-0.29079492095246029</c:v>
                </c:pt>
                <c:pt idx="2000">
                  <c:v>-0.29749103942652322</c:v>
                </c:pt>
                <c:pt idx="2001">
                  <c:v>-0.31052763190797694</c:v>
                </c:pt>
                <c:pt idx="2002">
                  <c:v>-0.30778805812564247</c:v>
                </c:pt>
                <c:pt idx="2003">
                  <c:v>-0.3154844266622211</c:v>
                </c:pt>
                <c:pt idx="2004">
                  <c:v>-0.31866299908310414</c:v>
                </c:pt>
                <c:pt idx="2005">
                  <c:v>-0.31660692951015534</c:v>
                </c:pt>
                <c:pt idx="2006">
                  <c:v>-0.3342835708927232</c:v>
                </c:pt>
                <c:pt idx="2007">
                  <c:v>-0.32556472451446195</c:v>
                </c:pt>
                <c:pt idx="2008">
                  <c:v>-0.31556222388930566</c:v>
                </c:pt>
                <c:pt idx="2009">
                  <c:v>-0.30559862187769171</c:v>
                </c:pt>
                <c:pt idx="2010">
                  <c:v>-0.31615681698202336</c:v>
                </c:pt>
                <c:pt idx="2011">
                  <c:v>-0.31725709205079045</c:v>
                </c:pt>
                <c:pt idx="2012">
                  <c:v>-0.31976327415187134</c:v>
                </c:pt>
                <c:pt idx="2013">
                  <c:v>-0.32503125781445352</c:v>
                </c:pt>
                <c:pt idx="2014">
                  <c:v>-0.32443110777694417</c:v>
                </c:pt>
                <c:pt idx="2015">
                  <c:v>-0.33174404712289185</c:v>
                </c:pt>
                <c:pt idx="2016">
                  <c:v>-0.33482815148231504</c:v>
                </c:pt>
                <c:pt idx="2017">
                  <c:v>-0.31402850712678165</c:v>
                </c:pt>
                <c:pt idx="2018">
                  <c:v>-0.31363952099135883</c:v>
                </c:pt>
                <c:pt idx="2019">
                  <c:v>-0.31140007224028221</c:v>
                </c:pt>
                <c:pt idx="2020">
                  <c:v>-0.3127059542663444</c:v>
                </c:pt>
                <c:pt idx="2021">
                  <c:v>-0.31107776944236054</c:v>
                </c:pt>
                <c:pt idx="2022">
                  <c:v>-0.30928287627462414</c:v>
                </c:pt>
                <c:pt idx="2023">
                  <c:v>-0.32005223528104254</c:v>
                </c:pt>
                <c:pt idx="2024">
                  <c:v>-0.32460337306548848</c:v>
                </c:pt>
                <c:pt idx="2025">
                  <c:v>-0.31620682948514911</c:v>
                </c:pt>
                <c:pt idx="2026">
                  <c:v>-0.31912978244561141</c:v>
                </c:pt>
                <c:pt idx="2027">
                  <c:v>-0.29998055069322882</c:v>
                </c:pt>
                <c:pt idx="2028">
                  <c:v>-0.30188658275680036</c:v>
                </c:pt>
                <c:pt idx="2029">
                  <c:v>-0.29868022561195851</c:v>
                </c:pt>
                <c:pt idx="2030">
                  <c:v>-0.29628518240671287</c:v>
                </c:pt>
                <c:pt idx="2031">
                  <c:v>-0.29262871273373892</c:v>
                </c:pt>
                <c:pt idx="2032">
                  <c:v>-0.29521824900669613</c:v>
                </c:pt>
                <c:pt idx="2033">
                  <c:v>-0.30071406740574025</c:v>
                </c:pt>
                <c:pt idx="2034">
                  <c:v>-0.30557639409852455</c:v>
                </c:pt>
                <c:pt idx="2035">
                  <c:v>-0.29994165207968659</c:v>
                </c:pt>
                <c:pt idx="2036">
                  <c:v>-0.29391236698063394</c:v>
                </c:pt>
                <c:pt idx="2037">
                  <c:v>-0.29840237837237094</c:v>
                </c:pt>
                <c:pt idx="2038">
                  <c:v>-0.29231752382540077</c:v>
                </c:pt>
                <c:pt idx="2039">
                  <c:v>-0.28854435831180014</c:v>
                </c:pt>
                <c:pt idx="2040">
                  <c:v>-0.28514350809924693</c:v>
                </c:pt>
                <c:pt idx="2041">
                  <c:v>-0.27946986746686664</c:v>
                </c:pt>
                <c:pt idx="2042">
                  <c:v>-0.27170681559278709</c:v>
                </c:pt>
                <c:pt idx="2043">
                  <c:v>-0.27838626323247484</c:v>
                </c:pt>
                <c:pt idx="2044">
                  <c:v>-0.28075352171376178</c:v>
                </c:pt>
                <c:pt idx="2045">
                  <c:v>-0.28340974132421992</c:v>
                </c:pt>
                <c:pt idx="2046">
                  <c:v>-0.28258175655024864</c:v>
                </c:pt>
                <c:pt idx="2047">
                  <c:v>-0.28096468561584831</c:v>
                </c:pt>
                <c:pt idx="2048">
                  <c:v>-0.28433219415965094</c:v>
                </c:pt>
                <c:pt idx="2049">
                  <c:v>-0.29208968908893884</c:v>
                </c:pt>
                <c:pt idx="2050">
                  <c:v>-0.30029173960156696</c:v>
                </c:pt>
                <c:pt idx="2051">
                  <c:v>-0.29180072795976764</c:v>
                </c:pt>
                <c:pt idx="2052">
                  <c:v>-0.27944208274290794</c:v>
                </c:pt>
                <c:pt idx="2053">
                  <c:v>-0.28220388430440935</c:v>
                </c:pt>
                <c:pt idx="2054">
                  <c:v>-0.29539051429524044</c:v>
                </c:pt>
                <c:pt idx="2055">
                  <c:v>-0.30209774665888689</c:v>
                </c:pt>
                <c:pt idx="2056">
                  <c:v>-0.3500152815981773</c:v>
                </c:pt>
                <c:pt idx="2057">
                  <c:v>-0.31676252396432436</c:v>
                </c:pt>
                <c:pt idx="2058">
                  <c:v>-0.31860187269039475</c:v>
                </c:pt>
                <c:pt idx="2059">
                  <c:v>-0.32994915395515545</c:v>
                </c:pt>
                <c:pt idx="2060">
                  <c:v>-0.32183045761440354</c:v>
                </c:pt>
                <c:pt idx="2061">
                  <c:v>-0.30373704537245416</c:v>
                </c:pt>
                <c:pt idx="2062">
                  <c:v>-0.30242004945680867</c:v>
                </c:pt>
                <c:pt idx="2063">
                  <c:v>-0.3008363201911588</c:v>
                </c:pt>
                <c:pt idx="2064">
                  <c:v>-0.30428718290683776</c:v>
                </c:pt>
                <c:pt idx="2065">
                  <c:v>-0.31193909588508228</c:v>
                </c:pt>
                <c:pt idx="2066">
                  <c:v>-0.31661248645494711</c:v>
                </c:pt>
                <c:pt idx="2067">
                  <c:v>-0.3146453279986664</c:v>
                </c:pt>
                <c:pt idx="2068">
                  <c:v>-0.32770970520407883</c:v>
                </c:pt>
                <c:pt idx="2069">
                  <c:v>-0.319724375538329</c:v>
                </c:pt>
                <c:pt idx="2070">
                  <c:v>-0.31100552916006774</c:v>
                </c:pt>
                <c:pt idx="2071">
                  <c:v>-0.29773554499736044</c:v>
                </c:pt>
                <c:pt idx="2072">
                  <c:v>-0.30357033702870162</c:v>
                </c:pt>
                <c:pt idx="2073">
                  <c:v>-0.29874135200466778</c:v>
                </c:pt>
                <c:pt idx="2074">
                  <c:v>-0.28804979022533406</c:v>
                </c:pt>
                <c:pt idx="2075">
                  <c:v>-0.28499347058986968</c:v>
                </c:pt>
                <c:pt idx="2076">
                  <c:v>-0.2971631796838099</c:v>
                </c:pt>
                <c:pt idx="2077">
                  <c:v>-0.29400127809730203</c:v>
                </c:pt>
                <c:pt idx="2078">
                  <c:v>-0.29325109055041543</c:v>
                </c:pt>
                <c:pt idx="2079">
                  <c:v>-0.29043927648578804</c:v>
                </c:pt>
                <c:pt idx="2080">
                  <c:v>-0.27603011864077132</c:v>
                </c:pt>
                <c:pt idx="2081">
                  <c:v>-0.27831957989497369</c:v>
                </c:pt>
                <c:pt idx="2082">
                  <c:v>-0.27435192131366182</c:v>
                </c:pt>
                <c:pt idx="2083">
                  <c:v>-0.27705259648245395</c:v>
                </c:pt>
                <c:pt idx="2084">
                  <c:v>-0.26910616543024646</c:v>
                </c:pt>
                <c:pt idx="2085">
                  <c:v>-0.2701119724375538</c:v>
                </c:pt>
                <c:pt idx="2086">
                  <c:v>-0.27500764079908857</c:v>
                </c:pt>
                <c:pt idx="2087">
                  <c:v>-0.27940874107415736</c:v>
                </c:pt>
                <c:pt idx="2088">
                  <c:v>-0.29025589730766022</c:v>
                </c:pt>
                <c:pt idx="2089">
                  <c:v>-0.2914006279347614</c:v>
                </c:pt>
                <c:pt idx="2090">
                  <c:v>-0.28395432191381176</c:v>
                </c:pt>
                <c:pt idx="2091">
                  <c:v>-0.28050345919813291</c:v>
                </c:pt>
                <c:pt idx="2092">
                  <c:v>-0.28230946625545272</c:v>
                </c:pt>
                <c:pt idx="2093">
                  <c:v>-0.28988358200661268</c:v>
                </c:pt>
                <c:pt idx="2094">
                  <c:v>-0.29621294212441995</c:v>
                </c:pt>
                <c:pt idx="2095">
                  <c:v>-0.29105609735767279</c:v>
                </c:pt>
                <c:pt idx="2096">
                  <c:v>-0.30186991192242507</c:v>
                </c:pt>
                <c:pt idx="2097">
                  <c:v>-0.30663221360895776</c:v>
                </c:pt>
                <c:pt idx="2098">
                  <c:v>-0.30383151343391401</c:v>
                </c:pt>
                <c:pt idx="2099">
                  <c:v>-0.29103942652329751</c:v>
                </c:pt>
                <c:pt idx="2100">
                  <c:v>-0.27796393542830156</c:v>
                </c:pt>
                <c:pt idx="2101">
                  <c:v>-0.27825289655747276</c:v>
                </c:pt>
                <c:pt idx="2102">
                  <c:v>-0.27479647689700204</c:v>
                </c:pt>
                <c:pt idx="2103">
                  <c:v>-0.27327387402406156</c:v>
                </c:pt>
                <c:pt idx="2104">
                  <c:v>-0.28104248284293298</c:v>
                </c:pt>
                <c:pt idx="2105">
                  <c:v>-0.28278736350754352</c:v>
                </c:pt>
                <c:pt idx="2106">
                  <c:v>-0.28867216804201057</c:v>
                </c:pt>
                <c:pt idx="2107">
                  <c:v>-0.30977188741629857</c:v>
                </c:pt>
                <c:pt idx="2108">
                  <c:v>-0.30119752160262292</c:v>
                </c:pt>
                <c:pt idx="2109">
                  <c:v>-0.2915617793337224</c:v>
                </c:pt>
                <c:pt idx="2110">
                  <c:v>-0.28720513461698749</c:v>
                </c:pt>
                <c:pt idx="2111">
                  <c:v>-0.2925453585618627</c:v>
                </c:pt>
                <c:pt idx="2112">
                  <c:v>-0.28452668722736241</c:v>
                </c:pt>
                <c:pt idx="2113">
                  <c:v>-0.27180128365424683</c:v>
                </c:pt>
                <c:pt idx="2114">
                  <c:v>-0.2775527215137118</c:v>
                </c:pt>
                <c:pt idx="2115">
                  <c:v>-0.28333194409713536</c:v>
                </c:pt>
                <c:pt idx="2116">
                  <c:v>-0.28737739990553191</c:v>
                </c:pt>
                <c:pt idx="2117">
                  <c:v>-0.2878552971576227</c:v>
                </c:pt>
                <c:pt idx="2118">
                  <c:v>-0.27887527437414905</c:v>
                </c:pt>
                <c:pt idx="2119">
                  <c:v>-0.27242366147092334</c:v>
                </c:pt>
                <c:pt idx="2120">
                  <c:v>-0.26639437637187069</c:v>
                </c:pt>
                <c:pt idx="2121">
                  <c:v>-0.27026756689172293</c:v>
                </c:pt>
                <c:pt idx="2122">
                  <c:v>-0.2546414381373121</c:v>
                </c:pt>
                <c:pt idx="2123">
                  <c:v>-0.25107943652579812</c:v>
                </c:pt>
                <c:pt idx="2124">
                  <c:v>-0.25030702119974446</c:v>
                </c:pt>
                <c:pt idx="2125">
                  <c:v>-0.25272429218415715</c:v>
                </c:pt>
                <c:pt idx="2126">
                  <c:v>-0.2459448195382179</c:v>
                </c:pt>
                <c:pt idx="2127">
                  <c:v>-0.24717290433719541</c:v>
                </c:pt>
                <c:pt idx="2128">
                  <c:v>-0.24100469561834903</c:v>
                </c:pt>
                <c:pt idx="2129">
                  <c:v>-0.24009335667250142</c:v>
                </c:pt>
                <c:pt idx="2130">
                  <c:v>-0.23694812592036896</c:v>
                </c:pt>
                <c:pt idx="2131">
                  <c:v>-0.23994331916312406</c:v>
                </c:pt>
                <c:pt idx="2132">
                  <c:v>-0.23791503431413408</c:v>
                </c:pt>
                <c:pt idx="2133">
                  <c:v>-0.23078547414631434</c:v>
                </c:pt>
                <c:pt idx="2134">
                  <c:v>-0.23359173126614985</c:v>
                </c:pt>
                <c:pt idx="2135">
                  <c:v>-0.22916840321191401</c:v>
                </c:pt>
                <c:pt idx="2136">
                  <c:v>-0.22621766552749289</c:v>
                </c:pt>
                <c:pt idx="2137">
                  <c:v>-0.23186907838070625</c:v>
                </c:pt>
                <c:pt idx="2138">
                  <c:v>-0.22256675279931093</c:v>
                </c:pt>
                <c:pt idx="2139">
                  <c:v>-0.21816565252424214</c:v>
                </c:pt>
                <c:pt idx="2140">
                  <c:v>-0.21763774276902548</c:v>
                </c:pt>
                <c:pt idx="2141">
                  <c:v>-0.21884359978883605</c:v>
                </c:pt>
                <c:pt idx="2142">
                  <c:v>-0.21561501486482737</c:v>
                </c:pt>
                <c:pt idx="2143">
                  <c:v>-0.2189380678502959</c:v>
                </c:pt>
                <c:pt idx="2144">
                  <c:v>-0.22799033091606236</c:v>
                </c:pt>
                <c:pt idx="2145">
                  <c:v>-0.21252535356061242</c:v>
                </c:pt>
                <c:pt idx="2146">
                  <c:v>-0.21503709260648496</c:v>
                </c:pt>
                <c:pt idx="2147">
                  <c:v>-0.20611819621572047</c:v>
                </c:pt>
                <c:pt idx="2148">
                  <c:v>-0.20282292795421075</c:v>
                </c:pt>
                <c:pt idx="2149">
                  <c:v>-0.20161707093440029</c:v>
                </c:pt>
                <c:pt idx="2150">
                  <c:v>-0.2025839793281653</c:v>
                </c:pt>
                <c:pt idx="2151">
                  <c:v>-0.19461532049679087</c:v>
                </c:pt>
                <c:pt idx="2152">
                  <c:v>-0.19373732321969372</c:v>
                </c:pt>
                <c:pt idx="2153">
                  <c:v>-0.18991414520296745</c:v>
                </c:pt>
                <c:pt idx="2154">
                  <c:v>-0.18673557278208441</c:v>
                </c:pt>
                <c:pt idx="2155">
                  <c:v>-0.17970048067572442</c:v>
                </c:pt>
                <c:pt idx="2156">
                  <c:v>-0.18237892806534972</c:v>
                </c:pt>
                <c:pt idx="2157">
                  <c:v>-0.17483815398294011</c:v>
                </c:pt>
                <c:pt idx="2158">
                  <c:v>-0.17759995554444163</c:v>
                </c:pt>
                <c:pt idx="2159">
                  <c:v>-0.17844461115278809</c:v>
                </c:pt>
                <c:pt idx="2160">
                  <c:v>-0.18230113083826505</c:v>
                </c:pt>
                <c:pt idx="2161">
                  <c:v>-0.18370148092578698</c:v>
                </c:pt>
                <c:pt idx="2162">
                  <c:v>-0.17757217082048293</c:v>
                </c:pt>
                <c:pt idx="2163">
                  <c:v>-0.17273762885165733</c:v>
                </c:pt>
                <c:pt idx="2164">
                  <c:v>-0.16385207412964342</c:v>
                </c:pt>
                <c:pt idx="2165">
                  <c:v>-0.16183490317023697</c:v>
                </c:pt>
                <c:pt idx="2166">
                  <c:v>-0.16281292545358561</c:v>
                </c:pt>
                <c:pt idx="2167">
                  <c:v>-0.17139284821205303</c:v>
                </c:pt>
                <c:pt idx="2168">
                  <c:v>-0.17727765274651996</c:v>
                </c:pt>
                <c:pt idx="2169">
                  <c:v>-0.17052596482453941</c:v>
                </c:pt>
                <c:pt idx="2170">
                  <c:v>-0.17121502597871685</c:v>
                </c:pt>
                <c:pt idx="2171">
                  <c:v>-0.16668611597343785</c:v>
                </c:pt>
                <c:pt idx="2172">
                  <c:v>-0.16401322552860431</c:v>
                </c:pt>
                <c:pt idx="2173">
                  <c:v>-0.17232641493706757</c:v>
                </c:pt>
                <c:pt idx="2174">
                  <c:v>-0.16145147397960602</c:v>
                </c:pt>
                <c:pt idx="2175">
                  <c:v>-0.16075685588063682</c:v>
                </c:pt>
                <c:pt idx="2176">
                  <c:v>-0.15850073629518491</c:v>
                </c:pt>
                <c:pt idx="2177">
                  <c:v>-0.15555555555555556</c:v>
                </c:pt>
                <c:pt idx="2178">
                  <c:v>-0.16372982134422487</c:v>
                </c:pt>
                <c:pt idx="2179">
                  <c:v>-0.17245422466727789</c:v>
                </c:pt>
                <c:pt idx="2180">
                  <c:v>-0.18840821316440215</c:v>
                </c:pt>
                <c:pt idx="2181">
                  <c:v>-0.18939179239254256</c:v>
                </c:pt>
                <c:pt idx="2182">
                  <c:v>-0.18214553638409603</c:v>
                </c:pt>
                <c:pt idx="2183">
                  <c:v>-0.1692978800255619</c:v>
                </c:pt>
                <c:pt idx="2184">
                  <c:v>-0.16238504070462056</c:v>
                </c:pt>
                <c:pt idx="2185">
                  <c:v>-0.1615848406546081</c:v>
                </c:pt>
                <c:pt idx="2186">
                  <c:v>-0.1664749520713511</c:v>
                </c:pt>
                <c:pt idx="2187">
                  <c:v>-0.17418243449751325</c:v>
                </c:pt>
                <c:pt idx="2188">
                  <c:v>-0.18147314606429377</c:v>
                </c:pt>
                <c:pt idx="2189">
                  <c:v>-0.17174849267872516</c:v>
                </c:pt>
                <c:pt idx="2190">
                  <c:v>-0.17245978161206965</c:v>
                </c:pt>
                <c:pt idx="2191">
                  <c:v>-0.16558028395987889</c:v>
                </c:pt>
                <c:pt idx="2192">
                  <c:v>-0.16312411436192376</c:v>
                </c:pt>
                <c:pt idx="2193">
                  <c:v>-0.1642188324858993</c:v>
                </c:pt>
                <c:pt idx="2194">
                  <c:v>-0.17064821760995796</c:v>
                </c:pt>
                <c:pt idx="2195">
                  <c:v>-0.17273207190686557</c:v>
                </c:pt>
                <c:pt idx="2196">
                  <c:v>-0.16995915645578052</c:v>
                </c:pt>
                <c:pt idx="2197">
                  <c:v>-0.16270734350254223</c:v>
                </c:pt>
                <c:pt idx="2198">
                  <c:v>-0.16601372565363559</c:v>
                </c:pt>
                <c:pt idx="2199">
                  <c:v>-0.16913117168180924</c:v>
                </c:pt>
                <c:pt idx="2200">
                  <c:v>-0.18142869050595978</c:v>
                </c:pt>
                <c:pt idx="2201">
                  <c:v>-0.18266233224972916</c:v>
                </c:pt>
                <c:pt idx="2202">
                  <c:v>-0.17852796532466453</c:v>
                </c:pt>
                <c:pt idx="2203">
                  <c:v>-0.18357922814036842</c:v>
                </c:pt>
                <c:pt idx="2204">
                  <c:v>-0.18342919063099106</c:v>
                </c:pt>
                <c:pt idx="2205">
                  <c:v>-0.18175099330388145</c:v>
                </c:pt>
                <c:pt idx="2206">
                  <c:v>-0.18941957711650126</c:v>
                </c:pt>
                <c:pt idx="2207">
                  <c:v>-0.18035620016115139</c:v>
                </c:pt>
                <c:pt idx="2208">
                  <c:v>-0.16608040899113663</c:v>
                </c:pt>
                <c:pt idx="2209">
                  <c:v>-0.16464116029007247</c:v>
                </c:pt>
                <c:pt idx="2210">
                  <c:v>-0.16260731849629073</c:v>
                </c:pt>
                <c:pt idx="2211">
                  <c:v>-0.16715289933594513</c:v>
                </c:pt>
                <c:pt idx="2212">
                  <c:v>-0.18018949181739874</c:v>
                </c:pt>
                <c:pt idx="2213">
                  <c:v>-0.176983134672557</c:v>
                </c:pt>
                <c:pt idx="2214">
                  <c:v>-0.19333166624989573</c:v>
                </c:pt>
                <c:pt idx="2215">
                  <c:v>-0.18540190603206352</c:v>
                </c:pt>
                <c:pt idx="2216">
                  <c:v>-0.17074824261620958</c:v>
                </c:pt>
                <c:pt idx="2217">
                  <c:v>-0.17127059542663448</c:v>
                </c:pt>
                <c:pt idx="2218">
                  <c:v>-0.1755494429162846</c:v>
                </c:pt>
                <c:pt idx="2219">
                  <c:v>-0.17361562612875447</c:v>
                </c:pt>
                <c:pt idx="2220">
                  <c:v>-0.16141813231085556</c:v>
                </c:pt>
                <c:pt idx="2221">
                  <c:v>-0.15135450529298988</c:v>
                </c:pt>
                <c:pt idx="2222">
                  <c:v>-0.15405518046178213</c:v>
                </c:pt>
                <c:pt idx="2223">
                  <c:v>-0.1509766330471507</c:v>
                </c:pt>
                <c:pt idx="2224">
                  <c:v>-0.14700341752104695</c:v>
                </c:pt>
                <c:pt idx="2225">
                  <c:v>-0.15041538162318357</c:v>
                </c:pt>
                <c:pt idx="2226">
                  <c:v>-0.13935706148759408</c:v>
                </c:pt>
                <c:pt idx="2227">
                  <c:v>-0.14095746158761902</c:v>
                </c:pt>
                <c:pt idx="2228">
                  <c:v>-0.13265538606873939</c:v>
                </c:pt>
                <c:pt idx="2229">
                  <c:v>-0.13465032924897891</c:v>
                </c:pt>
                <c:pt idx="2230">
                  <c:v>-0.12564252174154644</c:v>
                </c:pt>
                <c:pt idx="2231">
                  <c:v>-0.13149398460726291</c:v>
                </c:pt>
                <c:pt idx="2232">
                  <c:v>-0.12716512461448692</c:v>
                </c:pt>
                <c:pt idx="2233">
                  <c:v>-0.12648717734989301</c:v>
                </c:pt>
                <c:pt idx="2234">
                  <c:v>-0.11718485176849758</c:v>
                </c:pt>
                <c:pt idx="2235">
                  <c:v>-0.11925759217582166</c:v>
                </c:pt>
                <c:pt idx="2236">
                  <c:v>-0.11236142368925572</c:v>
                </c:pt>
                <c:pt idx="2237">
                  <c:v>-0.11028868328193164</c:v>
                </c:pt>
                <c:pt idx="2238">
                  <c:v>-0.11226695562779587</c:v>
                </c:pt>
                <c:pt idx="2239">
                  <c:v>-0.12653163290822711</c:v>
                </c:pt>
                <c:pt idx="2240">
                  <c:v>-0.12720958017282091</c:v>
                </c:pt>
                <c:pt idx="2241">
                  <c:v>-0.14544191603456424</c:v>
                </c:pt>
                <c:pt idx="2242">
                  <c:v>-0.14465838681892695</c:v>
                </c:pt>
                <c:pt idx="2243">
                  <c:v>-0.13980161707093441</c:v>
                </c:pt>
                <c:pt idx="2244">
                  <c:v>-0.15257147620238387</c:v>
                </c:pt>
                <c:pt idx="2245">
                  <c:v>-0.15617793337223196</c:v>
                </c:pt>
                <c:pt idx="2246">
                  <c:v>-0.14275235475535542</c:v>
                </c:pt>
                <c:pt idx="2247">
                  <c:v>-0.15946208774415827</c:v>
                </c:pt>
                <c:pt idx="2248">
                  <c:v>-0.16560806868383759</c:v>
                </c:pt>
                <c:pt idx="2249">
                  <c:v>-0.19583229140618486</c:v>
                </c:pt>
                <c:pt idx="2250">
                  <c:v>-0.18873051596232382</c:v>
                </c:pt>
                <c:pt idx="2251">
                  <c:v>-0.18250673779556004</c:v>
                </c:pt>
                <c:pt idx="2252">
                  <c:v>-0.182640104470562</c:v>
                </c:pt>
                <c:pt idx="2253">
                  <c:v>-0.18732460893001024</c:v>
                </c:pt>
                <c:pt idx="2254">
                  <c:v>-0.19779389291767391</c:v>
                </c:pt>
                <c:pt idx="2255">
                  <c:v>-0.18620210608207599</c:v>
                </c:pt>
                <c:pt idx="2256">
                  <c:v>-0.19317051485093495</c:v>
                </c:pt>
                <c:pt idx="2257">
                  <c:v>-0.20226167653024374</c:v>
                </c:pt>
                <c:pt idx="2258">
                  <c:v>-0.18652996582478942</c:v>
                </c:pt>
                <c:pt idx="2259">
                  <c:v>-0.17328776638604093</c:v>
                </c:pt>
                <c:pt idx="2260">
                  <c:v>-0.1755938984746187</c:v>
                </c:pt>
                <c:pt idx="2261">
                  <c:v>-0.18039509877469362</c:v>
                </c:pt>
                <c:pt idx="2262">
                  <c:v>-0.18815815064877328</c:v>
                </c:pt>
                <c:pt idx="2263">
                  <c:v>-0.18297352115806731</c:v>
                </c:pt>
                <c:pt idx="2264">
                  <c:v>-0.17943930427051202</c:v>
                </c:pt>
                <c:pt idx="2265">
                  <c:v>-0.18587424633936267</c:v>
                </c:pt>
                <c:pt idx="2266">
                  <c:v>-0.21703759273151624</c:v>
                </c:pt>
                <c:pt idx="2267">
                  <c:v>-0.22852935456086243</c:v>
                </c:pt>
                <c:pt idx="2268">
                  <c:v>-0.28098691339501536</c:v>
                </c:pt>
                <c:pt idx="2269">
                  <c:v>-0.2531799616570809</c:v>
                </c:pt>
                <c:pt idx="2270">
                  <c:v>-0.25584729515712257</c:v>
                </c:pt>
                <c:pt idx="2271">
                  <c:v>-0.26199883304159377</c:v>
                </c:pt>
                <c:pt idx="2272">
                  <c:v>-0.26825595287710813</c:v>
                </c:pt>
                <c:pt idx="2273">
                  <c:v>-0.23096329637965041</c:v>
                </c:pt>
                <c:pt idx="2274">
                  <c:v>-0.24388874996526899</c:v>
                </c:pt>
                <c:pt idx="2275">
                  <c:v>-0.26342141090828264</c:v>
                </c:pt>
                <c:pt idx="2276">
                  <c:v>-0.24150482064960677</c:v>
                </c:pt>
                <c:pt idx="2277">
                  <c:v>-0.22582312244727842</c:v>
                </c:pt>
                <c:pt idx="2278">
                  <c:v>-0.21983829290655987</c:v>
                </c:pt>
                <c:pt idx="2279">
                  <c:v>-0.21392014670334247</c:v>
                </c:pt>
                <c:pt idx="2280">
                  <c:v>-0.23387513545052929</c:v>
                </c:pt>
                <c:pt idx="2281">
                  <c:v>-0.23295268261509827</c:v>
                </c:pt>
                <c:pt idx="2282">
                  <c:v>-0.23007974215776161</c:v>
                </c:pt>
                <c:pt idx="2283">
                  <c:v>-0.22576199605456915</c:v>
                </c:pt>
                <c:pt idx="2284">
                  <c:v>-0.19832180267289035</c:v>
                </c:pt>
                <c:pt idx="2285">
                  <c:v>-0.21589286210441494</c:v>
                </c:pt>
                <c:pt idx="2286">
                  <c:v>-0.21436470228668281</c:v>
                </c:pt>
                <c:pt idx="2287">
                  <c:v>-0.21115834514184106</c:v>
                </c:pt>
                <c:pt idx="2288">
                  <c:v>-0.2108916117918368</c:v>
                </c:pt>
                <c:pt idx="2289">
                  <c:v>-0.23492539801617074</c:v>
                </c:pt>
                <c:pt idx="2290">
                  <c:v>-0.25794782028840546</c:v>
                </c:pt>
                <c:pt idx="2291">
                  <c:v>-0.2457114278569642</c:v>
                </c:pt>
                <c:pt idx="2292">
                  <c:v>-0.25627517990608772</c:v>
                </c:pt>
                <c:pt idx="2293">
                  <c:v>-0.25922036064571696</c:v>
                </c:pt>
                <c:pt idx="2294">
                  <c:v>-0.26946736684171035</c:v>
                </c:pt>
                <c:pt idx="2295">
                  <c:v>-0.27790836598038393</c:v>
                </c:pt>
                <c:pt idx="2296">
                  <c:v>-0.25913144952904887</c:v>
                </c:pt>
                <c:pt idx="2297">
                  <c:v>-0.24910672112472565</c:v>
                </c:pt>
                <c:pt idx="2298">
                  <c:v>-0.25125170181434242</c:v>
                </c:pt>
                <c:pt idx="2299">
                  <c:v>-0.24316079019754933</c:v>
                </c:pt>
                <c:pt idx="2300">
                  <c:v>-0.21157511600122259</c:v>
                </c:pt>
                <c:pt idx="2301">
                  <c:v>-0.20484565585840897</c:v>
                </c:pt>
                <c:pt idx="2302">
                  <c:v>-0.2003556444666722</c:v>
                </c:pt>
                <c:pt idx="2303">
                  <c:v>-0.19919424300519573</c:v>
                </c:pt>
                <c:pt idx="2304">
                  <c:v>-0.19463199133116615</c:v>
                </c:pt>
                <c:pt idx="2305">
                  <c:v>-0.18816926453835681</c:v>
                </c:pt>
                <c:pt idx="2306">
                  <c:v>-0.19404295518324033</c:v>
                </c:pt>
                <c:pt idx="2307">
                  <c:v>-0.19279819954988753</c:v>
                </c:pt>
                <c:pt idx="2308">
                  <c:v>-0.19805506932288619</c:v>
                </c:pt>
                <c:pt idx="2309">
                  <c:v>-0.19582673446139309</c:v>
                </c:pt>
                <c:pt idx="2310">
                  <c:v>-0.18229001694868163</c:v>
                </c:pt>
                <c:pt idx="2311">
                  <c:v>-0.17269317329332334</c:v>
                </c:pt>
                <c:pt idx="2312">
                  <c:v>-0.16295184907337945</c:v>
                </c:pt>
                <c:pt idx="2313">
                  <c:v>-0.16350198660776305</c:v>
                </c:pt>
                <c:pt idx="2314">
                  <c:v>-0.15748381539829392</c:v>
                </c:pt>
                <c:pt idx="2315">
                  <c:v>-0.14598093967936432</c:v>
                </c:pt>
                <c:pt idx="2316">
                  <c:v>-0.14050734905948703</c:v>
                </c:pt>
                <c:pt idx="2317">
                  <c:v>-0.14851490650440391</c:v>
                </c:pt>
                <c:pt idx="2318">
                  <c:v>-0.1498319024200494</c:v>
                </c:pt>
                <c:pt idx="2319">
                  <c:v>-0.15532216387430187</c:v>
                </c:pt>
                <c:pt idx="2320">
                  <c:v>-0.15770609318996409</c:v>
                </c:pt>
                <c:pt idx="2321">
                  <c:v>-0.15161568169820228</c:v>
                </c:pt>
                <c:pt idx="2322">
                  <c:v>-0.14394709788558246</c:v>
                </c:pt>
                <c:pt idx="2323">
                  <c:v>-0.14133533383345831</c:v>
                </c:pt>
                <c:pt idx="2324">
                  <c:v>-0.13733989052818751</c:v>
                </c:pt>
                <c:pt idx="2325">
                  <c:v>-0.13116056791975772</c:v>
                </c:pt>
                <c:pt idx="2326">
                  <c:v>-0.12290850490400385</c:v>
                </c:pt>
                <c:pt idx="2327">
                  <c:v>-0.10430941068600486</c:v>
                </c:pt>
                <c:pt idx="2328">
                  <c:v>-0.1081826012058571</c:v>
                </c:pt>
                <c:pt idx="2329">
                  <c:v>-0.10517629407351836</c:v>
                </c:pt>
                <c:pt idx="2330">
                  <c:v>-0.10091411741824341</c:v>
                </c:pt>
                <c:pt idx="2331">
                  <c:v>-0.12254730349253984</c:v>
                </c:pt>
                <c:pt idx="2332">
                  <c:v>-0.1137395459976106</c:v>
                </c:pt>
                <c:pt idx="2333">
                  <c:v>-0.11657358784140481</c:v>
                </c:pt>
                <c:pt idx="2334">
                  <c:v>-0.13247200689061145</c:v>
                </c:pt>
                <c:pt idx="2335">
                  <c:v>-0.11240587924758971</c:v>
                </c:pt>
                <c:pt idx="2336">
                  <c:v>-0.10412047456308515</c:v>
                </c:pt>
                <c:pt idx="2337">
                  <c:v>-0.10883832069128385</c:v>
                </c:pt>
                <c:pt idx="2338">
                  <c:v>-0.10717679419854953</c:v>
                </c:pt>
                <c:pt idx="2339">
                  <c:v>-0.12108582701230852</c:v>
                </c:pt>
                <c:pt idx="2340">
                  <c:v>-0.11982440054458054</c:v>
                </c:pt>
                <c:pt idx="2341">
                  <c:v>-0.13887916423550328</c:v>
                </c:pt>
                <c:pt idx="2342">
                  <c:v>-0.12254730349253984</c:v>
                </c:pt>
                <c:pt idx="2343">
                  <c:v>-0.12318635214359153</c:v>
                </c:pt>
                <c:pt idx="2344">
                  <c:v>-0.10951626795587777</c:v>
                </c:pt>
                <c:pt idx="2345">
                  <c:v>-0.10343697035369948</c:v>
                </c:pt>
                <c:pt idx="2346">
                  <c:v>-9.2239726598316252E-2</c:v>
                </c:pt>
                <c:pt idx="2347">
                  <c:v>-9.1672918229557365E-2</c:v>
                </c:pt>
                <c:pt idx="2348">
                  <c:v>-7.2823761495929507E-2</c:v>
                </c:pt>
                <c:pt idx="2349">
                  <c:v>-7.4518629657414293E-2</c:v>
                </c:pt>
                <c:pt idx="2350">
                  <c:v>-7.5107665805340118E-2</c:v>
                </c:pt>
                <c:pt idx="2351">
                  <c:v>-6.2526742796810253E-2</c:v>
                </c:pt>
                <c:pt idx="2352">
                  <c:v>-6.9956377983384721E-2</c:v>
                </c:pt>
                <c:pt idx="2353">
                  <c:v>-7.1984662832374702E-2</c:v>
                </c:pt>
                <c:pt idx="2354">
                  <c:v>-7.2812647606345982E-2</c:v>
                </c:pt>
                <c:pt idx="2355">
                  <c:v>-6.0181712094690365E-2</c:v>
                </c:pt>
                <c:pt idx="2356">
                  <c:v>-3.9159789947486923E-2</c:v>
                </c:pt>
                <c:pt idx="2357">
                  <c:v>-4.1071378955850002E-2</c:v>
                </c:pt>
                <c:pt idx="2358">
                  <c:v>-3.7025923147453454E-2</c:v>
                </c:pt>
                <c:pt idx="2359">
                  <c:v>-4.5489150065294082E-2</c:v>
                </c:pt>
                <c:pt idx="2360">
                  <c:v>-6.3893751215581718E-2</c:v>
                </c:pt>
                <c:pt idx="2361">
                  <c:v>-6.7694701453141048E-2</c:v>
                </c:pt>
                <c:pt idx="2362">
                  <c:v>-8.445444694506965E-2</c:v>
                </c:pt>
                <c:pt idx="2363">
                  <c:v>-6.097635519991107E-2</c:v>
                </c:pt>
                <c:pt idx="2364">
                  <c:v>-5.4369147842516119E-2</c:v>
                </c:pt>
                <c:pt idx="2365">
                  <c:v>-5.082381706537753E-2</c:v>
                </c:pt>
                <c:pt idx="2366">
                  <c:v>-6.7027868078130548E-2</c:v>
                </c:pt>
                <c:pt idx="2367">
                  <c:v>-7.4551971326164757E-2</c:v>
                </c:pt>
                <c:pt idx="2368">
                  <c:v>-6.7911422300019453E-2</c:v>
                </c:pt>
                <c:pt idx="2369">
                  <c:v>-5.4063515878969737E-2</c:v>
                </c:pt>
                <c:pt idx="2370">
                  <c:v>-6.0831874635325467E-2</c:v>
                </c:pt>
                <c:pt idx="2371">
                  <c:v>-4.3960990247561837E-2</c:v>
                </c:pt>
                <c:pt idx="2372">
                  <c:v>-3.3180517351560135E-2</c:v>
                </c:pt>
                <c:pt idx="2373">
                  <c:v>-3.8198438498513565E-2</c:v>
                </c:pt>
                <c:pt idx="2374">
                  <c:v>-4.6478286238226141E-2</c:v>
                </c:pt>
                <c:pt idx="2375">
                  <c:v>-3.8737462143313639E-2</c:v>
                </c:pt>
                <c:pt idx="2376">
                  <c:v>-5.6480786863382426E-2</c:v>
                </c:pt>
                <c:pt idx="2377">
                  <c:v>-6.3332499791614594E-2</c:v>
                </c:pt>
                <c:pt idx="2378">
                  <c:v>-5.9876080131143872E-2</c:v>
                </c:pt>
                <c:pt idx="2379">
                  <c:v>-8.0747964768969949E-2</c:v>
                </c:pt>
                <c:pt idx="2380">
                  <c:v>-7.4968742185546278E-2</c:v>
                </c:pt>
                <c:pt idx="2381">
                  <c:v>-5.1846294907060053E-2</c:v>
                </c:pt>
                <c:pt idx="2382">
                  <c:v>-6.9895251590675445E-2</c:v>
                </c:pt>
                <c:pt idx="2383">
                  <c:v>-6.1015253813453296E-2</c:v>
                </c:pt>
                <c:pt idx="2384">
                  <c:v>-7.4390819927203977E-2</c:v>
                </c:pt>
                <c:pt idx="2385">
                  <c:v>-6.4299408185379714E-2</c:v>
                </c:pt>
                <c:pt idx="2386">
                  <c:v>-6.2832374760356746E-2</c:v>
                </c:pt>
                <c:pt idx="2387">
                  <c:v>-3.7915034314134122E-2</c:v>
                </c:pt>
                <c:pt idx="2388">
                  <c:v>-3.8620766302686738E-2</c:v>
                </c:pt>
                <c:pt idx="2389">
                  <c:v>-5.1968547692478717E-2</c:v>
                </c:pt>
                <c:pt idx="2390">
                  <c:v>-5.8192325859242611E-2</c:v>
                </c:pt>
                <c:pt idx="2391">
                  <c:v>-6.3226917840571217E-2</c:v>
                </c:pt>
                <c:pt idx="2392">
                  <c:v>-6.484398877497155E-2</c:v>
                </c:pt>
                <c:pt idx="2393">
                  <c:v>-7.2896001778222419E-2</c:v>
                </c:pt>
                <c:pt idx="2394">
                  <c:v>-7.1023311383401344E-2</c:v>
                </c:pt>
                <c:pt idx="2395">
                  <c:v>-5.6564141035258753E-2</c:v>
                </c:pt>
                <c:pt idx="2396">
                  <c:v>-3.4730904948459318E-2</c:v>
                </c:pt>
                <c:pt idx="2397">
                  <c:v>-2.9179517101497576E-2</c:v>
                </c:pt>
                <c:pt idx="2398">
                  <c:v>-3.1363396404656796E-2</c:v>
                </c:pt>
                <c:pt idx="2399">
                  <c:v>-2.6006501625406298E-2</c:v>
                </c:pt>
                <c:pt idx="2400">
                  <c:v>-1.7571059431524483E-2</c:v>
                </c:pt>
                <c:pt idx="2401">
                  <c:v>-1.9899419299269194E-2</c:v>
                </c:pt>
                <c:pt idx="2402">
                  <c:v>-1.0297018699119254E-2</c:v>
                </c:pt>
                <c:pt idx="2403">
                  <c:v>-1.0958295129337881E-2</c:v>
                </c:pt>
                <c:pt idx="2404">
                  <c:v>-1.7382123308604891E-2</c:v>
                </c:pt>
                <c:pt idx="2405">
                  <c:v>-3.1674585312995163E-3</c:v>
                </c:pt>
                <c:pt idx="2406">
                  <c:v>-1.6231835736711941E-2</c:v>
                </c:pt>
                <c:pt idx="2407">
                  <c:v>-1.7943374732572015E-2</c:v>
                </c:pt>
                <c:pt idx="2408">
                  <c:v>-4.4338862493401132E-2</c:v>
                </c:pt>
                <c:pt idx="2409">
                  <c:v>-3.9443194131866366E-2</c:v>
                </c:pt>
                <c:pt idx="2410">
                  <c:v>-2.3228029229529601E-2</c:v>
                </c:pt>
                <c:pt idx="2411">
                  <c:v>-2.8673835125447966E-2</c:v>
                </c:pt>
                <c:pt idx="2412">
                  <c:v>-7.8075074324136517E-3</c:v>
                </c:pt>
                <c:pt idx="2413">
                  <c:v>-1.487038426273235E-2</c:v>
                </c:pt>
                <c:pt idx="2414">
                  <c:v>-2.5750882164985667E-2</c:v>
                </c:pt>
                <c:pt idx="2415">
                  <c:v>-2.0138367925314649E-2</c:v>
                </c:pt>
                <c:pt idx="2416">
                  <c:v>6.2237781667651149E-4</c:v>
                </c:pt>
                <c:pt idx="2417">
                  <c:v>-1.783779278152875E-3</c:v>
                </c:pt>
                <c:pt idx="2418">
                  <c:v>5.2346419938318345E-3</c:v>
                </c:pt>
                <c:pt idx="2419">
                  <c:v>1.8221221972159585E-2</c:v>
                </c:pt>
                <c:pt idx="2420">
                  <c:v>2.1533161068044704E-2</c:v>
                </c:pt>
                <c:pt idx="2421">
                  <c:v>2.9340668500458467E-2</c:v>
                </c:pt>
                <c:pt idx="2422">
                  <c:v>2.2700119474313052E-2</c:v>
                </c:pt>
                <c:pt idx="2423">
                  <c:v>6.5238531855185133E-3</c:v>
                </c:pt>
                <c:pt idx="2424">
                  <c:v>2.2950181989942475E-3</c:v>
                </c:pt>
                <c:pt idx="2425">
                  <c:v>-6.2793476146805194E-4</c:v>
                </c:pt>
                <c:pt idx="2426">
                  <c:v>-2.2983523658692384E-2</c:v>
                </c:pt>
                <c:pt idx="2427">
                  <c:v>-1.0341474257453243E-2</c:v>
                </c:pt>
                <c:pt idx="2428">
                  <c:v>1.2408657719985561E-2</c:v>
                </c:pt>
                <c:pt idx="2429">
                  <c:v>2.9624072684837799E-2</c:v>
                </c:pt>
                <c:pt idx="2430">
                  <c:v>2.8134811480647892E-2</c:v>
                </c:pt>
                <c:pt idx="2431">
                  <c:v>3.0552082465060693E-2</c:v>
                </c:pt>
                <c:pt idx="2432">
                  <c:v>3.2641493706760061E-2</c:v>
                </c:pt>
                <c:pt idx="2433">
                  <c:v>2.3711483426412272E-2</c:v>
                </c:pt>
                <c:pt idx="2434">
                  <c:v>1.7765552499235948E-2</c:v>
                </c:pt>
                <c:pt idx="2435">
                  <c:v>1.1980772971020404E-2</c:v>
                </c:pt>
                <c:pt idx="2436">
                  <c:v>2.6717790558750787E-2</c:v>
                </c:pt>
                <c:pt idx="2437">
                  <c:v>9.5746158761913502E-3</c:v>
                </c:pt>
                <c:pt idx="2438">
                  <c:v>2.1410908282626151E-2</c:v>
                </c:pt>
                <c:pt idx="2439">
                  <c:v>9.9135895084883074E-3</c:v>
                </c:pt>
                <c:pt idx="2440">
                  <c:v>1.9732710955516541E-2</c:v>
                </c:pt>
                <c:pt idx="2441">
                  <c:v>1.6454113528382219E-2</c:v>
                </c:pt>
                <c:pt idx="2442">
                  <c:v>2.8123697591064589E-2</c:v>
                </c:pt>
                <c:pt idx="2443">
                  <c:v>3.4686449390125329E-2</c:v>
                </c:pt>
                <c:pt idx="2444">
                  <c:v>3.7409352338084512E-2</c:v>
                </c:pt>
                <c:pt idx="2445">
                  <c:v>1.4870384262732239E-2</c:v>
                </c:pt>
                <c:pt idx="2446">
                  <c:v>1.618182323358619E-2</c:v>
                </c:pt>
                <c:pt idx="2447">
                  <c:v>1.1564002111638993E-2</c:v>
                </c:pt>
                <c:pt idx="2448">
                  <c:v>1.9882748464894018E-2</c:v>
                </c:pt>
                <c:pt idx="2449">
                  <c:v>1.5837292656497359E-2</c:v>
                </c:pt>
                <c:pt idx="2450">
                  <c:v>9.3690089188964709E-3</c:v>
                </c:pt>
                <c:pt idx="2451">
                  <c:v>-8.5632519240920191E-3</c:v>
                </c:pt>
                <c:pt idx="2452">
                  <c:v>-2.5428579367063997E-2</c:v>
                </c:pt>
                <c:pt idx="2453">
                  <c:v>-9.841349226195506E-3</c:v>
                </c:pt>
                <c:pt idx="2454">
                  <c:v>-2.7429079492095165E-2</c:v>
                </c:pt>
                <c:pt idx="2455">
                  <c:v>-1.1919646578311238E-2</c:v>
                </c:pt>
                <c:pt idx="2456">
                  <c:v>-1.7643299713817395E-2</c:v>
                </c:pt>
                <c:pt idx="2457">
                  <c:v>-1.7020921897140884E-2</c:v>
                </c:pt>
                <c:pt idx="2458">
                  <c:v>-1.3420021672084559E-2</c:v>
                </c:pt>
                <c:pt idx="2459">
                  <c:v>8.0131143897086421E-3</c:v>
                </c:pt>
                <c:pt idx="2460">
                  <c:v>1.3192186935622852E-2</c:v>
                </c:pt>
                <c:pt idx="2461">
                  <c:v>1.7782223333617786E-4</c:v>
                </c:pt>
                <c:pt idx="2462">
                  <c:v>1.2447556333528009E-3</c:v>
                </c:pt>
                <c:pt idx="2463">
                  <c:v>-1.0758245116834764E-2</c:v>
                </c:pt>
                <c:pt idx="2464">
                  <c:v>-1.7509933038815206E-2</c:v>
                </c:pt>
                <c:pt idx="2465">
                  <c:v>-1.7220971909644112E-2</c:v>
                </c:pt>
                <c:pt idx="2466">
                  <c:v>-1.1775166013725635E-2</c:v>
                </c:pt>
                <c:pt idx="2467">
                  <c:v>1.047484093245532E-2</c:v>
                </c:pt>
                <c:pt idx="2468">
                  <c:v>1.7726653885693722E-2</c:v>
                </c:pt>
                <c:pt idx="2469">
                  <c:v>1.9966102636770344E-2</c:v>
                </c:pt>
                <c:pt idx="2470">
                  <c:v>2.4661720985801994E-2</c:v>
                </c:pt>
                <c:pt idx="2471">
                  <c:v>1.4698118974187935E-2</c:v>
                </c:pt>
                <c:pt idx="2472">
                  <c:v>1.2569809118946562E-2</c:v>
                </c:pt>
                <c:pt idx="2473">
                  <c:v>-5.5569447917536152E-4</c:v>
                </c:pt>
                <c:pt idx="2474">
                  <c:v>-9.113389458474952E-4</c:v>
                </c:pt>
                <c:pt idx="2475">
                  <c:v>1.1413964602261739E-2</c:v>
                </c:pt>
                <c:pt idx="2476">
                  <c:v>2.6695562779583737E-2</c:v>
                </c:pt>
                <c:pt idx="2477">
                  <c:v>4.2916284626712153E-2</c:v>
                </c:pt>
                <c:pt idx="2478">
                  <c:v>4.9234530854936009E-2</c:v>
                </c:pt>
                <c:pt idx="2479">
                  <c:v>5.7030924397766247E-2</c:v>
                </c:pt>
                <c:pt idx="2480">
                  <c:v>5.4791475646689625E-2</c:v>
                </c:pt>
                <c:pt idx="2481">
                  <c:v>6.0893001028034854E-2</c:v>
                </c:pt>
                <c:pt idx="2482">
                  <c:v>5.9864966241560458E-2</c:v>
                </c:pt>
                <c:pt idx="2483">
                  <c:v>6.6599983329165724E-2</c:v>
                </c:pt>
                <c:pt idx="2484">
                  <c:v>6.3426967853074334E-2</c:v>
                </c:pt>
                <c:pt idx="2485">
                  <c:v>5.9259259259259345E-2</c:v>
                </c:pt>
                <c:pt idx="2486">
                  <c:v>6.2787919202022646E-2</c:v>
                </c:pt>
                <c:pt idx="2487">
                  <c:v>7.1495651690700601E-2</c:v>
                </c:pt>
                <c:pt idx="2488">
                  <c:v>7.84696174043511E-2</c:v>
                </c:pt>
                <c:pt idx="2489">
                  <c:v>7.0017504376093997E-2</c:v>
                </c:pt>
                <c:pt idx="2490">
                  <c:v>4.6795032091356159E-2</c:v>
                </c:pt>
                <c:pt idx="2491">
                  <c:v>4.8517684976799647E-2</c:v>
                </c:pt>
                <c:pt idx="2492">
                  <c:v>3.4608652163040654E-2</c:v>
                </c:pt>
                <c:pt idx="2493">
                  <c:v>3.1541218637992863E-2</c:v>
                </c:pt>
                <c:pt idx="2494">
                  <c:v>2.4561695979550491E-2</c:v>
                </c:pt>
                <c:pt idx="2495">
                  <c:v>3.6025673084937981E-2</c:v>
                </c:pt>
                <c:pt idx="2496">
                  <c:v>3.8065071823511376E-2</c:v>
                </c:pt>
                <c:pt idx="2497">
                  <c:v>1.9710483176349713E-2</c:v>
                </c:pt>
                <c:pt idx="2498">
                  <c:v>1.0352588147036768E-2</c:v>
                </c:pt>
                <c:pt idx="2499">
                  <c:v>9.8469061709871575E-3</c:v>
                </c:pt>
                <c:pt idx="2500">
                  <c:v>5.4180211719596638E-3</c:v>
                </c:pt>
                <c:pt idx="2501">
                  <c:v>-7.2462560084465277E-3</c:v>
                </c:pt>
                <c:pt idx="2502">
                  <c:v>-8.0020005001257832E-4</c:v>
                </c:pt>
                <c:pt idx="2503">
                  <c:v>-1.0830485399127565E-2</c:v>
                </c:pt>
                <c:pt idx="2504">
                  <c:v>-1.2708732738740181E-2</c:v>
                </c:pt>
                <c:pt idx="2505">
                  <c:v>-2.5128504348309266E-2</c:v>
                </c:pt>
                <c:pt idx="2506">
                  <c:v>-9.280097802228382E-3</c:v>
                </c:pt>
                <c:pt idx="2507">
                  <c:v>-1.2114139646022593E-2</c:v>
                </c:pt>
                <c:pt idx="2508">
                  <c:v>1.0391486760578994E-2</c:v>
                </c:pt>
                <c:pt idx="2509">
                  <c:v>1.2769859131449568E-2</c:v>
                </c:pt>
                <c:pt idx="2510">
                  <c:v>2.2966852824317208E-2</c:v>
                </c:pt>
                <c:pt idx="2511">
                  <c:v>1.4453613403350829E-2</c:v>
                </c:pt>
                <c:pt idx="2512">
                  <c:v>7.462976855324932E-3</c:v>
                </c:pt>
                <c:pt idx="2513">
                  <c:v>1.7376566363813239E-2</c:v>
                </c:pt>
                <c:pt idx="2514">
                  <c:v>3.5358839709927592E-2</c:v>
                </c:pt>
                <c:pt idx="2515">
                  <c:v>3.7859464866216719E-2</c:v>
                </c:pt>
                <c:pt idx="2516">
                  <c:v>5.1857408796643467E-2</c:v>
                </c:pt>
                <c:pt idx="2517">
                  <c:v>3.680920230057505E-2</c:v>
                </c:pt>
                <c:pt idx="2518">
                  <c:v>2.6434386374371233E-2</c:v>
                </c:pt>
                <c:pt idx="2519">
                  <c:v>8.090911616793095E-3</c:v>
                </c:pt>
                <c:pt idx="2520">
                  <c:v>5.3568947792503874E-3</c:v>
                </c:pt>
                <c:pt idx="2521">
                  <c:v>1.3697868911672462E-2</c:v>
                </c:pt>
                <c:pt idx="2522">
                  <c:v>4.601150287571798E-3</c:v>
                </c:pt>
                <c:pt idx="2523">
                  <c:v>3.3675085438026331E-2</c:v>
                </c:pt>
                <c:pt idx="2524">
                  <c:v>2.8596037898363402E-2</c:v>
                </c:pt>
                <c:pt idx="2525">
                  <c:v>2.3900419549331753E-2</c:v>
                </c:pt>
                <c:pt idx="2526">
                  <c:v>2.6573309994165184E-2</c:v>
                </c:pt>
                <c:pt idx="2527">
                  <c:v>2.9618515740046147E-2</c:v>
                </c:pt>
                <c:pt idx="2528">
                  <c:v>2.4122697341002031E-2</c:v>
                </c:pt>
                <c:pt idx="2529">
                  <c:v>1.816009557945053E-2</c:v>
                </c:pt>
                <c:pt idx="2530">
                  <c:v>4.2343919313161393E-3</c:v>
                </c:pt>
                <c:pt idx="2531">
                  <c:v>4.6845044594481244E-3</c:v>
                </c:pt>
                <c:pt idx="2532">
                  <c:v>1.7604401100275169E-2</c:v>
                </c:pt>
                <c:pt idx="2533">
                  <c:v>1.7704426106526672E-2</c:v>
                </c:pt>
                <c:pt idx="2534">
                  <c:v>-3.5897863354727999E-3</c:v>
                </c:pt>
                <c:pt idx="2535">
                  <c:v>-1.3336667500207788E-3</c:v>
                </c:pt>
                <c:pt idx="2536">
                  <c:v>-2.4267177905587412E-2</c:v>
                </c:pt>
                <c:pt idx="2537">
                  <c:v>-2.6589980828540472E-2</c:v>
                </c:pt>
                <c:pt idx="2538">
                  <c:v>-2.2055513878469601E-2</c:v>
                </c:pt>
                <c:pt idx="2539">
                  <c:v>-2.2661220860770714E-2</c:v>
                </c:pt>
                <c:pt idx="2540">
                  <c:v>-3.3136061793226035E-2</c:v>
                </c:pt>
                <c:pt idx="2541">
                  <c:v>-2.2205551387846967E-2</c:v>
                </c:pt>
                <c:pt idx="2542">
                  <c:v>-2.2111083326387115E-2</c:v>
                </c:pt>
                <c:pt idx="2543">
                  <c:v>-5.4680336750854153E-3</c:v>
                </c:pt>
                <c:pt idx="2544">
                  <c:v>-7.9075324386652657E-3</c:v>
                </c:pt>
                <c:pt idx="2545">
                  <c:v>1.0591536773082222E-2</c:v>
                </c:pt>
                <c:pt idx="2546">
                  <c:v>4.6956183490316494E-3</c:v>
                </c:pt>
                <c:pt idx="2547">
                  <c:v>1.8710233113834018E-2</c:v>
                </c:pt>
                <c:pt idx="2548">
                  <c:v>1.809341224194938E-2</c:v>
                </c:pt>
                <c:pt idx="2549">
                  <c:v>1.189186185435398E-3</c:v>
                </c:pt>
                <c:pt idx="2550">
                  <c:v>-1.9699369286766188E-2</c:v>
                </c:pt>
                <c:pt idx="2551">
                  <c:v>-2.1321997165958062E-2</c:v>
                </c:pt>
                <c:pt idx="2552">
                  <c:v>-4.8778861382012151E-2</c:v>
                </c:pt>
                <c:pt idx="2553">
                  <c:v>-4.3649801339223693E-2</c:v>
                </c:pt>
                <c:pt idx="2554">
                  <c:v>-3.816509682976299E-2</c:v>
                </c:pt>
                <c:pt idx="2555">
                  <c:v>-1.6670834375260513E-2</c:v>
                </c:pt>
                <c:pt idx="2556">
                  <c:v>-2.1099719374288006E-2</c:v>
                </c:pt>
                <c:pt idx="2557">
                  <c:v>-7.3296101803228542E-3</c:v>
                </c:pt>
                <c:pt idx="2558">
                  <c:v>-1.3447806396043482E-2</c:v>
                </c:pt>
                <c:pt idx="2559">
                  <c:v>-2.2383373621183034E-2</c:v>
                </c:pt>
                <c:pt idx="2560">
                  <c:v>-1.1019421522047157E-2</c:v>
                </c:pt>
                <c:pt idx="2561">
                  <c:v>2.4033786224333831E-2</c:v>
                </c:pt>
                <c:pt idx="2562">
                  <c:v>3.9671028868328184E-2</c:v>
                </c:pt>
                <c:pt idx="2563">
                  <c:v>3.2958239559889968E-2</c:v>
                </c:pt>
                <c:pt idx="2564">
                  <c:v>2.8107026756689191E-2</c:v>
                </c:pt>
                <c:pt idx="2565">
                  <c:v>3.374732572031891E-2</c:v>
                </c:pt>
                <c:pt idx="2566">
                  <c:v>3.9637687199577831E-2</c:v>
                </c:pt>
                <c:pt idx="2567">
                  <c:v>4.5444694506959982E-2</c:v>
                </c:pt>
                <c:pt idx="2568">
                  <c:v>5.0712678169542391E-2</c:v>
                </c:pt>
                <c:pt idx="2569">
                  <c:v>4.1966047067322432E-2</c:v>
                </c:pt>
                <c:pt idx="2570">
                  <c:v>4.8323191909088514E-2</c:v>
                </c:pt>
                <c:pt idx="2571">
                  <c:v>5.4430274235225395E-2</c:v>
                </c:pt>
                <c:pt idx="2572">
                  <c:v>6.5666416604151179E-2</c:v>
                </c:pt>
                <c:pt idx="2573">
                  <c:v>6.4416104026006504E-2</c:v>
                </c:pt>
                <c:pt idx="2574">
                  <c:v>8.4065460809646941E-2</c:v>
                </c:pt>
                <c:pt idx="2575">
                  <c:v>7.7058153427245646E-2</c:v>
                </c:pt>
                <c:pt idx="2576">
                  <c:v>8.79775499430413E-2</c:v>
                </c:pt>
                <c:pt idx="2577">
                  <c:v>8.5738101191964677E-2</c:v>
                </c:pt>
                <c:pt idx="2578">
                  <c:v>8.4943458086744084E-2</c:v>
                </c:pt>
                <c:pt idx="2579">
                  <c:v>7.2545914256341826E-2</c:v>
                </c:pt>
                <c:pt idx="2580">
                  <c:v>8.2053846795032248E-2</c:v>
                </c:pt>
                <c:pt idx="2581">
                  <c:v>8.1781556500236219E-2</c:v>
                </c:pt>
                <c:pt idx="2582">
                  <c:v>7.5235475535550655E-2</c:v>
                </c:pt>
                <c:pt idx="2583">
                  <c:v>6.0804089911366876E-2</c:v>
                </c:pt>
                <c:pt idx="2584">
                  <c:v>6.7761384790642198E-2</c:v>
                </c:pt>
                <c:pt idx="2585">
                  <c:v>7.6419104776193958E-2</c:v>
                </c:pt>
                <c:pt idx="2586">
                  <c:v>9.495151565669202E-2</c:v>
                </c:pt>
                <c:pt idx="2587">
                  <c:v>8.7360729071156662E-2</c:v>
                </c:pt>
                <c:pt idx="2588">
                  <c:v>7.6569142285571434E-2</c:v>
                </c:pt>
                <c:pt idx="2589">
                  <c:v>7.2623711483426501E-2</c:v>
                </c:pt>
                <c:pt idx="2590">
                  <c:v>7.5874524186602121E-2</c:v>
                </c:pt>
                <c:pt idx="2591">
                  <c:v>8.2698452390875365E-2</c:v>
                </c:pt>
                <c:pt idx="2592">
                  <c:v>8.150926620544019E-2</c:v>
                </c:pt>
                <c:pt idx="2593">
                  <c:v>7.2312522575088245E-2</c:v>
                </c:pt>
                <c:pt idx="2594">
                  <c:v>8.0108916117918483E-2</c:v>
                </c:pt>
                <c:pt idx="2595">
                  <c:v>8.4332194159651097E-2</c:v>
                </c:pt>
                <c:pt idx="2596">
                  <c:v>8.6071517879469983E-2</c:v>
                </c:pt>
                <c:pt idx="2597">
                  <c:v>8.3848739962768537E-2</c:v>
                </c:pt>
                <c:pt idx="2598">
                  <c:v>9.5585007362951835E-2</c:v>
                </c:pt>
                <c:pt idx="2599">
                  <c:v>9.7774443610902706E-2</c:v>
                </c:pt>
                <c:pt idx="2600">
                  <c:v>0.11476202383929324</c:v>
                </c:pt>
                <c:pt idx="2601">
                  <c:v>0.11381734322469494</c:v>
                </c:pt>
                <c:pt idx="2602">
                  <c:v>0.1142452279736601</c:v>
                </c:pt>
                <c:pt idx="2603">
                  <c:v>0.11882415048206507</c:v>
                </c:pt>
                <c:pt idx="2604">
                  <c:v>0.11961879358728567</c:v>
                </c:pt>
                <c:pt idx="2605">
                  <c:v>0.12328082020505127</c:v>
                </c:pt>
                <c:pt idx="2606">
                  <c:v>0.11256147370175884</c:v>
                </c:pt>
                <c:pt idx="2607">
                  <c:v>6.9939707149009545E-2</c:v>
                </c:pt>
                <c:pt idx="2608">
                  <c:v>7.2090244783418189E-2</c:v>
                </c:pt>
                <c:pt idx="2609">
                  <c:v>7.3329443471979117E-2</c:v>
                </c:pt>
                <c:pt idx="2610">
                  <c:v>0.10240337862243343</c:v>
                </c:pt>
                <c:pt idx="2611">
                  <c:v>0.11476202383929324</c:v>
                </c:pt>
                <c:pt idx="2612">
                  <c:v>0.10023061320885773</c:v>
                </c:pt>
                <c:pt idx="2613">
                  <c:v>9.5473868467116807E-2</c:v>
                </c:pt>
                <c:pt idx="2614">
                  <c:v>0.10880497902253339</c:v>
                </c:pt>
                <c:pt idx="2615">
                  <c:v>0.12063571448417676</c:v>
                </c:pt>
                <c:pt idx="2616">
                  <c:v>0.11298935845072378</c:v>
                </c:pt>
                <c:pt idx="2617">
                  <c:v>0.11362285015698381</c:v>
                </c:pt>
                <c:pt idx="2618">
                  <c:v>0.10572643160790207</c:v>
                </c:pt>
                <c:pt idx="2619">
                  <c:v>0.10250340362868493</c:v>
                </c:pt>
                <c:pt idx="2620">
                  <c:v>7.2045789225084089E-2</c:v>
                </c:pt>
                <c:pt idx="2621">
                  <c:v>7.8547414631435775E-2</c:v>
                </c:pt>
                <c:pt idx="2622">
                  <c:v>7.4035175460531732E-2</c:v>
                </c:pt>
                <c:pt idx="2623">
                  <c:v>6.988413770109192E-2</c:v>
                </c:pt>
                <c:pt idx="2624">
                  <c:v>4.0599038648551078E-2</c:v>
                </c:pt>
                <c:pt idx="2625">
                  <c:v>6.684448890000283E-2</c:v>
                </c:pt>
                <c:pt idx="2626">
                  <c:v>7.8180656275179894E-2</c:v>
                </c:pt>
                <c:pt idx="2627">
                  <c:v>7.8163985440804717E-2</c:v>
                </c:pt>
                <c:pt idx="2628">
                  <c:v>9.0389263982662449E-2</c:v>
                </c:pt>
                <c:pt idx="2629">
                  <c:v>8.9961379233697292E-2</c:v>
                </c:pt>
                <c:pt idx="2630">
                  <c:v>8.9883582006612839E-2</c:v>
                </c:pt>
                <c:pt idx="2631">
                  <c:v>0.10332583145786445</c:v>
                </c:pt>
                <c:pt idx="2632">
                  <c:v>8.0586813370009169E-2</c:v>
                </c:pt>
                <c:pt idx="2633">
                  <c:v>8.45211302825708E-2</c:v>
                </c:pt>
                <c:pt idx="2634">
                  <c:v>6.1887694145758676E-2</c:v>
                </c:pt>
                <c:pt idx="2635">
                  <c:v>6.4088244283293072E-2</c:v>
                </c:pt>
                <c:pt idx="2636">
                  <c:v>7.3368342085521343E-2</c:v>
                </c:pt>
                <c:pt idx="2637">
                  <c:v>6.2554527520769065E-2</c:v>
                </c:pt>
                <c:pt idx="2638">
                  <c:v>6.3021310883276449E-2</c:v>
                </c:pt>
                <c:pt idx="2639">
                  <c:v>3.072990469839687E-2</c:v>
                </c:pt>
                <c:pt idx="2640">
                  <c:v>3.540329526826147E-2</c:v>
                </c:pt>
                <c:pt idx="2641">
                  <c:v>4.2016059570448183E-2</c:v>
                </c:pt>
                <c:pt idx="2642">
                  <c:v>3.648134255786184E-2</c:v>
                </c:pt>
                <c:pt idx="2643">
                  <c:v>2.119974438053962E-2</c:v>
                </c:pt>
                <c:pt idx="2644">
                  <c:v>3.2574810369259133E-2</c:v>
                </c:pt>
                <c:pt idx="2645">
                  <c:v>4.6650551526770556E-2</c:v>
                </c:pt>
                <c:pt idx="2646">
                  <c:v>5.6658609096718715E-2</c:v>
                </c:pt>
                <c:pt idx="2647">
                  <c:v>5.8647995332166358E-2</c:v>
                </c:pt>
                <c:pt idx="2648">
                  <c:v>7.9653246644994624E-2</c:v>
                </c:pt>
                <c:pt idx="2649">
                  <c:v>6.6066516629157412E-2</c:v>
                </c:pt>
                <c:pt idx="2650">
                  <c:v>3.8776360756855865E-2</c:v>
                </c:pt>
                <c:pt idx="2651">
                  <c:v>4.7378511294490222E-2</c:v>
                </c:pt>
                <c:pt idx="2652">
                  <c:v>7.4218554638659562E-2</c:v>
                </c:pt>
                <c:pt idx="2653">
                  <c:v>6.9145064043788729E-2</c:v>
                </c:pt>
                <c:pt idx="2654">
                  <c:v>6.0498457947820272E-2</c:v>
                </c:pt>
                <c:pt idx="2655">
                  <c:v>4.1754883165235901E-2</c:v>
                </c:pt>
                <c:pt idx="2656">
                  <c:v>6.7088994470839936E-2</c:v>
                </c:pt>
                <c:pt idx="2657">
                  <c:v>0.11807396293517836</c:v>
                </c:pt>
                <c:pt idx="2658">
                  <c:v>0.12267511322275015</c:v>
                </c:pt>
                <c:pt idx="2659">
                  <c:v>0.11668472673723995</c:v>
                </c:pt>
                <c:pt idx="2660">
                  <c:v>0.1452307521324776</c:v>
                </c:pt>
                <c:pt idx="2661">
                  <c:v>0.15043760940235051</c:v>
                </c:pt>
                <c:pt idx="2662">
                  <c:v>0.17092050790475399</c:v>
                </c:pt>
                <c:pt idx="2663">
                  <c:v>0.17100386207663032</c:v>
                </c:pt>
                <c:pt idx="2664">
                  <c:v>0.16824206051512869</c:v>
                </c:pt>
                <c:pt idx="2665">
                  <c:v>0.15588897224306075</c:v>
                </c:pt>
                <c:pt idx="2666">
                  <c:v>0.15665027367953099</c:v>
                </c:pt>
                <c:pt idx="2667">
                  <c:v>0.14086855047095126</c:v>
                </c:pt>
                <c:pt idx="2668">
                  <c:v>0.14904281625962068</c:v>
                </c:pt>
                <c:pt idx="2669">
                  <c:v>0.15471645689200075</c:v>
                </c:pt>
                <c:pt idx="2670">
                  <c:v>0.14613653413353345</c:v>
                </c:pt>
                <c:pt idx="2671">
                  <c:v>0.14057403239698818</c:v>
                </c:pt>
                <c:pt idx="2672">
                  <c:v>0.15148231502320031</c:v>
                </c:pt>
                <c:pt idx="2673">
                  <c:v>0.16299630463171355</c:v>
                </c:pt>
                <c:pt idx="2674">
                  <c:v>0.15387735822844606</c:v>
                </c:pt>
                <c:pt idx="2675">
                  <c:v>0.15096551915756717</c:v>
                </c:pt>
                <c:pt idx="2676">
                  <c:v>0.12540913006029286</c:v>
                </c:pt>
                <c:pt idx="2677">
                  <c:v>0.10495957322663996</c:v>
                </c:pt>
                <c:pt idx="2678">
                  <c:v>4.0565696979800503E-2</c:v>
                </c:pt>
                <c:pt idx="2679">
                  <c:v>7.4990969964713328E-2</c:v>
                </c:pt>
                <c:pt idx="2680">
                  <c:v>0.10585424133811228</c:v>
                </c:pt>
                <c:pt idx="2681">
                  <c:v>9.5040426773359998E-2</c:v>
                </c:pt>
                <c:pt idx="2682">
                  <c:v>0.10047511877969484</c:v>
                </c:pt>
                <c:pt idx="2683">
                  <c:v>9.6890889389013912E-2</c:v>
                </c:pt>
                <c:pt idx="2684">
                  <c:v>0.13339445972604258</c:v>
                </c:pt>
                <c:pt idx="2685">
                  <c:v>0.12085799227584682</c:v>
                </c:pt>
                <c:pt idx="2686">
                  <c:v>0.12399210913839576</c:v>
                </c:pt>
                <c:pt idx="2687">
                  <c:v>0.11447306271012203</c:v>
                </c:pt>
                <c:pt idx="2688">
                  <c:v>0.12661498708010344</c:v>
                </c:pt>
                <c:pt idx="2689">
                  <c:v>0.10977188741629851</c:v>
                </c:pt>
                <c:pt idx="2690">
                  <c:v>8.5954822038843082E-2</c:v>
                </c:pt>
                <c:pt idx="2691">
                  <c:v>8.1742657886693992E-2</c:v>
                </c:pt>
                <c:pt idx="2692">
                  <c:v>9.9452640938012316E-2</c:v>
                </c:pt>
                <c:pt idx="2693">
                  <c:v>9.3056597482704007E-2</c:v>
                </c:pt>
                <c:pt idx="2694">
                  <c:v>8.3882081631519112E-2</c:v>
                </c:pt>
                <c:pt idx="2695">
                  <c:v>6.1815453863465875E-2</c:v>
                </c:pt>
                <c:pt idx="2696">
                  <c:v>8.1036925898141376E-2</c:v>
                </c:pt>
                <c:pt idx="2697">
                  <c:v>9.1156122363924341E-2</c:v>
                </c:pt>
                <c:pt idx="2698">
                  <c:v>0.11529549053930155</c:v>
                </c:pt>
                <c:pt idx="2699">
                  <c:v>0.12581478703009097</c:v>
                </c:pt>
                <c:pt idx="2700">
                  <c:v>0.11191131116112363</c:v>
                </c:pt>
                <c:pt idx="2701">
                  <c:v>0.10383151343391406</c:v>
                </c:pt>
                <c:pt idx="2702">
                  <c:v>8.0631268928343269E-2</c:v>
                </c:pt>
                <c:pt idx="2703">
                  <c:v>7.584673946264342E-2</c:v>
                </c:pt>
                <c:pt idx="2704">
                  <c:v>5.5230474285238085E-2</c:v>
                </c:pt>
                <c:pt idx="2705">
                  <c:v>7.462976855324932E-2</c:v>
                </c:pt>
                <c:pt idx="2706">
                  <c:v>6.1193076046789585E-2</c:v>
                </c:pt>
                <c:pt idx="2707">
                  <c:v>5.8586868939457082E-2</c:v>
                </c:pt>
                <c:pt idx="2708">
                  <c:v>9.2823205801450426E-2</c:v>
                </c:pt>
                <c:pt idx="2709">
                  <c:v>9.1606234892056326E-2</c:v>
                </c:pt>
                <c:pt idx="2710">
                  <c:v>0.11330610430385391</c:v>
                </c:pt>
                <c:pt idx="2711">
                  <c:v>0.13516712511461204</c:v>
                </c:pt>
                <c:pt idx="2712">
                  <c:v>0.12778194548637156</c:v>
                </c:pt>
                <c:pt idx="2713">
                  <c:v>0.12026895612792088</c:v>
                </c:pt>
                <c:pt idx="2714">
                  <c:v>0.1307882526187103</c:v>
                </c:pt>
                <c:pt idx="2715">
                  <c:v>0.12336973132171924</c:v>
                </c:pt>
                <c:pt idx="2716">
                  <c:v>0.11974104637270422</c:v>
                </c:pt>
                <c:pt idx="2717">
                  <c:v>0.11134450279236474</c:v>
                </c:pt>
                <c:pt idx="2718">
                  <c:v>0.12949348448223175</c:v>
                </c:pt>
                <c:pt idx="2719">
                  <c:v>0.13038815259370407</c:v>
                </c:pt>
                <c:pt idx="2720">
                  <c:v>0.13668417104276065</c:v>
                </c:pt>
                <c:pt idx="2721">
                  <c:v>0.1258370148092578</c:v>
                </c:pt>
                <c:pt idx="2722">
                  <c:v>0.14241893806785044</c:v>
                </c:pt>
                <c:pt idx="2723">
                  <c:v>0.13469478480731301</c:v>
                </c:pt>
                <c:pt idx="2724">
                  <c:v>0.13714539746047616</c:v>
                </c:pt>
                <c:pt idx="2725">
                  <c:v>0.1164624489455699</c:v>
                </c:pt>
                <c:pt idx="2726">
                  <c:v>0.1082381706537745</c:v>
                </c:pt>
                <c:pt idx="2727">
                  <c:v>0.11886860604039895</c:v>
                </c:pt>
                <c:pt idx="2728">
                  <c:v>0.11521213636742522</c:v>
                </c:pt>
                <c:pt idx="2729">
                  <c:v>0.11865744213831242</c:v>
                </c:pt>
                <c:pt idx="2730">
                  <c:v>0.10910505404128812</c:v>
                </c:pt>
                <c:pt idx="2731">
                  <c:v>0.11851851851851847</c:v>
                </c:pt>
                <c:pt idx="2732">
                  <c:v>0.13004917896140711</c:v>
                </c:pt>
                <c:pt idx="2733">
                  <c:v>0.11233919591008878</c:v>
                </c:pt>
                <c:pt idx="2734">
                  <c:v>0.12050790475396633</c:v>
                </c:pt>
                <c:pt idx="2735">
                  <c:v>0.13761218082298354</c:v>
                </c:pt>
                <c:pt idx="2736">
                  <c:v>0.13508377094273571</c:v>
                </c:pt>
                <c:pt idx="2737">
                  <c:v>0.13916812536467438</c:v>
                </c:pt>
                <c:pt idx="2738">
                  <c:v>0.14850379261482027</c:v>
                </c:pt>
                <c:pt idx="2739">
                  <c:v>0.15076546914506417</c:v>
                </c:pt>
                <c:pt idx="2740">
                  <c:v>0.16164596704731737</c:v>
                </c:pt>
                <c:pt idx="2741">
                  <c:v>0.16203495318274008</c:v>
                </c:pt>
                <c:pt idx="2742">
                  <c:v>0.14915951210024714</c:v>
                </c:pt>
                <c:pt idx="2743">
                  <c:v>0.14015170459281512</c:v>
                </c:pt>
                <c:pt idx="2744">
                  <c:v>0.15062654552527022</c:v>
                </c:pt>
                <c:pt idx="2745">
                  <c:v>0.13879025311883519</c:v>
                </c:pt>
                <c:pt idx="2746">
                  <c:v>0.12662054402489509</c:v>
                </c:pt>
                <c:pt idx="2747">
                  <c:v>0.13445583618126755</c:v>
                </c:pt>
                <c:pt idx="2748">
                  <c:v>0.11750715456641947</c:v>
                </c:pt>
                <c:pt idx="2749">
                  <c:v>0.11543997110388715</c:v>
                </c:pt>
                <c:pt idx="2750">
                  <c:v>9.2606484954572021E-2</c:v>
                </c:pt>
                <c:pt idx="2751">
                  <c:v>0.1010308132588702</c:v>
                </c:pt>
                <c:pt idx="2752">
                  <c:v>0.10662665666416604</c:v>
                </c:pt>
                <c:pt idx="2753">
                  <c:v>0.10717123725375788</c:v>
                </c:pt>
                <c:pt idx="2754">
                  <c:v>0.11794615320496793</c:v>
                </c:pt>
                <c:pt idx="2755">
                  <c:v>0.12605929260092807</c:v>
                </c:pt>
                <c:pt idx="2756">
                  <c:v>0.13869578505737534</c:v>
                </c:pt>
                <c:pt idx="2757">
                  <c:v>0.14145758661887697</c:v>
                </c:pt>
                <c:pt idx="2758">
                  <c:v>0.13392236948125924</c:v>
                </c:pt>
                <c:pt idx="2759">
                  <c:v>0.12435331054985976</c:v>
                </c:pt>
                <c:pt idx="2760">
                  <c:v>0.13334444722291683</c:v>
                </c:pt>
                <c:pt idx="2761">
                  <c:v>0.14856491900752977</c:v>
                </c:pt>
                <c:pt idx="2762">
                  <c:v>0.14308021449806918</c:v>
                </c:pt>
                <c:pt idx="2763">
                  <c:v>0.13969047817509916</c:v>
                </c:pt>
                <c:pt idx="2764">
                  <c:v>0.15219916090133645</c:v>
                </c:pt>
                <c:pt idx="2765">
                  <c:v>0.14888722180545133</c:v>
                </c:pt>
                <c:pt idx="2766">
                  <c:v>0.15487205134616988</c:v>
                </c:pt>
                <c:pt idx="2767">
                  <c:v>0.15383290267011196</c:v>
                </c:pt>
                <c:pt idx="2768">
                  <c:v>0.15995665583062446</c:v>
                </c:pt>
                <c:pt idx="2769">
                  <c:v>0.16176821983273593</c:v>
                </c:pt>
                <c:pt idx="2770">
                  <c:v>0.16034564196604695</c:v>
                </c:pt>
                <c:pt idx="2771">
                  <c:v>0.16624711733488917</c:v>
                </c:pt>
                <c:pt idx="2772">
                  <c:v>0.16305743102442283</c:v>
                </c:pt>
                <c:pt idx="2773">
                  <c:v>0.15777833347225689</c:v>
                </c:pt>
                <c:pt idx="2774">
                  <c:v>0.16942013281098056</c:v>
                </c:pt>
                <c:pt idx="2775">
                  <c:v>0.17182628990580984</c:v>
                </c:pt>
                <c:pt idx="2776">
                  <c:v>0.16127365174626984</c:v>
                </c:pt>
                <c:pt idx="2777">
                  <c:v>0.14995415520546818</c:v>
                </c:pt>
                <c:pt idx="2778">
                  <c:v>0.15788947236809192</c:v>
                </c:pt>
                <c:pt idx="2779">
                  <c:v>0.15172126364924554</c:v>
                </c:pt>
                <c:pt idx="2780">
                  <c:v>0.14769803562001615</c:v>
                </c:pt>
                <c:pt idx="2781">
                  <c:v>0.14209663526992866</c:v>
                </c:pt>
                <c:pt idx="2782">
                  <c:v>0.14460281737100944</c:v>
                </c:pt>
                <c:pt idx="2783">
                  <c:v>0.14150759912200273</c:v>
                </c:pt>
                <c:pt idx="2784">
                  <c:v>0.12990469839682151</c:v>
                </c:pt>
                <c:pt idx="2785">
                  <c:v>0.11350615431635691</c:v>
                </c:pt>
                <c:pt idx="2786">
                  <c:v>0.12537023144675064</c:v>
                </c:pt>
                <c:pt idx="2787">
                  <c:v>0.11880192270289802</c:v>
                </c:pt>
                <c:pt idx="2788">
                  <c:v>0.11706259898307914</c:v>
                </c:pt>
                <c:pt idx="2789">
                  <c:v>0.11681253646745016</c:v>
                </c:pt>
                <c:pt idx="2790">
                  <c:v>0.10934400266733357</c:v>
                </c:pt>
                <c:pt idx="2791">
                  <c:v>0.10023061320885773</c:v>
                </c:pt>
                <c:pt idx="2792">
                  <c:v>9.9891639576560776E-2</c:v>
                </c:pt>
                <c:pt idx="2793">
                  <c:v>0.12435331054985976</c:v>
                </c:pt>
                <c:pt idx="2794">
                  <c:v>0.10768247617459914</c:v>
                </c:pt>
                <c:pt idx="2795">
                  <c:v>0.10746575532772096</c:v>
                </c:pt>
                <c:pt idx="2796">
                  <c:v>9.9963879858853577E-2</c:v>
                </c:pt>
                <c:pt idx="2797">
                  <c:v>0.10617654413603406</c:v>
                </c:pt>
                <c:pt idx="2798">
                  <c:v>0.10788808313189424</c:v>
                </c:pt>
                <c:pt idx="2799">
                  <c:v>8.6838376260731875E-2</c:v>
                </c:pt>
                <c:pt idx="2800">
                  <c:v>8.1470367591897963E-2</c:v>
                </c:pt>
                <c:pt idx="2801">
                  <c:v>6.9939707149009545E-2</c:v>
                </c:pt>
                <c:pt idx="2802">
                  <c:v>5.2690950515406509E-2</c:v>
                </c:pt>
                <c:pt idx="2803">
                  <c:v>2.5856464116029043E-2</c:v>
                </c:pt>
                <c:pt idx="2804">
                  <c:v>6.0103914867605912E-2</c:v>
                </c:pt>
                <c:pt idx="2805">
                  <c:v>6.0454002389486172E-2</c:v>
                </c:pt>
                <c:pt idx="2806">
                  <c:v>4.1438137312105772E-2</c:v>
                </c:pt>
                <c:pt idx="2807">
                  <c:v>3.5453307771387221E-2</c:v>
                </c:pt>
                <c:pt idx="2808">
                  <c:v>7.1434525297991103E-2</c:v>
                </c:pt>
                <c:pt idx="2809">
                  <c:v>7.7736100691839782E-2</c:v>
                </c:pt>
                <c:pt idx="2810">
                  <c:v>7.685810341474264E-2</c:v>
                </c:pt>
                <c:pt idx="2811">
                  <c:v>7.8675224361645979E-2</c:v>
                </c:pt>
                <c:pt idx="2812">
                  <c:v>5.305770887166239E-2</c:v>
                </c:pt>
                <c:pt idx="2813">
                  <c:v>5.2718735239365433E-2</c:v>
                </c:pt>
                <c:pt idx="2814">
                  <c:v>6.4460559584340604E-2</c:v>
                </c:pt>
                <c:pt idx="2815">
                  <c:v>7.9269817454363567E-2</c:v>
                </c:pt>
                <c:pt idx="2816">
                  <c:v>0.10299797171515102</c:v>
                </c:pt>
                <c:pt idx="2817">
                  <c:v>9.6785307437970536E-2</c:v>
                </c:pt>
                <c:pt idx="2818">
                  <c:v>0.1023478091745158</c:v>
                </c:pt>
                <c:pt idx="2819">
                  <c:v>0.10110861048595488</c:v>
                </c:pt>
                <c:pt idx="2820">
                  <c:v>0.10538190103081324</c:v>
                </c:pt>
                <c:pt idx="2821">
                  <c:v>0.10515962323914319</c:v>
                </c:pt>
                <c:pt idx="2822">
                  <c:v>8.7838626323247349E-2</c:v>
                </c:pt>
                <c:pt idx="2823">
                  <c:v>8.0959128671056702E-2</c:v>
                </c:pt>
                <c:pt idx="2824">
                  <c:v>5.4585868689394523E-2</c:v>
                </c:pt>
                <c:pt idx="2825">
                  <c:v>4.3321941596510261E-2</c:v>
                </c:pt>
                <c:pt idx="2826">
                  <c:v>6.7861409796893701E-2</c:v>
                </c:pt>
                <c:pt idx="2827">
                  <c:v>7.329054485843689E-2</c:v>
                </c:pt>
                <c:pt idx="2828">
                  <c:v>5.9820510683226358E-2</c:v>
                </c:pt>
                <c:pt idx="2829">
                  <c:v>5.6308521574838233E-2</c:v>
                </c:pt>
                <c:pt idx="2830">
                  <c:v>3.6931455085993825E-2</c:v>
                </c:pt>
                <c:pt idx="2831">
                  <c:v>4.0660165041260354E-2</c:v>
                </c:pt>
                <c:pt idx="2832">
                  <c:v>2.1366452724292273E-2</c:v>
                </c:pt>
                <c:pt idx="2833">
                  <c:v>3.637020366202659E-2</c:v>
                </c:pt>
                <c:pt idx="2834">
                  <c:v>4.1932705398571857E-2</c:v>
                </c:pt>
                <c:pt idx="2835">
                  <c:v>3.2091356172376351E-2</c:v>
                </c:pt>
                <c:pt idx="2836">
                  <c:v>3.6864771748492675E-2</c:v>
                </c:pt>
                <c:pt idx="2837">
                  <c:v>1.6042899613792461E-2</c:v>
                </c:pt>
                <c:pt idx="2838">
                  <c:v>1.6259620460670643E-2</c:v>
                </c:pt>
                <c:pt idx="2839">
                  <c:v>2.3789280653496725E-2</c:v>
                </c:pt>
                <c:pt idx="2840">
                  <c:v>6.364924564474439E-2</c:v>
                </c:pt>
                <c:pt idx="2841">
                  <c:v>4.447222916840321E-2</c:v>
                </c:pt>
                <c:pt idx="2842">
                  <c:v>3.8387374621433157E-2</c:v>
                </c:pt>
                <c:pt idx="2843">
                  <c:v>5.8759134228001386E-2</c:v>
                </c:pt>
                <c:pt idx="2844">
                  <c:v>6.6738906948959453E-2</c:v>
                </c:pt>
                <c:pt idx="2845">
                  <c:v>5.9764941235308733E-2</c:v>
                </c:pt>
                <c:pt idx="2846">
                  <c:v>5.1335055986218903E-2</c:v>
                </c:pt>
                <c:pt idx="2847">
                  <c:v>3.6620266177655569E-2</c:v>
                </c:pt>
                <c:pt idx="2848">
                  <c:v>1.4375816176266376E-2</c:v>
                </c:pt>
                <c:pt idx="2849">
                  <c:v>2.2577866688894499E-2</c:v>
                </c:pt>
                <c:pt idx="2850">
                  <c:v>9.3412241949375474E-3</c:v>
                </c:pt>
                <c:pt idx="2851">
                  <c:v>-2.218888055347179E-2</c:v>
                </c:pt>
                <c:pt idx="2852">
                  <c:v>-1.4359145341890978E-2</c:v>
                </c:pt>
                <c:pt idx="2853">
                  <c:v>9.6968686616099031E-3</c:v>
                </c:pt>
                <c:pt idx="2854">
                  <c:v>1.6826428829429529E-2</c:v>
                </c:pt>
                <c:pt idx="2855">
                  <c:v>2.7668028118140731E-2</c:v>
                </c:pt>
                <c:pt idx="2856">
                  <c:v>3.1791281153621842E-2</c:v>
                </c:pt>
                <c:pt idx="2857">
                  <c:v>2.1010808257619917E-2</c:v>
                </c:pt>
                <c:pt idx="2858">
                  <c:v>-7.6074574199105349E-3</c:v>
                </c:pt>
                <c:pt idx="2859">
                  <c:v>4.2238337362118239E-2</c:v>
                </c:pt>
                <c:pt idx="2860">
                  <c:v>3.1268928343196833E-2</c:v>
                </c:pt>
                <c:pt idx="2861">
                  <c:v>4.2121641521493114E-3</c:v>
                </c:pt>
                <c:pt idx="2862">
                  <c:v>2.4950682114972533E-3</c:v>
                </c:pt>
                <c:pt idx="2863">
                  <c:v>6.351587896974209E-3</c:v>
                </c:pt>
                <c:pt idx="2864">
                  <c:v>1.6087355172126339E-2</c:v>
                </c:pt>
                <c:pt idx="2865">
                  <c:v>2.6573309994165184E-2</c:v>
                </c:pt>
                <c:pt idx="2866">
                  <c:v>1.9993887360729046E-2</c:v>
                </c:pt>
                <c:pt idx="2867">
                  <c:v>2.6439943319163106E-2</c:v>
                </c:pt>
                <c:pt idx="2868">
                  <c:v>2.8679392070239951E-2</c:v>
                </c:pt>
                <c:pt idx="2869">
                  <c:v>4.3005195743380353E-2</c:v>
                </c:pt>
                <c:pt idx="2870">
                  <c:v>3.8804145480814789E-2</c:v>
                </c:pt>
                <c:pt idx="2871">
                  <c:v>3.9087549665194121E-2</c:v>
                </c:pt>
                <c:pt idx="2872">
                  <c:v>5.2624267177905582E-2</c:v>
                </c:pt>
                <c:pt idx="2873">
                  <c:v>5.565835903420302E-2</c:v>
                </c:pt>
                <c:pt idx="2874">
                  <c:v>5.041260315078766E-2</c:v>
                </c:pt>
                <c:pt idx="2875">
                  <c:v>4.8484343308049294E-2</c:v>
                </c:pt>
                <c:pt idx="2876">
                  <c:v>5.568058681337007E-2</c:v>
                </c:pt>
                <c:pt idx="2877">
                  <c:v>6.31157789447363E-2</c:v>
                </c:pt>
                <c:pt idx="2878">
                  <c:v>5.7236531355060905E-2</c:v>
                </c:pt>
                <c:pt idx="2879">
                  <c:v>6.3104665055152553E-2</c:v>
                </c:pt>
                <c:pt idx="2880">
                  <c:v>4.4533355561112486E-2</c:v>
                </c:pt>
                <c:pt idx="2881">
                  <c:v>4.8306521074713116E-2</c:v>
                </c:pt>
                <c:pt idx="2882">
                  <c:v>4.6772804312189109E-2</c:v>
                </c:pt>
                <c:pt idx="2883">
                  <c:v>3.8198438498513454E-2</c:v>
                </c:pt>
                <c:pt idx="2884">
                  <c:v>3.1735711705704217E-2</c:v>
                </c:pt>
                <c:pt idx="2885">
                  <c:v>1.8010058070073054E-2</c:v>
                </c:pt>
                <c:pt idx="2886">
                  <c:v>3.0063071323386481E-2</c:v>
                </c:pt>
                <c:pt idx="2887">
                  <c:v>2.1238642994081847E-2</c:v>
                </c:pt>
                <c:pt idx="2888">
                  <c:v>1.919924425550823E-2</c:v>
                </c:pt>
                <c:pt idx="2889">
                  <c:v>2.7562446167097354E-2</c:v>
                </c:pt>
                <c:pt idx="2890">
                  <c:v>8.1520380095023715E-3</c:v>
                </c:pt>
                <c:pt idx="2891">
                  <c:v>-9.3356672501458959E-3</c:v>
                </c:pt>
                <c:pt idx="2892">
                  <c:v>-2.7612458670223106E-2</c:v>
                </c:pt>
                <c:pt idx="2893">
                  <c:v>-2.9479592120252307E-2</c:v>
                </c:pt>
                <c:pt idx="2894">
                  <c:v>-3.4858714678669633E-2</c:v>
                </c:pt>
                <c:pt idx="2895">
                  <c:v>-1.7926703898196727E-2</c:v>
                </c:pt>
                <c:pt idx="2896">
                  <c:v>-2.5378566863938135E-2</c:v>
                </c:pt>
                <c:pt idx="2897">
                  <c:v>-3.9165346892278685E-2</c:v>
                </c:pt>
                <c:pt idx="2898">
                  <c:v>-3.8137312105804178E-2</c:v>
                </c:pt>
                <c:pt idx="2899">
                  <c:v>-4.3599788836097941E-2</c:v>
                </c:pt>
                <c:pt idx="2900">
                  <c:v>-3.7859464866216497E-2</c:v>
                </c:pt>
                <c:pt idx="2901">
                  <c:v>-2.8234836486899506E-2</c:v>
                </c:pt>
                <c:pt idx="2902">
                  <c:v>-2.1777666638881921E-2</c:v>
                </c:pt>
                <c:pt idx="2903">
                  <c:v>-1.9538217887805187E-2</c:v>
                </c:pt>
                <c:pt idx="2904">
                  <c:v>-4.3810952738184472E-2</c:v>
                </c:pt>
                <c:pt idx="2905">
                  <c:v>-8.5093495596121227E-2</c:v>
                </c:pt>
                <c:pt idx="2906">
                  <c:v>-7.1328943346947837E-2</c:v>
                </c:pt>
                <c:pt idx="2907">
                  <c:v>-9.5318274012947679E-2</c:v>
                </c:pt>
                <c:pt idx="2908">
                  <c:v>-8.9989163957656104E-2</c:v>
                </c:pt>
                <c:pt idx="2909">
                  <c:v>-0.10784362757356003</c:v>
                </c:pt>
                <c:pt idx="2910">
                  <c:v>-9.2100802978522411E-2</c:v>
                </c:pt>
                <c:pt idx="2911">
                  <c:v>-0.11394515295490537</c:v>
                </c:pt>
                <c:pt idx="2912">
                  <c:v>-0.12979355950098637</c:v>
                </c:pt>
                <c:pt idx="2913">
                  <c:v>-0.13331110555416625</c:v>
                </c:pt>
                <c:pt idx="2914">
                  <c:v>-0.11605679197577168</c:v>
                </c:pt>
                <c:pt idx="2915">
                  <c:v>-0.10608207607457409</c:v>
                </c:pt>
                <c:pt idx="2916">
                  <c:v>-8.3220805201300374E-2</c:v>
                </c:pt>
                <c:pt idx="2917">
                  <c:v>-0.10551526770581532</c:v>
                </c:pt>
                <c:pt idx="2918">
                  <c:v>-0.10963296379650467</c:v>
                </c:pt>
                <c:pt idx="2919">
                  <c:v>-0.10003056319635462</c:v>
                </c:pt>
                <c:pt idx="2920">
                  <c:v>-0.111250034730905</c:v>
                </c:pt>
                <c:pt idx="2921">
                  <c:v>-0.14181323108554922</c:v>
                </c:pt>
                <c:pt idx="2922">
                  <c:v>-0.14413603400850206</c:v>
                </c:pt>
                <c:pt idx="2923">
                  <c:v>-0.10674335250479283</c:v>
                </c:pt>
                <c:pt idx="2924">
                  <c:v>-0.12438665221861012</c:v>
                </c:pt>
                <c:pt idx="2925">
                  <c:v>-0.11727931982995743</c:v>
                </c:pt>
                <c:pt idx="2926">
                  <c:v>-9.3278875274374062E-2</c:v>
                </c:pt>
                <c:pt idx="2927">
                  <c:v>-9.5201578172320778E-2</c:v>
                </c:pt>
                <c:pt idx="2928">
                  <c:v>-8.153149398460724E-2</c:v>
                </c:pt>
                <c:pt idx="2929">
                  <c:v>-8.4493345558611876E-2</c:v>
                </c:pt>
                <c:pt idx="2930">
                  <c:v>-7.5079881081381417E-2</c:v>
                </c:pt>
                <c:pt idx="2931">
                  <c:v>-3.9059764941235309E-2</c:v>
                </c:pt>
                <c:pt idx="2932">
                  <c:v>-2.6990080853546705E-2</c:v>
                </c:pt>
                <c:pt idx="2933">
                  <c:v>-3.5303270262009967E-2</c:v>
                </c:pt>
                <c:pt idx="2934">
                  <c:v>-4.9756883665360796E-2</c:v>
                </c:pt>
                <c:pt idx="2935">
                  <c:v>-6.1304214942624502E-2</c:v>
                </c:pt>
                <c:pt idx="2936">
                  <c:v>-4.6333805673640538E-2</c:v>
                </c:pt>
                <c:pt idx="2937">
                  <c:v>-4.1771553999610966E-2</c:v>
                </c:pt>
                <c:pt idx="2938">
                  <c:v>-2.7356839209802475E-2</c:v>
                </c:pt>
                <c:pt idx="2939">
                  <c:v>-3.0096412992136834E-2</c:v>
                </c:pt>
                <c:pt idx="2940">
                  <c:v>-1.6909783001305967E-2</c:v>
                </c:pt>
                <c:pt idx="2941">
                  <c:v>-1.6054013503375764E-2</c:v>
                </c:pt>
                <c:pt idx="2942">
                  <c:v>-3.056875329943598E-2</c:v>
                </c:pt>
                <c:pt idx="2943">
                  <c:v>-1.6543024645050197E-2</c:v>
                </c:pt>
                <c:pt idx="2944">
                  <c:v>-1.8926953960712423E-2</c:v>
                </c:pt>
                <c:pt idx="2945">
                  <c:v>-2.0638492956572385E-2</c:v>
                </c:pt>
                <c:pt idx="2946">
                  <c:v>-2.4911783501430862E-2</c:v>
                </c:pt>
                <c:pt idx="2947">
                  <c:v>-2.5056264066016465E-2</c:v>
                </c:pt>
                <c:pt idx="2948">
                  <c:v>-3.2352532577588855E-2</c:v>
                </c:pt>
                <c:pt idx="2949">
                  <c:v>-2.9751882415048225E-2</c:v>
                </c:pt>
                <c:pt idx="2950">
                  <c:v>-2.9340668500458467E-2</c:v>
                </c:pt>
                <c:pt idx="2951">
                  <c:v>-1.5726153760662331E-3</c:v>
                </c:pt>
                <c:pt idx="2952">
                  <c:v>1.155844516684823E-3</c:v>
                </c:pt>
                <c:pt idx="2953">
                  <c:v>4.0454558083964365E-3</c:v>
                </c:pt>
                <c:pt idx="2954">
                  <c:v>2.0266177655525075E-2</c:v>
                </c:pt>
                <c:pt idx="2955">
                  <c:v>1.758773026589977E-2</c:v>
                </c:pt>
                <c:pt idx="2956">
                  <c:v>1.8282348364868639E-3</c:v>
                </c:pt>
                <c:pt idx="2957">
                  <c:v>5.0512628157040051E-3</c:v>
                </c:pt>
                <c:pt idx="2958">
                  <c:v>-6.8183712594814816E-3</c:v>
                </c:pt>
                <c:pt idx="2959">
                  <c:v>-1.4498068961684818E-2</c:v>
                </c:pt>
                <c:pt idx="2960">
                  <c:v>-2.9696312967130711E-2</c:v>
                </c:pt>
                <c:pt idx="2961">
                  <c:v>-2.3594787585785371E-2</c:v>
                </c:pt>
                <c:pt idx="2962">
                  <c:v>-1.9827179016976504E-2</c:v>
                </c:pt>
                <c:pt idx="2963">
                  <c:v>-1.48037009252312E-2</c:v>
                </c:pt>
                <c:pt idx="2964">
                  <c:v>-1.9949431802394058E-3</c:v>
                </c:pt>
                <c:pt idx="2965">
                  <c:v>-1.2391986885610273E-2</c:v>
                </c:pt>
                <c:pt idx="2966">
                  <c:v>-6.979522658442372E-3</c:v>
                </c:pt>
                <c:pt idx="2967">
                  <c:v>-1.6304076019004743E-2</c:v>
                </c:pt>
                <c:pt idx="2968">
                  <c:v>-2.4522797366008153E-2</c:v>
                </c:pt>
                <c:pt idx="2969">
                  <c:v>-2.3378066738906966E-2</c:v>
                </c:pt>
                <c:pt idx="2970">
                  <c:v>-3.4236336861993233E-2</c:v>
                </c:pt>
                <c:pt idx="2971">
                  <c:v>-5.1118335139340387E-2</c:v>
                </c:pt>
                <c:pt idx="2972">
                  <c:v>-5.5402739573782389E-2</c:v>
                </c:pt>
                <c:pt idx="2973">
                  <c:v>-5.9992775971770773E-2</c:v>
                </c:pt>
                <c:pt idx="2974">
                  <c:v>-5.6758634102970107E-2</c:v>
                </c:pt>
                <c:pt idx="2975">
                  <c:v>-4.8506571087216233E-2</c:v>
                </c:pt>
                <c:pt idx="2976">
                  <c:v>-3.7676085688088667E-2</c:v>
                </c:pt>
                <c:pt idx="2977">
                  <c:v>-4.6767247367397347E-2</c:v>
                </c:pt>
                <c:pt idx="2978">
                  <c:v>-5.2018560195604358E-2</c:v>
                </c:pt>
                <c:pt idx="2979">
                  <c:v>-5.3446695007085099E-2</c:v>
                </c:pt>
                <c:pt idx="2980">
                  <c:v>-5.7758884165485802E-2</c:v>
                </c:pt>
                <c:pt idx="2981">
                  <c:v>-4.5978161206968404E-2</c:v>
                </c:pt>
                <c:pt idx="2982">
                  <c:v>-4.7361840460115046E-2</c:v>
                </c:pt>
                <c:pt idx="2983">
                  <c:v>-3.779833847350722E-2</c:v>
                </c:pt>
                <c:pt idx="2984">
                  <c:v>-3.9398738573532155E-2</c:v>
                </c:pt>
                <c:pt idx="2985">
                  <c:v>-5.1051651801839237E-2</c:v>
                </c:pt>
                <c:pt idx="2986">
                  <c:v>-7.3157178183434701E-2</c:v>
                </c:pt>
                <c:pt idx="2987">
                  <c:v>-6.6766691672918155E-2</c:v>
                </c:pt>
                <c:pt idx="2988">
                  <c:v>-8.0158928621044123E-2</c:v>
                </c:pt>
                <c:pt idx="2989">
                  <c:v>-8.1136950904392768E-2</c:v>
                </c:pt>
                <c:pt idx="2990">
                  <c:v>-5.9359284265510737E-2</c:v>
                </c:pt>
                <c:pt idx="2991">
                  <c:v>-5.3480036675835674E-2</c:v>
                </c:pt>
                <c:pt idx="2992">
                  <c:v>-6.3782612319746579E-2</c:v>
                </c:pt>
                <c:pt idx="2993">
                  <c:v>-5.4446945069600794E-2</c:v>
                </c:pt>
                <c:pt idx="2994">
                  <c:v>-5.9614903725931478E-2</c:v>
                </c:pt>
                <c:pt idx="2995">
                  <c:v>-5.3919035314384134E-2</c:v>
                </c:pt>
                <c:pt idx="2996">
                  <c:v>-5.7169848017559866E-2</c:v>
                </c:pt>
                <c:pt idx="2997">
                  <c:v>-7.260148370425934E-2</c:v>
                </c:pt>
                <c:pt idx="2998">
                  <c:v>-8.7683031869078332E-2</c:v>
                </c:pt>
                <c:pt idx="2999">
                  <c:v>-7.3012697618849098E-2</c:v>
                </c:pt>
                <c:pt idx="3000">
                  <c:v>-6.3310272012447544E-2</c:v>
                </c:pt>
                <c:pt idx="3001">
                  <c:v>-6.099858297907812E-2</c:v>
                </c:pt>
                <c:pt idx="3002">
                  <c:v>-6.1971048317635002E-2</c:v>
                </c:pt>
                <c:pt idx="3003">
                  <c:v>-5.6741963268594819E-2</c:v>
                </c:pt>
                <c:pt idx="3004">
                  <c:v>-5.2963240810202539E-2</c:v>
                </c:pt>
                <c:pt idx="3005">
                  <c:v>-4.9112278069517346E-2</c:v>
                </c:pt>
                <c:pt idx="3006">
                  <c:v>-5.3969047817509885E-2</c:v>
                </c:pt>
                <c:pt idx="3007">
                  <c:v>-6.4749520713511699E-2</c:v>
                </c:pt>
                <c:pt idx="3008">
                  <c:v>-6.1654302464505095E-2</c:v>
                </c:pt>
                <c:pt idx="3009">
                  <c:v>-7.778055625017366E-2</c:v>
                </c:pt>
                <c:pt idx="3010">
                  <c:v>-7.7680531243922046E-2</c:v>
                </c:pt>
                <c:pt idx="3011">
                  <c:v>-7.2429218415715035E-2</c:v>
                </c:pt>
                <c:pt idx="3012">
                  <c:v>-7.1456753077158153E-2</c:v>
                </c:pt>
                <c:pt idx="3013">
                  <c:v>-7.4985413019921676E-2</c:v>
                </c:pt>
                <c:pt idx="3014">
                  <c:v>-8.1598177322108278E-2</c:v>
                </c:pt>
                <c:pt idx="3015">
                  <c:v>-7.8730793809563493E-2</c:v>
                </c:pt>
                <c:pt idx="3016">
                  <c:v>-9.4029062821260889E-2</c:v>
                </c:pt>
                <c:pt idx="3017">
                  <c:v>-8.666611097218746E-2</c:v>
                </c:pt>
                <c:pt idx="3018">
                  <c:v>-9.7696646383818142E-2</c:v>
                </c:pt>
                <c:pt idx="3019">
                  <c:v>-9.1350615431635585E-2</c:v>
                </c:pt>
                <c:pt idx="3020">
                  <c:v>-9.3851240587924711E-2</c:v>
                </c:pt>
                <c:pt idx="3021">
                  <c:v>-7.6024561695979487E-2</c:v>
                </c:pt>
                <c:pt idx="3022">
                  <c:v>-8.0481231418965793E-2</c:v>
                </c:pt>
                <c:pt idx="3023">
                  <c:v>-9.4268011447306232E-2</c:v>
                </c:pt>
                <c:pt idx="3024">
                  <c:v>-0.10419271484537806</c:v>
                </c:pt>
                <c:pt idx="3025">
                  <c:v>-0.11935206023728151</c:v>
                </c:pt>
                <c:pt idx="3026">
                  <c:v>-0.11579005862576752</c:v>
                </c:pt>
                <c:pt idx="3027">
                  <c:v>-0.11628462671223361</c:v>
                </c:pt>
                <c:pt idx="3028">
                  <c:v>-0.11704037120391209</c:v>
                </c:pt>
                <c:pt idx="3029">
                  <c:v>-0.13677863910422039</c:v>
                </c:pt>
                <c:pt idx="3030">
                  <c:v>-0.15286043733155508</c:v>
                </c:pt>
                <c:pt idx="3031">
                  <c:v>-0.14757578283459749</c:v>
                </c:pt>
                <c:pt idx="3032">
                  <c:v>-0.14757578283459749</c:v>
                </c:pt>
                <c:pt idx="3033">
                  <c:v>-0.14757578283459749</c:v>
                </c:pt>
                <c:pt idx="3034">
                  <c:v>-0.14757578283459749</c:v>
                </c:pt>
                <c:pt idx="3035">
                  <c:v>-0.14757578283459749</c:v>
                </c:pt>
                <c:pt idx="3036">
                  <c:v>-0.18924175488316519</c:v>
                </c:pt>
                <c:pt idx="3037">
                  <c:v>-0.19394293017698871</c:v>
                </c:pt>
                <c:pt idx="3038">
                  <c:v>-0.20688505459698259</c:v>
                </c:pt>
                <c:pt idx="3039">
                  <c:v>-0.23151343391403401</c:v>
                </c:pt>
                <c:pt idx="3040">
                  <c:v>-0.24613931260592925</c:v>
                </c:pt>
                <c:pt idx="3041">
                  <c:v>-0.21674863160234503</c:v>
                </c:pt>
                <c:pt idx="3042">
                  <c:v>-0.20985246311577888</c:v>
                </c:pt>
                <c:pt idx="3043">
                  <c:v>-0.21368675502208889</c:v>
                </c:pt>
                <c:pt idx="3044">
                  <c:v>-0.2046400489011142</c:v>
                </c:pt>
                <c:pt idx="3045">
                  <c:v>-0.18719124225500816</c:v>
                </c:pt>
                <c:pt idx="3046">
                  <c:v>-0.18905837570503736</c:v>
                </c:pt>
                <c:pt idx="3047">
                  <c:v>-0.17907810285904813</c:v>
                </c:pt>
                <c:pt idx="3048">
                  <c:v>-0.16255174904837322</c:v>
                </c:pt>
                <c:pt idx="3049">
                  <c:v>-0.16461893251090554</c:v>
                </c:pt>
                <c:pt idx="3050">
                  <c:v>-0.16306298796921459</c:v>
                </c:pt>
                <c:pt idx="3051">
                  <c:v>-0.17004806757244861</c:v>
                </c:pt>
                <c:pt idx="3052">
                  <c:v>-0.17444361090272564</c:v>
                </c:pt>
                <c:pt idx="3053">
                  <c:v>-0.15547220138367923</c:v>
                </c:pt>
                <c:pt idx="3054">
                  <c:v>-0.14257453252201935</c:v>
                </c:pt>
                <c:pt idx="3055">
                  <c:v>-0.14708677169292328</c:v>
                </c:pt>
                <c:pt idx="3056">
                  <c:v>-0.14838709677419348</c:v>
                </c:pt>
                <c:pt idx="3057">
                  <c:v>-0.1424800644605595</c:v>
                </c:pt>
                <c:pt idx="3058">
                  <c:v>-0.15840071128893329</c:v>
                </c:pt>
                <c:pt idx="3059">
                  <c:v>-0.16500791864632824</c:v>
                </c:pt>
                <c:pt idx="3060">
                  <c:v>-0.16120141146397704</c:v>
                </c:pt>
                <c:pt idx="3061">
                  <c:v>-0.14837042593981831</c:v>
                </c:pt>
                <c:pt idx="3062">
                  <c:v>-0.15237142618988087</c:v>
                </c:pt>
                <c:pt idx="3063">
                  <c:v>-0.1520324525575838</c:v>
                </c:pt>
                <c:pt idx="3064">
                  <c:v>-0.140396210163652</c:v>
                </c:pt>
                <c:pt idx="3065">
                  <c:v>-0.13686199327609683</c:v>
                </c:pt>
                <c:pt idx="3066">
                  <c:v>-0.15735044872329185</c:v>
                </c:pt>
                <c:pt idx="3067">
                  <c:v>-0.17177072045789221</c:v>
                </c:pt>
                <c:pt idx="3068">
                  <c:v>-0.17169292323080776</c:v>
                </c:pt>
                <c:pt idx="3069">
                  <c:v>-0.15258814703675916</c:v>
                </c:pt>
                <c:pt idx="3070">
                  <c:v>-0.15014864827317942</c:v>
                </c:pt>
                <c:pt idx="3071">
                  <c:v>-0.13790114195215464</c:v>
                </c:pt>
                <c:pt idx="3072">
                  <c:v>-0.12537578839154229</c:v>
                </c:pt>
                <c:pt idx="3073">
                  <c:v>-0.12747075657803331</c:v>
                </c:pt>
                <c:pt idx="3074">
                  <c:v>-0.12528687727487431</c:v>
                </c:pt>
                <c:pt idx="3075">
                  <c:v>-0.12388652718735238</c:v>
                </c:pt>
                <c:pt idx="3076">
                  <c:v>-0.12543691478425167</c:v>
                </c:pt>
                <c:pt idx="3077">
                  <c:v>-0.10907171237253754</c:v>
                </c:pt>
                <c:pt idx="3078">
                  <c:v>-0.10719902197771658</c:v>
                </c:pt>
                <c:pt idx="3079">
                  <c:v>-0.10639326498291246</c:v>
                </c:pt>
                <c:pt idx="3080">
                  <c:v>-0.10912728182045506</c:v>
                </c:pt>
                <c:pt idx="3081">
                  <c:v>-9.9408185379678216E-2</c:v>
                </c:pt>
                <c:pt idx="3082">
                  <c:v>-0.10594315245478025</c:v>
                </c:pt>
                <c:pt idx="3083">
                  <c:v>-0.11032202495068211</c:v>
                </c:pt>
                <c:pt idx="3084">
                  <c:v>-9.9897196521352538E-2</c:v>
                </c:pt>
                <c:pt idx="3085">
                  <c:v>-9.4351365619182559E-2</c:v>
                </c:pt>
                <c:pt idx="3086">
                  <c:v>-0.10054180211719599</c:v>
                </c:pt>
                <c:pt idx="3087">
                  <c:v>-0.11679586563307498</c:v>
                </c:pt>
                <c:pt idx="3088">
                  <c:v>-0.10756022338918059</c:v>
                </c:pt>
                <c:pt idx="3089">
                  <c:v>-0.10815481648189817</c:v>
                </c:pt>
                <c:pt idx="3090">
                  <c:v>-0.11562335028201487</c:v>
                </c:pt>
                <c:pt idx="3091">
                  <c:v>-0.10396488010891602</c:v>
                </c:pt>
                <c:pt idx="3092">
                  <c:v>-8.3659803839848834E-2</c:v>
                </c:pt>
                <c:pt idx="3093">
                  <c:v>-8.6171542885721375E-2</c:v>
                </c:pt>
                <c:pt idx="3094">
                  <c:v>-9.3051040537912244E-2</c:v>
                </c:pt>
                <c:pt idx="3095">
                  <c:v>-0.10742685671417851</c:v>
                </c:pt>
                <c:pt idx="3096">
                  <c:v>-0.10991081103609235</c:v>
                </c:pt>
                <c:pt idx="3097">
                  <c:v>-0.10952738184546129</c:v>
                </c:pt>
                <c:pt idx="3098">
                  <c:v>-0.12334750354255231</c:v>
                </c:pt>
                <c:pt idx="3099">
                  <c:v>-0.12044122141646518</c:v>
                </c:pt>
                <c:pt idx="3100">
                  <c:v>-0.11158900836320185</c:v>
                </c:pt>
                <c:pt idx="3101">
                  <c:v>-0.10487066210997198</c:v>
                </c:pt>
                <c:pt idx="3102">
                  <c:v>-9.962490622655662E-2</c:v>
                </c:pt>
                <c:pt idx="3103">
                  <c:v>-0.10704342752354745</c:v>
                </c:pt>
                <c:pt idx="3104">
                  <c:v>-0.10314245227973651</c:v>
                </c:pt>
                <c:pt idx="3105">
                  <c:v>-0.10333138840265621</c:v>
                </c:pt>
                <c:pt idx="3106">
                  <c:v>-9.9630463171348382E-2</c:v>
                </c:pt>
                <c:pt idx="3107">
                  <c:v>-9.3278875274374062E-2</c:v>
                </c:pt>
                <c:pt idx="3108">
                  <c:v>-9.0200327859742635E-2</c:v>
                </c:pt>
                <c:pt idx="3109">
                  <c:v>-0.10034175210469276</c:v>
                </c:pt>
                <c:pt idx="3110">
                  <c:v>-9.5045983718151761E-2</c:v>
                </c:pt>
                <c:pt idx="3111">
                  <c:v>-8.6727237364896737E-2</c:v>
                </c:pt>
                <c:pt idx="3112">
                  <c:v>-8.1053596732516442E-2</c:v>
                </c:pt>
                <c:pt idx="3113">
                  <c:v>-8.7021755438859705E-2</c:v>
                </c:pt>
                <c:pt idx="3114">
                  <c:v>-9.0061404239948795E-2</c:v>
                </c:pt>
                <c:pt idx="3115">
                  <c:v>-9.4384707287933023E-2</c:v>
                </c:pt>
                <c:pt idx="3116">
                  <c:v>-9.3262204439998886E-2</c:v>
                </c:pt>
                <c:pt idx="3117">
                  <c:v>-0.10180322858492408</c:v>
                </c:pt>
                <c:pt idx="3118">
                  <c:v>-0.1074435275485538</c:v>
                </c:pt>
                <c:pt idx="3119">
                  <c:v>-0.10134200216720846</c:v>
                </c:pt>
                <c:pt idx="3120">
                  <c:v>-0.11586785585285209</c:v>
                </c:pt>
                <c:pt idx="3121">
                  <c:v>-0.10698785807563005</c:v>
                </c:pt>
                <c:pt idx="3122">
                  <c:v>-0.11584562807368515</c:v>
                </c:pt>
                <c:pt idx="3123">
                  <c:v>-0.12233058264566132</c:v>
                </c:pt>
                <c:pt idx="3124">
                  <c:v>-0.11536773082159424</c:v>
                </c:pt>
                <c:pt idx="3125">
                  <c:v>-0.11225028479342058</c:v>
                </c:pt>
                <c:pt idx="3126">
                  <c:v>-0.11136673057153168</c:v>
                </c:pt>
                <c:pt idx="3127">
                  <c:v>-0.11152232502570092</c:v>
                </c:pt>
                <c:pt idx="3128">
                  <c:v>-0.136878664110472</c:v>
                </c:pt>
                <c:pt idx="3129">
                  <c:v>-0.12662054402489509</c:v>
                </c:pt>
                <c:pt idx="3130">
                  <c:v>-0.11347281264760634</c:v>
                </c:pt>
                <c:pt idx="3131">
                  <c:v>-0.11974660331749609</c:v>
                </c:pt>
                <c:pt idx="3132">
                  <c:v>-0.14151315606679438</c:v>
                </c:pt>
                <c:pt idx="3133">
                  <c:v>-0.14495290489288981</c:v>
                </c:pt>
                <c:pt idx="3134">
                  <c:v>-0.14997082603984324</c:v>
                </c:pt>
                <c:pt idx="3135">
                  <c:v>-0.15242143869300662</c:v>
                </c:pt>
                <c:pt idx="3136">
                  <c:v>-0.13981828790530959</c:v>
                </c:pt>
                <c:pt idx="3137">
                  <c:v>-0.1274429718540746</c:v>
                </c:pt>
                <c:pt idx="3138">
                  <c:v>-0.13092161929371227</c:v>
                </c:pt>
                <c:pt idx="3139">
                  <c:v>-0.12198605206857271</c:v>
                </c:pt>
                <c:pt idx="3140">
                  <c:v>-0.1235086549415132</c:v>
                </c:pt>
                <c:pt idx="3141">
                  <c:v>-0.13312772637603842</c:v>
                </c:pt>
                <c:pt idx="3142">
                  <c:v>-0.14946514406379374</c:v>
                </c:pt>
                <c:pt idx="3143">
                  <c:v>-0.13791225584173827</c:v>
                </c:pt>
                <c:pt idx="3144">
                  <c:v>-0.1512655941763219</c:v>
                </c:pt>
                <c:pt idx="3145">
                  <c:v>-0.14428051457308766</c:v>
                </c:pt>
                <c:pt idx="3146">
                  <c:v>-0.12889889138951405</c:v>
                </c:pt>
                <c:pt idx="3147">
                  <c:v>-0.12886554972076347</c:v>
                </c:pt>
                <c:pt idx="3148">
                  <c:v>-0.12810980522908499</c:v>
                </c:pt>
                <c:pt idx="3149">
                  <c:v>-0.13056597482704013</c:v>
                </c:pt>
                <c:pt idx="3150">
                  <c:v>-0.11087771942985747</c:v>
                </c:pt>
                <c:pt idx="3151">
                  <c:v>-9.3523380845211279E-2</c:v>
                </c:pt>
                <c:pt idx="3152">
                  <c:v>-9.9569336778639106E-2</c:v>
                </c:pt>
                <c:pt idx="3153">
                  <c:v>-8.6327137339890503E-2</c:v>
                </c:pt>
                <c:pt idx="3154">
                  <c:v>-9.0405934817037625E-2</c:v>
                </c:pt>
                <c:pt idx="3155">
                  <c:v>-8.5082381706537702E-2</c:v>
                </c:pt>
                <c:pt idx="3156">
                  <c:v>-8.1970492623155811E-2</c:v>
                </c:pt>
                <c:pt idx="3157">
                  <c:v>-8.4059903864855068E-2</c:v>
                </c:pt>
                <c:pt idx="3158">
                  <c:v>-9.2850990525409127E-2</c:v>
                </c:pt>
                <c:pt idx="3159">
                  <c:v>-9.366230446500512E-2</c:v>
                </c:pt>
                <c:pt idx="3160">
                  <c:v>-8.3348614931510689E-2</c:v>
                </c:pt>
                <c:pt idx="3161">
                  <c:v>-8.38098413492262E-2</c:v>
                </c:pt>
                <c:pt idx="3162">
                  <c:v>-8.0081131393959559E-2</c:v>
                </c:pt>
                <c:pt idx="3163">
                  <c:v>-9.4534744797310388E-2</c:v>
                </c:pt>
                <c:pt idx="3164">
                  <c:v>-9.3145508599371984E-2</c:v>
                </c:pt>
                <c:pt idx="3165">
                  <c:v>-9.6985357450473764E-2</c:v>
                </c:pt>
                <c:pt idx="3166">
                  <c:v>-0.11021644299963873</c:v>
                </c:pt>
                <c:pt idx="3167">
                  <c:v>-0.1048817759995555</c:v>
                </c:pt>
                <c:pt idx="3168">
                  <c:v>-0.10008057569948037</c:v>
                </c:pt>
                <c:pt idx="3169">
                  <c:v>-9.7868911672362446E-2</c:v>
                </c:pt>
                <c:pt idx="3170">
                  <c:v>-9.8535745047372947E-2</c:v>
                </c:pt>
                <c:pt idx="3171">
                  <c:v>-0.1062265566391597</c:v>
                </c:pt>
                <c:pt idx="3172">
                  <c:v>-0.11500097246533858</c:v>
                </c:pt>
                <c:pt idx="3173">
                  <c:v>-0.11424522797365999</c:v>
                </c:pt>
                <c:pt idx="3174">
                  <c:v>-0.11706815592787079</c:v>
                </c:pt>
                <c:pt idx="3175">
                  <c:v>-0.11484537801116934</c:v>
                </c:pt>
                <c:pt idx="3176">
                  <c:v>-0.12069128393209416</c:v>
                </c:pt>
                <c:pt idx="3177">
                  <c:v>-0.11068878330693788</c:v>
                </c:pt>
                <c:pt idx="3178">
                  <c:v>-0.13171626239893308</c:v>
                </c:pt>
                <c:pt idx="3179">
                  <c:v>-0.12595371064988459</c:v>
                </c:pt>
                <c:pt idx="3180">
                  <c:v>-0.13260537356561353</c:v>
                </c:pt>
                <c:pt idx="3181">
                  <c:v>-0.11228918340696281</c:v>
                </c:pt>
                <c:pt idx="3182">
                  <c:v>-0.11404517796115698</c:v>
                </c:pt>
                <c:pt idx="3183">
                  <c:v>-0.11528993359450979</c:v>
                </c:pt>
                <c:pt idx="3184">
                  <c:v>-0.11473979606012619</c:v>
                </c:pt>
                <c:pt idx="3185">
                  <c:v>-0.12838209552388091</c:v>
                </c:pt>
                <c:pt idx="3186">
                  <c:v>-0.13378900280625716</c:v>
                </c:pt>
                <c:pt idx="3187">
                  <c:v>-0.13992942680114473</c:v>
                </c:pt>
                <c:pt idx="3188">
                  <c:v>-0.14122975188241493</c:v>
                </c:pt>
                <c:pt idx="3189">
                  <c:v>-0.15307715817843348</c:v>
                </c:pt>
                <c:pt idx="3190">
                  <c:v>-0.16159595454419162</c:v>
                </c:pt>
                <c:pt idx="3191">
                  <c:v>-0.15256591925759211</c:v>
                </c:pt>
                <c:pt idx="3192">
                  <c:v>-0.14498068961684862</c:v>
                </c:pt>
                <c:pt idx="3193">
                  <c:v>-0.14636436886999526</c:v>
                </c:pt>
                <c:pt idx="3194">
                  <c:v>-0.1550998860826317</c:v>
                </c:pt>
                <c:pt idx="3195">
                  <c:v>-0.17143174682559525</c:v>
                </c:pt>
                <c:pt idx="3196">
                  <c:v>-0.17392125809230086</c:v>
                </c:pt>
                <c:pt idx="3197">
                  <c:v>-0.14282459503764833</c:v>
                </c:pt>
                <c:pt idx="3198">
                  <c:v>-0.15512767080659051</c:v>
                </c:pt>
                <c:pt idx="3199">
                  <c:v>-0.16930899391514553</c:v>
                </c:pt>
                <c:pt idx="3200">
                  <c:v>-0.15378844711177797</c:v>
                </c:pt>
                <c:pt idx="3201">
                  <c:v>-0.13587285710316466</c:v>
                </c:pt>
                <c:pt idx="3202">
                  <c:v>-0.14049067822511185</c:v>
                </c:pt>
                <c:pt idx="3203">
                  <c:v>-0.13482259453752321</c:v>
                </c:pt>
                <c:pt idx="3204">
                  <c:v>-0.12802089411241691</c:v>
                </c:pt>
                <c:pt idx="3205">
                  <c:v>-0.13961268094801482</c:v>
                </c:pt>
                <c:pt idx="3206">
                  <c:v>-0.14905393014920398</c:v>
                </c:pt>
                <c:pt idx="3207">
                  <c:v>-0.14416381873246098</c:v>
                </c:pt>
                <c:pt idx="3208">
                  <c:v>-0.13543941540940796</c:v>
                </c:pt>
                <c:pt idx="3209">
                  <c:v>-0.14588647161790447</c:v>
                </c:pt>
                <c:pt idx="3210">
                  <c:v>-0.15318274012947675</c:v>
                </c:pt>
                <c:pt idx="3211">
                  <c:v>-0.15849517935039314</c:v>
                </c:pt>
                <c:pt idx="3212">
                  <c:v>-0.16076241282542858</c:v>
                </c:pt>
                <c:pt idx="3213">
                  <c:v>-0.15880636825873129</c:v>
                </c:pt>
                <c:pt idx="3214">
                  <c:v>-0.17965046817259867</c:v>
                </c:pt>
                <c:pt idx="3215">
                  <c:v>-0.17963935428301514</c:v>
                </c:pt>
                <c:pt idx="3216">
                  <c:v>-0.17208190936623036</c:v>
                </c:pt>
                <c:pt idx="3217">
                  <c:v>-0.18840821316440215</c:v>
                </c:pt>
                <c:pt idx="3218">
                  <c:v>-0.18968075352171376</c:v>
                </c:pt>
                <c:pt idx="3219">
                  <c:v>-0.18714122975188241</c:v>
                </c:pt>
                <c:pt idx="3220">
                  <c:v>-0.20065016254063517</c:v>
                </c:pt>
                <c:pt idx="3221">
                  <c:v>-0.19526548303742597</c:v>
                </c:pt>
                <c:pt idx="3222">
                  <c:v>-0.20368425439693261</c:v>
                </c:pt>
                <c:pt idx="3223">
                  <c:v>-0.2054791475646689</c:v>
                </c:pt>
                <c:pt idx="3224">
                  <c:v>-0.18266233224972916</c:v>
                </c:pt>
                <c:pt idx="3225">
                  <c:v>-0.18187880303409187</c:v>
                </c:pt>
                <c:pt idx="3226">
                  <c:v>-0.19536550804367758</c:v>
                </c:pt>
                <c:pt idx="3227">
                  <c:v>-0.20616265177405468</c:v>
                </c:pt>
                <c:pt idx="3228">
                  <c:v>-0.21968825539718262</c:v>
                </c:pt>
                <c:pt idx="3229">
                  <c:v>-0.21685977049818006</c:v>
                </c:pt>
                <c:pt idx="3230">
                  <c:v>-0.22993526159317601</c:v>
                </c:pt>
                <c:pt idx="3231">
                  <c:v>-0.23159678808591033</c:v>
                </c:pt>
                <c:pt idx="3232">
                  <c:v>-0.21807674140757416</c:v>
                </c:pt>
                <c:pt idx="3233">
                  <c:v>-0.21872690394820926</c:v>
                </c:pt>
                <c:pt idx="3234">
                  <c:v>-0.23543107999222024</c:v>
                </c:pt>
                <c:pt idx="3235">
                  <c:v>-0.25150176432997129</c:v>
                </c:pt>
                <c:pt idx="3236">
                  <c:v>-0.2468117029257314</c:v>
                </c:pt>
                <c:pt idx="3237">
                  <c:v>-0.21913811786279902</c:v>
                </c:pt>
                <c:pt idx="3238">
                  <c:v>-0.22845155733377787</c:v>
                </c:pt>
                <c:pt idx="3239">
                  <c:v>-0.24746186546636662</c:v>
                </c:pt>
                <c:pt idx="3240">
                  <c:v>-0.27298491289489035</c:v>
                </c:pt>
                <c:pt idx="3241">
                  <c:v>-0.26749465144063789</c:v>
                </c:pt>
                <c:pt idx="3242">
                  <c:v>-0.27221805451362835</c:v>
                </c:pt>
                <c:pt idx="3243">
                  <c:v>-0.27495207135117117</c:v>
                </c:pt>
                <c:pt idx="3244">
                  <c:v>-0.28827762496179599</c:v>
                </c:pt>
                <c:pt idx="3245">
                  <c:v>-0.28427662471173343</c:v>
                </c:pt>
                <c:pt idx="3246">
                  <c:v>-0.30359812175266032</c:v>
                </c:pt>
                <c:pt idx="3247">
                  <c:v>-0.33029924147703582</c:v>
                </c:pt>
                <c:pt idx="3248">
                  <c:v>-0.35234919841071377</c:v>
                </c:pt>
                <c:pt idx="3249">
                  <c:v>-0.36984801755994556</c:v>
                </c:pt>
                <c:pt idx="3250">
                  <c:v>-0.33371676252396432</c:v>
                </c:pt>
                <c:pt idx="3251">
                  <c:v>-0.33745658636881437</c:v>
                </c:pt>
                <c:pt idx="3252">
                  <c:v>-0.32627045650301456</c:v>
                </c:pt>
                <c:pt idx="3253">
                  <c:v>-0.289766886165986</c:v>
                </c:pt>
                <c:pt idx="3254">
                  <c:v>-0.2866994526409381</c:v>
                </c:pt>
                <c:pt idx="3255">
                  <c:v>-0.27963101886582764</c:v>
                </c:pt>
                <c:pt idx="3256">
                  <c:v>-0.30081409241199186</c:v>
                </c:pt>
                <c:pt idx="3257">
                  <c:v>-0.31694590314245219</c:v>
                </c:pt>
                <c:pt idx="3258">
                  <c:v>-0.34035175460531797</c:v>
                </c:pt>
                <c:pt idx="3259">
                  <c:v>-0.32061348670500966</c:v>
                </c:pt>
                <c:pt idx="3260">
                  <c:v>-0.30689339001417015</c:v>
                </c:pt>
                <c:pt idx="3261">
                  <c:v>-0.28419882748464897</c:v>
                </c:pt>
                <c:pt idx="3262">
                  <c:v>-0.28152038009502367</c:v>
                </c:pt>
                <c:pt idx="3263">
                  <c:v>-0.28532688727737487</c:v>
                </c:pt>
                <c:pt idx="3264">
                  <c:v>-0.30073629518490741</c:v>
                </c:pt>
                <c:pt idx="3265">
                  <c:v>-0.27257369898030059</c:v>
                </c:pt>
                <c:pt idx="3266">
                  <c:v>-0.26408268733850127</c:v>
                </c:pt>
                <c:pt idx="3267">
                  <c:v>-0.26517184851768505</c:v>
                </c:pt>
                <c:pt idx="3268">
                  <c:v>-0.2477952821538717</c:v>
                </c:pt>
                <c:pt idx="3269">
                  <c:v>-0.25831457864466112</c:v>
                </c:pt>
                <c:pt idx="3270">
                  <c:v>-0.24880108916117916</c:v>
                </c:pt>
                <c:pt idx="3271">
                  <c:v>-0.23822622322247233</c:v>
                </c:pt>
                <c:pt idx="3272">
                  <c:v>-0.25548609374565867</c:v>
                </c:pt>
                <c:pt idx="3273">
                  <c:v>-0.2498791364507793</c:v>
                </c:pt>
                <c:pt idx="3274">
                  <c:v>-0.26025950932177488</c:v>
                </c:pt>
                <c:pt idx="3275">
                  <c:v>-0.27355172126364924</c:v>
                </c:pt>
                <c:pt idx="3276">
                  <c:v>-0.27355172126364924</c:v>
                </c:pt>
                <c:pt idx="3277">
                  <c:v>-0.27489650190325365</c:v>
                </c:pt>
                <c:pt idx="3278">
                  <c:v>-0.30500402878497401</c:v>
                </c:pt>
                <c:pt idx="3279">
                  <c:v>-0.29258425717540493</c:v>
                </c:pt>
                <c:pt idx="3280">
                  <c:v>-0.30384262732349754</c:v>
                </c:pt>
                <c:pt idx="3281">
                  <c:v>-0.29211191686810589</c:v>
                </c:pt>
                <c:pt idx="3282">
                  <c:v>-0.28493790114195217</c:v>
                </c:pt>
                <c:pt idx="3283">
                  <c:v>-0.27969214525853681</c:v>
                </c:pt>
                <c:pt idx="3284">
                  <c:v>-0.27968103136895328</c:v>
                </c:pt>
                <c:pt idx="3285">
                  <c:v>-0.29736878664110467</c:v>
                </c:pt>
                <c:pt idx="3286">
                  <c:v>-0.295062654552527</c:v>
                </c:pt>
                <c:pt idx="3287">
                  <c:v>-0.29401794893167732</c:v>
                </c:pt>
                <c:pt idx="3288">
                  <c:v>-0.3079436525798116</c:v>
                </c:pt>
                <c:pt idx="3289">
                  <c:v>-0.31110555416631935</c:v>
                </c:pt>
                <c:pt idx="3290">
                  <c:v>-0.33179961657080936</c:v>
                </c:pt>
                <c:pt idx="3291">
                  <c:v>-0.33015476091245033</c:v>
                </c:pt>
                <c:pt idx="3292">
                  <c:v>-0.33941263093551166</c:v>
                </c:pt>
                <c:pt idx="3293">
                  <c:v>-0.35082659553777329</c:v>
                </c:pt>
                <c:pt idx="3294">
                  <c:v>-0.33452251951876855</c:v>
                </c:pt>
                <c:pt idx="3295">
                  <c:v>-0.32227501319774388</c:v>
                </c:pt>
                <c:pt idx="3296">
                  <c:v>-0.3441249201189186</c:v>
                </c:pt>
                <c:pt idx="3297">
                  <c:v>-0.3537050929399016</c:v>
                </c:pt>
                <c:pt idx="3298">
                  <c:v>-0.32783751493428914</c:v>
                </c:pt>
                <c:pt idx="3299">
                  <c:v>-0.3435469978605763</c:v>
                </c:pt>
                <c:pt idx="3300">
                  <c:v>-0.35063210247006193</c:v>
                </c:pt>
                <c:pt idx="3301">
                  <c:v>-0.3651968547692479</c:v>
                </c:pt>
                <c:pt idx="3302">
                  <c:v>-0.37733322219443755</c:v>
                </c:pt>
                <c:pt idx="3303">
                  <c:v>-0.36656386318801915</c:v>
                </c:pt>
                <c:pt idx="3304">
                  <c:v>-0.38378483509766326</c:v>
                </c:pt>
                <c:pt idx="3305">
                  <c:v>-0.36217387680253399</c:v>
                </c:pt>
                <c:pt idx="3306">
                  <c:v>-0.33726209330110302</c:v>
                </c:pt>
                <c:pt idx="3307">
                  <c:v>-0.33240532355311059</c:v>
                </c:pt>
                <c:pt idx="3308">
                  <c:v>-0.30080297852240834</c:v>
                </c:pt>
                <c:pt idx="3309">
                  <c:v>-0.31760162262787917</c:v>
                </c:pt>
                <c:pt idx="3310">
                  <c:v>-0.30237003695368281</c:v>
                </c:pt>
                <c:pt idx="3311">
                  <c:v>-0.29824678391820181</c:v>
                </c:pt>
                <c:pt idx="3312">
                  <c:v>-0.28608263176905335</c:v>
                </c:pt>
                <c:pt idx="3313">
                  <c:v>-0.29366786140979695</c:v>
                </c:pt>
                <c:pt idx="3314">
                  <c:v>-0.28891667361284756</c:v>
                </c:pt>
                <c:pt idx="3315">
                  <c:v>-0.29973048817759995</c:v>
                </c:pt>
                <c:pt idx="3316">
                  <c:v>-0.28770525964824545</c:v>
                </c:pt>
                <c:pt idx="3317">
                  <c:v>-0.2936011780722958</c:v>
                </c:pt>
                <c:pt idx="3318">
                  <c:v>-0.29994165207968659</c:v>
                </c:pt>
                <c:pt idx="3319">
                  <c:v>-0.29301769886916174</c:v>
                </c:pt>
                <c:pt idx="3320">
                  <c:v>-0.29681864910672107</c:v>
                </c:pt>
                <c:pt idx="3321">
                  <c:v>-0.28474896501903246</c:v>
                </c:pt>
                <c:pt idx="3322">
                  <c:v>-0.27888083131894081</c:v>
                </c:pt>
                <c:pt idx="3323">
                  <c:v>-0.27326276013447803</c:v>
                </c:pt>
                <c:pt idx="3324">
                  <c:v>-0.26646105970937184</c:v>
                </c:pt>
                <c:pt idx="3325">
                  <c:v>-0.28307076769192296</c:v>
                </c:pt>
                <c:pt idx="3326">
                  <c:v>-0.28930010280347862</c:v>
                </c:pt>
                <c:pt idx="3327">
                  <c:v>-0.30403712039120889</c:v>
                </c:pt>
                <c:pt idx="3328">
                  <c:v>-0.29863577005362441</c:v>
                </c:pt>
                <c:pt idx="3329">
                  <c:v>-0.29873023811508426</c:v>
                </c:pt>
                <c:pt idx="3330">
                  <c:v>-0.28137034258564642</c:v>
                </c:pt>
                <c:pt idx="3331">
                  <c:v>-0.2768858881387013</c:v>
                </c:pt>
                <c:pt idx="3332">
                  <c:v>-0.2843822066627768</c:v>
                </c:pt>
                <c:pt idx="3333">
                  <c:v>-0.28726070406490511</c:v>
                </c:pt>
                <c:pt idx="3334">
                  <c:v>-0.27336834208552141</c:v>
                </c:pt>
                <c:pt idx="3335">
                  <c:v>-0.25773109944152706</c:v>
                </c:pt>
                <c:pt idx="3336">
                  <c:v>-0.26027618015615006</c:v>
                </c:pt>
                <c:pt idx="3337">
                  <c:v>-0.25841460365091273</c:v>
                </c:pt>
                <c:pt idx="3338">
                  <c:v>-0.27382401155844516</c:v>
                </c:pt>
                <c:pt idx="3339">
                  <c:v>-0.25344113806229329</c:v>
                </c:pt>
                <c:pt idx="3340">
                  <c:v>-0.25543052429774105</c:v>
                </c:pt>
                <c:pt idx="3341">
                  <c:v>-0.25684754521963826</c:v>
                </c:pt>
                <c:pt idx="3342">
                  <c:v>-0.26778916951460086</c:v>
                </c:pt>
                <c:pt idx="3343">
                  <c:v>-0.27007863076880334</c:v>
                </c:pt>
                <c:pt idx="3344">
                  <c:v>-0.27881970492623154</c:v>
                </c:pt>
                <c:pt idx="3345">
                  <c:v>-0.27426856714178538</c:v>
                </c:pt>
                <c:pt idx="3346">
                  <c:v>-0.29035036536912007</c:v>
                </c:pt>
                <c:pt idx="3347">
                  <c:v>-0.28042566197104823</c:v>
                </c:pt>
                <c:pt idx="3348">
                  <c:v>-0.27986996749187287</c:v>
                </c:pt>
                <c:pt idx="3349">
                  <c:v>-0.28250951626795584</c:v>
                </c:pt>
                <c:pt idx="3350">
                  <c:v>-0.2921397015920647</c:v>
                </c:pt>
                <c:pt idx="3351">
                  <c:v>-0.27545775332722078</c:v>
                </c:pt>
                <c:pt idx="3352">
                  <c:v>-0.2813425578616876</c:v>
                </c:pt>
                <c:pt idx="3353">
                  <c:v>-0.29073379455975112</c:v>
                </c:pt>
                <c:pt idx="3354">
                  <c:v>-0.29605179072545917</c:v>
                </c:pt>
                <c:pt idx="3355">
                  <c:v>-0.28689950265344111</c:v>
                </c:pt>
                <c:pt idx="3356">
                  <c:v>-0.2855991775721709</c:v>
                </c:pt>
                <c:pt idx="3357">
                  <c:v>-0.28950015281598185</c:v>
                </c:pt>
                <c:pt idx="3358">
                  <c:v>-0.29173404462226671</c:v>
                </c:pt>
                <c:pt idx="3359">
                  <c:v>-0.30279236475785609</c:v>
                </c:pt>
                <c:pt idx="3360">
                  <c:v>-0.29959156455780611</c:v>
                </c:pt>
                <c:pt idx="3361">
                  <c:v>-0.29916923675363283</c:v>
                </c:pt>
                <c:pt idx="3362">
                  <c:v>-0.27583562557305985</c:v>
                </c:pt>
                <c:pt idx="3363">
                  <c:v>-0.27618015615014868</c:v>
                </c:pt>
                <c:pt idx="3364">
                  <c:v>-0.25991497874468616</c:v>
                </c:pt>
                <c:pt idx="3365">
                  <c:v>-0.26472173598955284</c:v>
                </c:pt>
                <c:pt idx="3366">
                  <c:v>-0.27484648940012779</c:v>
                </c:pt>
                <c:pt idx="3367">
                  <c:v>-0.26075407740824097</c:v>
                </c:pt>
                <c:pt idx="3368">
                  <c:v>-0.26076519129782449</c:v>
                </c:pt>
                <c:pt idx="3369">
                  <c:v>-0.26175988441554832</c:v>
                </c:pt>
                <c:pt idx="3370">
                  <c:v>-0.25745325220193938</c:v>
                </c:pt>
                <c:pt idx="3371">
                  <c:v>-0.26805034591981325</c:v>
                </c:pt>
                <c:pt idx="3372">
                  <c:v>-0.2709232863771498</c:v>
                </c:pt>
                <c:pt idx="3373">
                  <c:v>-0.28113695090439272</c:v>
                </c:pt>
                <c:pt idx="3374">
                  <c:v>-0.29242866272123591</c:v>
                </c:pt>
                <c:pt idx="3375">
                  <c:v>-0.2997360451223916</c:v>
                </c:pt>
                <c:pt idx="3376">
                  <c:v>-0.29257870023061316</c:v>
                </c:pt>
                <c:pt idx="3377">
                  <c:v>-0.31325053485593624</c:v>
                </c:pt>
                <c:pt idx="3378">
                  <c:v>-0.32435331054985972</c:v>
                </c:pt>
                <c:pt idx="3379">
                  <c:v>-0.31552888222055508</c:v>
                </c:pt>
                <c:pt idx="3380">
                  <c:v>-0.3107665805340224</c:v>
                </c:pt>
                <c:pt idx="3381">
                  <c:v>-0.32637048150926617</c:v>
                </c:pt>
                <c:pt idx="3382">
                  <c:v>-0.31752938234558636</c:v>
                </c:pt>
                <c:pt idx="3383">
                  <c:v>-0.31383957100386206</c:v>
                </c:pt>
                <c:pt idx="3384">
                  <c:v>-0.32349754105192963</c:v>
                </c:pt>
                <c:pt idx="3385">
                  <c:v>-0.32703175793948491</c:v>
                </c:pt>
                <c:pt idx="3386">
                  <c:v>-0.33117723875413296</c:v>
                </c:pt>
                <c:pt idx="3387">
                  <c:v>-0.33791225584173823</c:v>
                </c:pt>
                <c:pt idx="3388">
                  <c:v>-0.33288322080520127</c:v>
                </c:pt>
                <c:pt idx="3389">
                  <c:v>-0.33826234336361871</c:v>
                </c:pt>
                <c:pt idx="3390">
                  <c:v>-0.34641993831791273</c:v>
                </c:pt>
                <c:pt idx="3391">
                  <c:v>-0.34737573282209433</c:v>
                </c:pt>
                <c:pt idx="3392">
                  <c:v>-0.33338334583645912</c:v>
                </c:pt>
                <c:pt idx="3393">
                  <c:v>-0.32032452557583846</c:v>
                </c:pt>
                <c:pt idx="3394">
                  <c:v>-0.32502014392487</c:v>
                </c:pt>
                <c:pt idx="3395">
                  <c:v>-0.33139951654580302</c:v>
                </c:pt>
                <c:pt idx="3396">
                  <c:v>-0.32255286043733156</c:v>
                </c:pt>
                <c:pt idx="3397">
                  <c:v>-0.33499485982606758</c:v>
                </c:pt>
                <c:pt idx="3398">
                  <c:v>-0.33021033036036784</c:v>
                </c:pt>
                <c:pt idx="3399">
                  <c:v>-0.33873468367091775</c:v>
                </c:pt>
                <c:pt idx="3400">
                  <c:v>-0.33088272068017011</c:v>
                </c:pt>
                <c:pt idx="3401">
                  <c:v>-0.3277708315967881</c:v>
                </c:pt>
                <c:pt idx="3402">
                  <c:v>-0.33283320830207552</c:v>
                </c:pt>
                <c:pt idx="3403">
                  <c:v>-0.34307465755327715</c:v>
                </c:pt>
                <c:pt idx="3404">
                  <c:v>-0.33657303214692569</c:v>
                </c:pt>
                <c:pt idx="3405">
                  <c:v>-0.34271345614181326</c:v>
                </c:pt>
                <c:pt idx="3406">
                  <c:v>-0.33726765024589489</c:v>
                </c:pt>
                <c:pt idx="3407">
                  <c:v>-0.35436636937012034</c:v>
                </c:pt>
                <c:pt idx="3408">
                  <c:v>-0.35975660581812108</c:v>
                </c:pt>
                <c:pt idx="3409">
                  <c:v>-0.35672251396182386</c:v>
                </c:pt>
                <c:pt idx="3410">
                  <c:v>-0.33452251951876855</c:v>
                </c:pt>
                <c:pt idx="3411">
                  <c:v>-0.3334166875052097</c:v>
                </c:pt>
                <c:pt idx="3412">
                  <c:v>-0.30977744436109034</c:v>
                </c:pt>
                <c:pt idx="3413">
                  <c:v>-0.30683226362146088</c:v>
                </c:pt>
                <c:pt idx="3414">
                  <c:v>-0.30073073824011565</c:v>
                </c:pt>
                <c:pt idx="3415">
                  <c:v>-0.29939707149009476</c:v>
                </c:pt>
                <c:pt idx="3416">
                  <c:v>-0.28329860242838489</c:v>
                </c:pt>
                <c:pt idx="3417">
                  <c:v>-0.30854380261732106</c:v>
                </c:pt>
                <c:pt idx="3418">
                  <c:v>-0.30013614514739795</c:v>
                </c:pt>
                <c:pt idx="3419">
                  <c:v>-0.30394265232974915</c:v>
                </c:pt>
                <c:pt idx="3420">
                  <c:v>-0.30498735795059873</c:v>
                </c:pt>
                <c:pt idx="3421">
                  <c:v>-0.30898835820066128</c:v>
                </c:pt>
                <c:pt idx="3422">
                  <c:v>-0.32124142146647772</c:v>
                </c:pt>
                <c:pt idx="3423">
                  <c:v>-0.3129949153955156</c:v>
                </c:pt>
                <c:pt idx="3424">
                  <c:v>-0.29492373093273316</c:v>
                </c:pt>
                <c:pt idx="3425">
                  <c:v>-0.29847461865466363</c:v>
                </c:pt>
                <c:pt idx="3426">
                  <c:v>-0.29654635881192515</c:v>
                </c:pt>
                <c:pt idx="3427">
                  <c:v>-0.29566280459003635</c:v>
                </c:pt>
                <c:pt idx="3428">
                  <c:v>-0.29672973799005309</c:v>
                </c:pt>
                <c:pt idx="3429">
                  <c:v>-0.30649884693395568</c:v>
                </c:pt>
                <c:pt idx="3430">
                  <c:v>-0.3020255063765942</c:v>
                </c:pt>
                <c:pt idx="3431">
                  <c:v>-0.30460392875996767</c:v>
                </c:pt>
                <c:pt idx="3432">
                  <c:v>-0.29103386957850574</c:v>
                </c:pt>
                <c:pt idx="3433">
                  <c:v>-0.2865105165180184</c:v>
                </c:pt>
                <c:pt idx="3434">
                  <c:v>-0.29522380595148789</c:v>
                </c:pt>
                <c:pt idx="3435">
                  <c:v>-0.28427106776694167</c:v>
                </c:pt>
                <c:pt idx="3436">
                  <c:v>-0.28553249423466975</c:v>
                </c:pt>
                <c:pt idx="3437">
                  <c:v>-0.27002306132088572</c:v>
                </c:pt>
                <c:pt idx="3438">
                  <c:v>-0.26388263732599815</c:v>
                </c:pt>
                <c:pt idx="3439">
                  <c:v>-0.26995637798338468</c:v>
                </c:pt>
                <c:pt idx="3440">
                  <c:v>-0.28005890361479258</c:v>
                </c:pt>
                <c:pt idx="3441">
                  <c:v>-0.26712233613959047</c:v>
                </c:pt>
                <c:pt idx="3442">
                  <c:v>-0.2646717234864272</c:v>
                </c:pt>
                <c:pt idx="3443">
                  <c:v>-0.26533299991664583</c:v>
                </c:pt>
                <c:pt idx="3444">
                  <c:v>-0.26571087216248501</c:v>
                </c:pt>
                <c:pt idx="3445">
                  <c:v>-0.25465810897168739</c:v>
                </c:pt>
                <c:pt idx="3446">
                  <c:v>-0.25745880914673114</c:v>
                </c:pt>
                <c:pt idx="3447">
                  <c:v>-0.25117946153204973</c:v>
                </c:pt>
                <c:pt idx="3448">
                  <c:v>-0.25488594370814932</c:v>
                </c:pt>
                <c:pt idx="3449">
                  <c:v>-0.26236003445305767</c:v>
                </c:pt>
                <c:pt idx="3450">
                  <c:v>-0.25165735878414042</c:v>
                </c:pt>
                <c:pt idx="3451">
                  <c:v>-0.24224945125170183</c:v>
                </c:pt>
                <c:pt idx="3452">
                  <c:v>-0.24439998888611036</c:v>
                </c:pt>
                <c:pt idx="3453">
                  <c:v>-0.24661165291322829</c:v>
                </c:pt>
                <c:pt idx="3454">
                  <c:v>-0.24059348170375927</c:v>
                </c:pt>
                <c:pt idx="3455">
                  <c:v>-0.24241060265066272</c:v>
                </c:pt>
                <c:pt idx="3456">
                  <c:v>-0.26127087327387399</c:v>
                </c:pt>
                <c:pt idx="3457">
                  <c:v>-0.2621099719374288</c:v>
                </c:pt>
                <c:pt idx="3458">
                  <c:v>-0.25907588008113147</c:v>
                </c:pt>
                <c:pt idx="3459">
                  <c:v>-0.2522964074351921</c:v>
                </c:pt>
                <c:pt idx="3460">
                  <c:v>-0.25120724625600843</c:v>
                </c:pt>
                <c:pt idx="3461">
                  <c:v>-0.23655358284015449</c:v>
                </c:pt>
                <c:pt idx="3462">
                  <c:v>-0.23504765080158929</c:v>
                </c:pt>
                <c:pt idx="3463">
                  <c:v>-0.23785946486621656</c:v>
                </c:pt>
                <c:pt idx="3464">
                  <c:v>-0.22662887944208265</c:v>
                </c:pt>
                <c:pt idx="3465">
                  <c:v>-0.22386152093578948</c:v>
                </c:pt>
                <c:pt idx="3466">
                  <c:v>-0.22019949431802399</c:v>
                </c:pt>
                <c:pt idx="3467">
                  <c:v>-0.20819093662304455</c:v>
                </c:pt>
                <c:pt idx="3468">
                  <c:v>-0.20500680725736986</c:v>
                </c:pt>
                <c:pt idx="3469">
                  <c:v>-0.20687394070739906</c:v>
                </c:pt>
                <c:pt idx="3470">
                  <c:v>-0.21635408852213045</c:v>
                </c:pt>
                <c:pt idx="3471">
                  <c:v>-0.2091856297407686</c:v>
                </c:pt>
                <c:pt idx="3472">
                  <c:v>-0.19876635825623079</c:v>
                </c:pt>
                <c:pt idx="3473">
                  <c:v>-0.19790503181350882</c:v>
                </c:pt>
                <c:pt idx="3474">
                  <c:v>-0.20585146286571643</c:v>
                </c:pt>
                <c:pt idx="3475">
                  <c:v>-0.18804701175293814</c:v>
                </c:pt>
                <c:pt idx="3476">
                  <c:v>-0.18730793809563495</c:v>
                </c:pt>
                <c:pt idx="3477">
                  <c:v>-0.18850823817065376</c:v>
                </c:pt>
                <c:pt idx="3478">
                  <c:v>-0.20086132644272181</c:v>
                </c:pt>
                <c:pt idx="3479">
                  <c:v>-0.20005556944791758</c:v>
                </c:pt>
                <c:pt idx="3480">
                  <c:v>-0.21133616737517713</c:v>
                </c:pt>
                <c:pt idx="3481">
                  <c:v>-0.2098802478397378</c:v>
                </c:pt>
                <c:pt idx="3482">
                  <c:v>-0.2164207718596316</c:v>
                </c:pt>
                <c:pt idx="3483">
                  <c:v>-0.20767969770220329</c:v>
                </c:pt>
                <c:pt idx="3484">
                  <c:v>-0.21537606623878192</c:v>
                </c:pt>
                <c:pt idx="3485">
                  <c:v>-0.21675974549192856</c:v>
                </c:pt>
                <c:pt idx="3486">
                  <c:v>-0.2103414742574532</c:v>
                </c:pt>
                <c:pt idx="3487">
                  <c:v>-0.20112805979272597</c:v>
                </c:pt>
                <c:pt idx="3488">
                  <c:v>-0.20759634353032697</c:v>
                </c:pt>
                <c:pt idx="3489">
                  <c:v>-0.19253702314467502</c:v>
                </c:pt>
                <c:pt idx="3490">
                  <c:v>-0.18951404517796111</c:v>
                </c:pt>
                <c:pt idx="3491">
                  <c:v>-0.19395960101136389</c:v>
                </c:pt>
                <c:pt idx="3492">
                  <c:v>-0.20482342807924203</c:v>
                </c:pt>
                <c:pt idx="3493">
                  <c:v>-0.19718818593537268</c:v>
                </c:pt>
                <c:pt idx="3494">
                  <c:v>-0.19257592175821736</c:v>
                </c:pt>
                <c:pt idx="3495">
                  <c:v>-0.19534328026451053</c:v>
                </c:pt>
                <c:pt idx="3496">
                  <c:v>-0.20043899863854853</c:v>
                </c:pt>
                <c:pt idx="3497">
                  <c:v>-0.21029701869911921</c:v>
                </c:pt>
                <c:pt idx="3498">
                  <c:v>-0.20097246533855684</c:v>
                </c:pt>
                <c:pt idx="3499">
                  <c:v>-0.21264760634603086</c:v>
                </c:pt>
                <c:pt idx="3500">
                  <c:v>-0.20516240171153899</c:v>
                </c:pt>
                <c:pt idx="3501">
                  <c:v>-0.20474563085215747</c:v>
                </c:pt>
                <c:pt idx="3502">
                  <c:v>-0.21038037287099554</c:v>
                </c:pt>
                <c:pt idx="3503">
                  <c:v>-0.19663249145619732</c:v>
                </c:pt>
                <c:pt idx="3504">
                  <c:v>-0.19836625823122445</c:v>
                </c:pt>
                <c:pt idx="3505">
                  <c:v>-0.20407324053235532</c:v>
                </c:pt>
                <c:pt idx="3506">
                  <c:v>-0.20540690728237609</c:v>
                </c:pt>
                <c:pt idx="3507">
                  <c:v>-0.20295073768442118</c:v>
                </c:pt>
                <c:pt idx="3508">
                  <c:v>-0.21111388958350696</c:v>
                </c:pt>
                <c:pt idx="3509">
                  <c:v>-0.20896335194909832</c:v>
                </c:pt>
                <c:pt idx="3510">
                  <c:v>-0.22290572643160789</c:v>
                </c:pt>
                <c:pt idx="3511">
                  <c:v>-0.22146647773054373</c:v>
                </c:pt>
                <c:pt idx="3512">
                  <c:v>-0.21577060931899639</c:v>
                </c:pt>
                <c:pt idx="3513">
                  <c:v>-0.21296990914395264</c:v>
                </c:pt>
                <c:pt idx="3514">
                  <c:v>-0.21035258814703672</c:v>
                </c:pt>
                <c:pt idx="3515">
                  <c:v>-0.20248395432191379</c:v>
                </c:pt>
                <c:pt idx="3516">
                  <c:v>-0.2072740407324053</c:v>
                </c:pt>
                <c:pt idx="3517">
                  <c:v>-0.20204495568336522</c:v>
                </c:pt>
                <c:pt idx="3518">
                  <c:v>-0.20178377927815283</c:v>
                </c:pt>
                <c:pt idx="3519">
                  <c:v>-0.19443749826345469</c:v>
                </c:pt>
                <c:pt idx="3520">
                  <c:v>-0.19232585924258838</c:v>
                </c:pt>
                <c:pt idx="3521">
                  <c:v>-0.19390403156344649</c:v>
                </c:pt>
                <c:pt idx="3522">
                  <c:v>-0.19147564668945016</c:v>
                </c:pt>
                <c:pt idx="3523">
                  <c:v>-0.19970548192603699</c:v>
                </c:pt>
                <c:pt idx="3524">
                  <c:v>-0.19918312911561231</c:v>
                </c:pt>
                <c:pt idx="3525">
                  <c:v>-0.19674363035203246</c:v>
                </c:pt>
                <c:pt idx="3526">
                  <c:v>-0.19655469422911287</c:v>
                </c:pt>
                <c:pt idx="3527">
                  <c:v>-0.19163124114361918</c:v>
                </c:pt>
                <c:pt idx="3528">
                  <c:v>-0.18740796310188657</c:v>
                </c:pt>
                <c:pt idx="3529">
                  <c:v>-0.17612180822983525</c:v>
                </c:pt>
                <c:pt idx="3530">
                  <c:v>-0.17243199688811095</c:v>
                </c:pt>
                <c:pt idx="3531">
                  <c:v>-0.17103164680058902</c:v>
                </c:pt>
                <c:pt idx="3532">
                  <c:v>-0.17632741518713013</c:v>
                </c:pt>
                <c:pt idx="3533">
                  <c:v>-0.16800311188908335</c:v>
                </c:pt>
                <c:pt idx="3534">
                  <c:v>-0.17483259703814835</c:v>
                </c:pt>
                <c:pt idx="3535">
                  <c:v>-0.18463504765080163</c:v>
                </c:pt>
                <c:pt idx="3536">
                  <c:v>-0.1799505431913534</c:v>
                </c:pt>
                <c:pt idx="3537">
                  <c:v>-0.17816120696840876</c:v>
                </c:pt>
                <c:pt idx="3538">
                  <c:v>-0.1812230835486649</c:v>
                </c:pt>
                <c:pt idx="3539">
                  <c:v>-0.1695146008724403</c:v>
                </c:pt>
                <c:pt idx="3540">
                  <c:v>-0.17218193437248197</c:v>
                </c:pt>
                <c:pt idx="3541">
                  <c:v>-0.16119585451918528</c:v>
                </c:pt>
                <c:pt idx="3542">
                  <c:v>-0.16382428940568472</c:v>
                </c:pt>
                <c:pt idx="3543">
                  <c:v>-0.17470478730793804</c:v>
                </c:pt>
                <c:pt idx="3544">
                  <c:v>-0.16968686616098461</c:v>
                </c:pt>
                <c:pt idx="3545">
                  <c:v>-0.18554082965185736</c:v>
                </c:pt>
                <c:pt idx="3546">
                  <c:v>-0.19030313133839016</c:v>
                </c:pt>
                <c:pt idx="3547">
                  <c:v>-0.19533772331971877</c:v>
                </c:pt>
                <c:pt idx="3548">
                  <c:v>-0.18746353254980408</c:v>
                </c:pt>
                <c:pt idx="3549">
                  <c:v>-0.19603789836347973</c:v>
                </c:pt>
                <c:pt idx="3550">
                  <c:v>-0.17800005556944787</c:v>
                </c:pt>
                <c:pt idx="3551">
                  <c:v>-0.17626073184962909</c:v>
                </c:pt>
                <c:pt idx="3552">
                  <c:v>-0.16850323692034119</c:v>
                </c:pt>
                <c:pt idx="3553">
                  <c:v>-0.1648689950265344</c:v>
                </c:pt>
                <c:pt idx="3554">
                  <c:v>-0.16087355172126361</c:v>
                </c:pt>
                <c:pt idx="3555">
                  <c:v>-0.16498569086716119</c:v>
                </c:pt>
                <c:pt idx="3556">
                  <c:v>-0.16097913367230698</c:v>
                </c:pt>
                <c:pt idx="3557">
                  <c:v>-0.16145703092439778</c:v>
                </c:pt>
                <c:pt idx="3558">
                  <c:v>-0.15556666944513908</c:v>
                </c:pt>
                <c:pt idx="3559">
                  <c:v>-0.15223250257008702</c:v>
                </c:pt>
                <c:pt idx="3560">
                  <c:v>-0.15426078741907689</c:v>
                </c:pt>
                <c:pt idx="3561">
                  <c:v>-0.15156566919507652</c:v>
                </c:pt>
                <c:pt idx="3562">
                  <c:v>-0.16024561695979544</c:v>
                </c:pt>
                <c:pt idx="3563">
                  <c:v>-0.15591675696701945</c:v>
                </c:pt>
                <c:pt idx="3564">
                  <c:v>-0.15482759578783578</c:v>
                </c:pt>
                <c:pt idx="3565">
                  <c:v>-0.16741407574115752</c:v>
                </c:pt>
                <c:pt idx="3566">
                  <c:v>-0.16464671723486424</c:v>
                </c:pt>
                <c:pt idx="3567">
                  <c:v>-0.16857547720263399</c:v>
                </c:pt>
                <c:pt idx="3568">
                  <c:v>-0.16677502709010583</c:v>
                </c:pt>
                <c:pt idx="3569">
                  <c:v>-0.1541163068544914</c:v>
                </c:pt>
                <c:pt idx="3570">
                  <c:v>-0.15289377900030554</c:v>
                </c:pt>
                <c:pt idx="3571">
                  <c:v>-0.1536106248784419</c:v>
                </c:pt>
                <c:pt idx="3572">
                  <c:v>-0.15055430524297742</c:v>
                </c:pt>
                <c:pt idx="3573">
                  <c:v>-0.14383595898974744</c:v>
                </c:pt>
                <c:pt idx="3574">
                  <c:v>-0.1484871217804451</c:v>
                </c:pt>
                <c:pt idx="3575">
                  <c:v>-0.14948737184296079</c:v>
                </c:pt>
                <c:pt idx="3576">
                  <c:v>-0.14436942568975575</c:v>
                </c:pt>
                <c:pt idx="3577">
                  <c:v>-0.14810924953460591</c:v>
                </c:pt>
                <c:pt idx="3578">
                  <c:v>-0.15297713317218187</c:v>
                </c:pt>
                <c:pt idx="3579">
                  <c:v>-0.15341613181073044</c:v>
                </c:pt>
                <c:pt idx="3580">
                  <c:v>-0.14340251729599063</c:v>
                </c:pt>
                <c:pt idx="3581">
                  <c:v>-0.143508099247034</c:v>
                </c:pt>
                <c:pt idx="3582">
                  <c:v>-0.1498763579783835</c:v>
                </c:pt>
                <c:pt idx="3583">
                  <c:v>-0.15530549303992669</c:v>
                </c:pt>
                <c:pt idx="3584">
                  <c:v>-0.16294629212858769</c:v>
                </c:pt>
                <c:pt idx="3585">
                  <c:v>-0.1561723764274402</c:v>
                </c:pt>
                <c:pt idx="3586">
                  <c:v>-0.16325748103692583</c:v>
                </c:pt>
                <c:pt idx="3587">
                  <c:v>-0.16189602956294624</c:v>
                </c:pt>
                <c:pt idx="3588">
                  <c:v>-0.14829262871273363</c:v>
                </c:pt>
                <c:pt idx="3589">
                  <c:v>-0.14673668417104269</c:v>
                </c:pt>
                <c:pt idx="3590">
                  <c:v>-0.14290239226473278</c:v>
                </c:pt>
                <c:pt idx="3591">
                  <c:v>-0.14308021449806896</c:v>
                </c:pt>
                <c:pt idx="3592">
                  <c:v>-0.13339445972604258</c:v>
                </c:pt>
                <c:pt idx="3593">
                  <c:v>-0.13621738768025338</c:v>
                </c:pt>
                <c:pt idx="3594">
                  <c:v>-0.13751215581673193</c:v>
                </c:pt>
                <c:pt idx="3595">
                  <c:v>-0.13341113056041787</c:v>
                </c:pt>
                <c:pt idx="3596">
                  <c:v>-0.14005167958656328</c:v>
                </c:pt>
                <c:pt idx="3597">
                  <c:v>-0.13369453474479731</c:v>
                </c:pt>
                <c:pt idx="3598">
                  <c:v>-0.14107415742824592</c:v>
                </c:pt>
                <c:pt idx="3599">
                  <c:v>-0.14183545886471616</c:v>
                </c:pt>
                <c:pt idx="3600">
                  <c:v>-0.13187741379789386</c:v>
                </c:pt>
                <c:pt idx="3601">
                  <c:v>-0.12950459837181516</c:v>
                </c:pt>
                <c:pt idx="3602">
                  <c:v>-0.13441693756772521</c:v>
                </c:pt>
                <c:pt idx="3603">
                  <c:v>-0.12865994276346859</c:v>
                </c:pt>
                <c:pt idx="3604">
                  <c:v>-0.12747631352282507</c:v>
                </c:pt>
                <c:pt idx="3605">
                  <c:v>-0.11705704203828726</c:v>
                </c:pt>
                <c:pt idx="3606">
                  <c:v>-0.11745158511850184</c:v>
                </c:pt>
                <c:pt idx="3607">
                  <c:v>-0.1139840515684476</c:v>
                </c:pt>
                <c:pt idx="3608">
                  <c:v>-0.11148342641215858</c:v>
                </c:pt>
                <c:pt idx="3609">
                  <c:v>-0.11308382651218363</c:v>
                </c:pt>
                <c:pt idx="3610">
                  <c:v>-0.11158900836320185</c:v>
                </c:pt>
                <c:pt idx="3611">
                  <c:v>-0.10024172709844126</c:v>
                </c:pt>
                <c:pt idx="3612">
                  <c:v>-0.10000277847239591</c:v>
                </c:pt>
                <c:pt idx="3613">
                  <c:v>-9.8141201967158365E-2</c:v>
                </c:pt>
                <c:pt idx="3614">
                  <c:v>-0.1008585479703259</c:v>
                </c:pt>
                <c:pt idx="3615">
                  <c:v>-8.9716873662860186E-2</c:v>
                </c:pt>
                <c:pt idx="3616">
                  <c:v>-8.8488788863882673E-2</c:v>
                </c:pt>
                <c:pt idx="3617">
                  <c:v>-8.6104859548220447E-2</c:v>
                </c:pt>
                <c:pt idx="3618">
                  <c:v>-8.153149398460724E-2</c:v>
                </c:pt>
                <c:pt idx="3619">
                  <c:v>-8.9694645883693025E-2</c:v>
                </c:pt>
                <c:pt idx="3620">
                  <c:v>-8.5310216442999631E-2</c:v>
                </c:pt>
                <c:pt idx="3621">
                  <c:v>-9.0144758411825232E-2</c:v>
                </c:pt>
                <c:pt idx="3622">
                  <c:v>-8.2570642660665161E-2</c:v>
                </c:pt>
                <c:pt idx="3623">
                  <c:v>-8.1320330082520598E-2</c:v>
                </c:pt>
                <c:pt idx="3624">
                  <c:v>-7.5007640799088726E-2</c:v>
                </c:pt>
                <c:pt idx="3625">
                  <c:v>-7.5863410297018707E-2</c:v>
                </c:pt>
                <c:pt idx="3626">
                  <c:v>-6.861715428857218E-2</c:v>
                </c:pt>
                <c:pt idx="3627">
                  <c:v>-7.1584562807368468E-2</c:v>
                </c:pt>
                <c:pt idx="3628">
                  <c:v>-7.3512822650106946E-2</c:v>
                </c:pt>
                <c:pt idx="3629">
                  <c:v>-6.2298908060348324E-2</c:v>
                </c:pt>
                <c:pt idx="3630">
                  <c:v>-7.1484537801116854E-2</c:v>
                </c:pt>
                <c:pt idx="3631">
                  <c:v>-8.3970992748186979E-2</c:v>
                </c:pt>
                <c:pt idx="3632">
                  <c:v>-7.9164235503320302E-2</c:v>
                </c:pt>
                <c:pt idx="3633">
                  <c:v>-8.1587063432524753E-2</c:v>
                </c:pt>
                <c:pt idx="3634">
                  <c:v>-7.8219554888722231E-2</c:v>
                </c:pt>
                <c:pt idx="3635">
                  <c:v>-7.7591620127253957E-2</c:v>
                </c:pt>
                <c:pt idx="3636">
                  <c:v>-8.5165735878414028E-2</c:v>
                </c:pt>
                <c:pt idx="3637">
                  <c:v>-8.346531077213748E-2</c:v>
                </c:pt>
                <c:pt idx="3638">
                  <c:v>-7.19124225500819E-2</c:v>
                </c:pt>
                <c:pt idx="3639">
                  <c:v>-7.4124086577199821E-2</c:v>
                </c:pt>
                <c:pt idx="3640">
                  <c:v>-6.9461809896918636E-2</c:v>
                </c:pt>
                <c:pt idx="3641">
                  <c:v>-5.9192575921758195E-2</c:v>
                </c:pt>
                <c:pt idx="3642">
                  <c:v>-6.3699258147870252E-2</c:v>
                </c:pt>
                <c:pt idx="3643">
                  <c:v>-6.873385012919897E-2</c:v>
                </c:pt>
                <c:pt idx="3644">
                  <c:v>-5.964268844989018E-2</c:v>
                </c:pt>
                <c:pt idx="3645">
                  <c:v>-6.3715928982245429E-2</c:v>
                </c:pt>
                <c:pt idx="3646">
                  <c:v>-6.7539106998971921E-2</c:v>
                </c:pt>
                <c:pt idx="3647">
                  <c:v>-6.9928593259425909E-2</c:v>
                </c:pt>
                <c:pt idx="3648">
                  <c:v>-7.2434775360506798E-2</c:v>
                </c:pt>
                <c:pt idx="3649">
                  <c:v>-7.3979606012614219E-2</c:v>
                </c:pt>
                <c:pt idx="3650">
                  <c:v>-7.0134200216720899E-2</c:v>
                </c:pt>
                <c:pt idx="3651">
                  <c:v>-6.8861659859409174E-2</c:v>
                </c:pt>
                <c:pt idx="3652">
                  <c:v>-6.8822761245866948E-2</c:v>
                </c:pt>
                <c:pt idx="3653">
                  <c:v>-5.9820510683226247E-2</c:v>
                </c:pt>
                <c:pt idx="3654">
                  <c:v>-6.5388569364563276E-2</c:v>
                </c:pt>
                <c:pt idx="3655">
                  <c:v>-6.3560334528076412E-2</c:v>
                </c:pt>
                <c:pt idx="3656">
                  <c:v>-6.0415103775944057E-2</c:v>
                </c:pt>
                <c:pt idx="3657">
                  <c:v>-5.8786918951960199E-2</c:v>
                </c:pt>
                <c:pt idx="3658">
                  <c:v>-6.6577755549998563E-2</c:v>
                </c:pt>
                <c:pt idx="3659">
                  <c:v>-7.1951321163624238E-2</c:v>
                </c:pt>
                <c:pt idx="3660">
                  <c:v>-8.5443583118001709E-2</c:v>
                </c:pt>
                <c:pt idx="3661">
                  <c:v>-9.9102553416131722E-2</c:v>
                </c:pt>
                <c:pt idx="3662">
                  <c:v>-8.7871967991997924E-2</c:v>
                </c:pt>
                <c:pt idx="3663">
                  <c:v>-0.10093634519741035</c:v>
                </c:pt>
                <c:pt idx="3664">
                  <c:v>-9.5868411547331278E-2</c:v>
                </c:pt>
                <c:pt idx="3665">
                  <c:v>-8.5165735878414028E-2</c:v>
                </c:pt>
                <c:pt idx="3666">
                  <c:v>-8.632158039509874E-2</c:v>
                </c:pt>
                <c:pt idx="3667">
                  <c:v>-9.6529687977550016E-2</c:v>
                </c:pt>
                <c:pt idx="3668">
                  <c:v>-0.10822149981939932</c:v>
                </c:pt>
                <c:pt idx="3669">
                  <c:v>-0.10940512906004274</c:v>
                </c:pt>
                <c:pt idx="3670">
                  <c:v>-0.11152788197049268</c:v>
                </c:pt>
                <c:pt idx="3671">
                  <c:v>-9.6990914395265415E-2</c:v>
                </c:pt>
                <c:pt idx="3672">
                  <c:v>-9.7907810285904895E-2</c:v>
                </c:pt>
                <c:pt idx="3673">
                  <c:v>-8.602150537634401E-2</c:v>
                </c:pt>
                <c:pt idx="3674">
                  <c:v>-8.2309466255452657E-2</c:v>
                </c:pt>
                <c:pt idx="3675">
                  <c:v>-8.2870717679419781E-2</c:v>
                </c:pt>
                <c:pt idx="3676">
                  <c:v>-7.8013947931427241E-2</c:v>
                </c:pt>
                <c:pt idx="3677">
                  <c:v>-7.0100858547970213E-2</c:v>
                </c:pt>
                <c:pt idx="3678">
                  <c:v>-6.2965741435358824E-2</c:v>
                </c:pt>
                <c:pt idx="3679">
                  <c:v>-6.463838181767656E-2</c:v>
                </c:pt>
                <c:pt idx="3680">
                  <c:v>-7.0801033591731177E-2</c:v>
                </c:pt>
                <c:pt idx="3681">
                  <c:v>-7.1790169764663458E-2</c:v>
                </c:pt>
                <c:pt idx="3682">
                  <c:v>-6.6977855575004797E-2</c:v>
                </c:pt>
                <c:pt idx="3683">
                  <c:v>-7.9775499430413177E-2</c:v>
                </c:pt>
                <c:pt idx="3684">
                  <c:v>-8.0786863382512286E-2</c:v>
                </c:pt>
                <c:pt idx="3685">
                  <c:v>-8.0242282792920339E-2</c:v>
                </c:pt>
                <c:pt idx="3686">
                  <c:v>-7.5535550554305275E-2</c:v>
                </c:pt>
                <c:pt idx="3687">
                  <c:v>-7.4551971326164757E-2</c:v>
                </c:pt>
                <c:pt idx="3688">
                  <c:v>-8.894445833680642E-2</c:v>
                </c:pt>
                <c:pt idx="3689">
                  <c:v>-8.4043233030479891E-2</c:v>
                </c:pt>
                <c:pt idx="3690">
                  <c:v>-7.1084437776110621E-2</c:v>
                </c:pt>
                <c:pt idx="3691">
                  <c:v>-7.0534300241727133E-2</c:v>
                </c:pt>
                <c:pt idx="3692">
                  <c:v>-7.4663110221999895E-2</c:v>
                </c:pt>
                <c:pt idx="3693">
                  <c:v>-7.2557028145925351E-2</c:v>
                </c:pt>
                <c:pt idx="3694">
                  <c:v>-8.521574838153978E-2</c:v>
                </c:pt>
                <c:pt idx="3695">
                  <c:v>-9.1906309910810946E-2</c:v>
                </c:pt>
                <c:pt idx="3696">
                  <c:v>-9.7268761634853096E-2</c:v>
                </c:pt>
                <c:pt idx="3697">
                  <c:v>-8.8961129171181597E-2</c:v>
                </c:pt>
                <c:pt idx="3698">
                  <c:v>-8.7271817954488573E-2</c:v>
                </c:pt>
                <c:pt idx="3699">
                  <c:v>-8.5521380345086162E-2</c:v>
                </c:pt>
                <c:pt idx="3700">
                  <c:v>-9.1578450168097514E-2</c:v>
                </c:pt>
                <c:pt idx="3701">
                  <c:v>-0.10404823428079246</c:v>
                </c:pt>
                <c:pt idx="3702">
                  <c:v>-0.11345614181323105</c:v>
                </c:pt>
                <c:pt idx="3703">
                  <c:v>-0.10647661915478868</c:v>
                </c:pt>
                <c:pt idx="3704">
                  <c:v>-0.1046928398766358</c:v>
                </c:pt>
                <c:pt idx="3705">
                  <c:v>-0.10530410380372868</c:v>
                </c:pt>
                <c:pt idx="3706">
                  <c:v>-0.10582089966936181</c:v>
                </c:pt>
                <c:pt idx="3707">
                  <c:v>-0.11520657942263335</c:v>
                </c:pt>
                <c:pt idx="3708">
                  <c:v>-0.10914395265483035</c:v>
                </c:pt>
                <c:pt idx="3709">
                  <c:v>-0.11128337639965546</c:v>
                </c:pt>
                <c:pt idx="3710">
                  <c:v>-0.11085549165069042</c:v>
                </c:pt>
                <c:pt idx="3711">
                  <c:v>-0.10728237614959291</c:v>
                </c:pt>
                <c:pt idx="3712">
                  <c:v>-0.10576533022144419</c:v>
                </c:pt>
                <c:pt idx="3713">
                  <c:v>-9.136172932121911E-2</c:v>
                </c:pt>
                <c:pt idx="3714">
                  <c:v>-8.9683531994109611E-2</c:v>
                </c:pt>
                <c:pt idx="3715">
                  <c:v>-8.440999138673555E-2</c:v>
                </c:pt>
                <c:pt idx="3716">
                  <c:v>-8.4882331694034585E-2</c:v>
                </c:pt>
                <c:pt idx="3717">
                  <c:v>-8.445444694506965E-2</c:v>
                </c:pt>
                <c:pt idx="3718">
                  <c:v>-8.1070267566891618E-2</c:v>
                </c:pt>
                <c:pt idx="3719">
                  <c:v>-8.7866411047206161E-2</c:v>
                </c:pt>
                <c:pt idx="3720">
                  <c:v>-8.3065210747131246E-2</c:v>
                </c:pt>
                <c:pt idx="3721">
                  <c:v>-6.838931955211025E-2</c:v>
                </c:pt>
                <c:pt idx="3722">
                  <c:v>-6.6872273623961531E-2</c:v>
                </c:pt>
                <c:pt idx="3723">
                  <c:v>-7.5668917229307242E-2</c:v>
                </c:pt>
                <c:pt idx="3724">
                  <c:v>-7.142896835319934E-2</c:v>
                </c:pt>
                <c:pt idx="3725">
                  <c:v>-8.0325636964796776E-2</c:v>
                </c:pt>
                <c:pt idx="3726">
                  <c:v>-7.4813147731377261E-2</c:v>
                </c:pt>
                <c:pt idx="3727">
                  <c:v>-7.3529493484482233E-2</c:v>
                </c:pt>
                <c:pt idx="3728">
                  <c:v>-7.4757578283459747E-2</c:v>
                </c:pt>
                <c:pt idx="3729">
                  <c:v>-7.2329193409463421E-2</c:v>
                </c:pt>
                <c:pt idx="3730">
                  <c:v>-7.6180156150148615E-2</c:v>
                </c:pt>
                <c:pt idx="3731">
                  <c:v>-7.2795976771970805E-2</c:v>
                </c:pt>
                <c:pt idx="3732">
                  <c:v>-6.4905115167680827E-2</c:v>
                </c:pt>
                <c:pt idx="3733">
                  <c:v>-6.7505765330221457E-2</c:v>
                </c:pt>
                <c:pt idx="3734">
                  <c:v>-7.2584812869884052E-2</c:v>
                </c:pt>
                <c:pt idx="3735">
                  <c:v>-7.3318329582395592E-2</c:v>
                </c:pt>
                <c:pt idx="3736">
                  <c:v>-7.0967741935483941E-2</c:v>
                </c:pt>
                <c:pt idx="3737">
                  <c:v>-6.7083437526048173E-2</c:v>
                </c:pt>
                <c:pt idx="3738">
                  <c:v>-7.669695201578175E-2</c:v>
                </c:pt>
                <c:pt idx="3739">
                  <c:v>-7.9586563307493585E-2</c:v>
                </c:pt>
                <c:pt idx="3740">
                  <c:v>-8.7082881831568981E-2</c:v>
                </c:pt>
                <c:pt idx="3741">
                  <c:v>-8.5126837264871802E-2</c:v>
                </c:pt>
                <c:pt idx="3742">
                  <c:v>-9.2617598844155435E-2</c:v>
                </c:pt>
                <c:pt idx="3743">
                  <c:v>-8.9539051429524008E-2</c:v>
                </c:pt>
                <c:pt idx="3744">
                  <c:v>-8.8255397182628981E-2</c:v>
                </c:pt>
                <c:pt idx="3745">
                  <c:v>-8.7571892973243304E-2</c:v>
                </c:pt>
                <c:pt idx="3746">
                  <c:v>-9.0539301492039703E-2</c:v>
                </c:pt>
                <c:pt idx="3747">
                  <c:v>-9.4451390625434173E-2</c:v>
                </c:pt>
                <c:pt idx="3748">
                  <c:v>-9.8769136728626639E-2</c:v>
                </c:pt>
                <c:pt idx="3749">
                  <c:v>-9.9174793698424635E-2</c:v>
                </c:pt>
                <c:pt idx="3750">
                  <c:v>-9.2817648856658552E-2</c:v>
                </c:pt>
                <c:pt idx="3751">
                  <c:v>-0.10484287738601306</c:v>
                </c:pt>
                <c:pt idx="3752">
                  <c:v>-0.10240337862243343</c:v>
                </c:pt>
                <c:pt idx="3753">
                  <c:v>-0.11109999722152764</c:v>
                </c:pt>
                <c:pt idx="3754">
                  <c:v>-0.11284487788613817</c:v>
                </c:pt>
                <c:pt idx="3755">
                  <c:v>-0.10403712039120894</c:v>
                </c:pt>
                <c:pt idx="3756">
                  <c:v>-0.10338695785057372</c:v>
                </c:pt>
                <c:pt idx="3757">
                  <c:v>-9.9024756189047269E-2</c:v>
                </c:pt>
                <c:pt idx="3758">
                  <c:v>-9.7963379733822298E-2</c:v>
                </c:pt>
                <c:pt idx="3759">
                  <c:v>-9.3951265594176325E-2</c:v>
                </c:pt>
                <c:pt idx="3760">
                  <c:v>-9.9619349281764857E-2</c:v>
                </c:pt>
                <c:pt idx="3761">
                  <c:v>-0.10033063821510935</c:v>
                </c:pt>
                <c:pt idx="3762">
                  <c:v>-0.11497874468617142</c:v>
                </c:pt>
                <c:pt idx="3763">
                  <c:v>-0.12863215803950989</c:v>
                </c:pt>
                <c:pt idx="3764">
                  <c:v>-0.12758189547386845</c:v>
                </c:pt>
                <c:pt idx="3765">
                  <c:v>-0.11625128504348314</c:v>
                </c:pt>
                <c:pt idx="3766">
                  <c:v>-0.11842960740185038</c:v>
                </c:pt>
                <c:pt idx="3767">
                  <c:v>-0.12869884137701082</c:v>
                </c:pt>
                <c:pt idx="3768">
                  <c:v>-0.12731516212386429</c:v>
                </c:pt>
                <c:pt idx="3769">
                  <c:v>-0.11536773082159424</c:v>
                </c:pt>
                <c:pt idx="3770">
                  <c:v>-0.11335055986218778</c:v>
                </c:pt>
                <c:pt idx="3771">
                  <c:v>-0.10215331610680445</c:v>
                </c:pt>
                <c:pt idx="3772">
                  <c:v>-0.10534855936206267</c:v>
                </c:pt>
                <c:pt idx="3773">
                  <c:v>-9.9513767330721481E-2</c:v>
                </c:pt>
                <c:pt idx="3774">
                  <c:v>-0.10161984940679614</c:v>
                </c:pt>
                <c:pt idx="3775">
                  <c:v>-0.10118640771303933</c:v>
                </c:pt>
                <c:pt idx="3776">
                  <c:v>-9.3951265594176325E-2</c:v>
                </c:pt>
                <c:pt idx="3777">
                  <c:v>-9.3840126698341186E-2</c:v>
                </c:pt>
                <c:pt idx="3778">
                  <c:v>-9.1533994609763525E-2</c:v>
                </c:pt>
                <c:pt idx="3779">
                  <c:v>-9.8507960323414134E-2</c:v>
                </c:pt>
                <c:pt idx="3780">
                  <c:v>-9.4312467005640332E-2</c:v>
                </c:pt>
                <c:pt idx="3781">
                  <c:v>-9.265094051290601E-2</c:v>
                </c:pt>
                <c:pt idx="3782">
                  <c:v>-8.2470617654413547E-2</c:v>
                </c:pt>
                <c:pt idx="3783">
                  <c:v>-8.629935261593169E-2</c:v>
                </c:pt>
                <c:pt idx="3784">
                  <c:v>-7.9964435553332658E-2</c:v>
                </c:pt>
                <c:pt idx="3785">
                  <c:v>-8.392653718985299E-2</c:v>
                </c:pt>
                <c:pt idx="3786">
                  <c:v>-8.2187213470034104E-2</c:v>
                </c:pt>
                <c:pt idx="3787">
                  <c:v>-7.7636075685588057E-2</c:v>
                </c:pt>
                <c:pt idx="3788">
                  <c:v>-7.5824511683476481E-2</c:v>
                </c:pt>
                <c:pt idx="3789">
                  <c:v>-7.3757328220944163E-2</c:v>
                </c:pt>
                <c:pt idx="3790">
                  <c:v>-8.0270067516879262E-2</c:v>
                </c:pt>
                <c:pt idx="3791">
                  <c:v>-7.7669417354338521E-2</c:v>
                </c:pt>
                <c:pt idx="3792">
                  <c:v>-7.3518379594898708E-2</c:v>
                </c:pt>
                <c:pt idx="3793">
                  <c:v>-7.8725236864771619E-2</c:v>
                </c:pt>
                <c:pt idx="3794">
                  <c:v>-7.2884887888638783E-2</c:v>
                </c:pt>
                <c:pt idx="3795">
                  <c:v>-8.5788113695090429E-2</c:v>
                </c:pt>
                <c:pt idx="3796">
                  <c:v>-8.9872468117029314E-2</c:v>
                </c:pt>
                <c:pt idx="3797">
                  <c:v>-8.843877636075681E-2</c:v>
                </c:pt>
                <c:pt idx="3798">
                  <c:v>-9.3845683643132949E-2</c:v>
                </c:pt>
                <c:pt idx="3799">
                  <c:v>-8.8316523575338368E-2</c:v>
                </c:pt>
                <c:pt idx="3800">
                  <c:v>-8.4332194159650986E-2</c:v>
                </c:pt>
                <c:pt idx="3801">
                  <c:v>-8.4504459448195401E-2</c:v>
                </c:pt>
                <c:pt idx="3802">
                  <c:v>-7.0606540524019823E-2</c:v>
                </c:pt>
                <c:pt idx="3803">
                  <c:v>-6.7489094495846169E-2</c:v>
                </c:pt>
                <c:pt idx="3804">
                  <c:v>-6.8050345919813293E-2</c:v>
                </c:pt>
                <c:pt idx="3805">
                  <c:v>-6.1526492734294669E-2</c:v>
                </c:pt>
                <c:pt idx="3806">
                  <c:v>-7.0834375260481752E-2</c:v>
                </c:pt>
                <c:pt idx="3807">
                  <c:v>-7.7819454863715887E-2</c:v>
                </c:pt>
                <c:pt idx="3808">
                  <c:v>-7.5968992248062084E-2</c:v>
                </c:pt>
                <c:pt idx="3809">
                  <c:v>-7.8063960434553104E-2</c:v>
                </c:pt>
                <c:pt idx="3810">
                  <c:v>-8.4698952515906645E-2</c:v>
                </c:pt>
                <c:pt idx="3811">
                  <c:v>-9.3212191936873134E-2</c:v>
                </c:pt>
                <c:pt idx="3812">
                  <c:v>-8.9172293073268349E-2</c:v>
                </c:pt>
                <c:pt idx="3813">
                  <c:v>-8.43877636075685E-2</c:v>
                </c:pt>
                <c:pt idx="3814">
                  <c:v>-9.3251090550415361E-2</c:v>
                </c:pt>
                <c:pt idx="3815">
                  <c:v>-9.283431969103384E-2</c:v>
                </c:pt>
                <c:pt idx="3816">
                  <c:v>-9.0461504264955139E-2</c:v>
                </c:pt>
                <c:pt idx="3817">
                  <c:v>-9.930260342863495E-2</c:v>
                </c:pt>
                <c:pt idx="3818">
                  <c:v>-0.10006390486510508</c:v>
                </c:pt>
                <c:pt idx="3819">
                  <c:v>-8.6677224861770985E-2</c:v>
                </c:pt>
                <c:pt idx="3820">
                  <c:v>-7.4763135228251509E-2</c:v>
                </c:pt>
                <c:pt idx="3821">
                  <c:v>-7.2795976771970805E-2</c:v>
                </c:pt>
                <c:pt idx="3822">
                  <c:v>-7.0517629407351734E-2</c:v>
                </c:pt>
                <c:pt idx="3823">
                  <c:v>-7.0267566891722977E-2</c:v>
                </c:pt>
                <c:pt idx="3824">
                  <c:v>-7.0234225222972291E-2</c:v>
                </c:pt>
                <c:pt idx="3825">
                  <c:v>-5.964268844989018E-2</c:v>
                </c:pt>
                <c:pt idx="3826">
                  <c:v>-4.440554583090206E-2</c:v>
                </c:pt>
                <c:pt idx="3827">
                  <c:v>-4.0682392820427404E-2</c:v>
                </c:pt>
                <c:pt idx="3828">
                  <c:v>-4.1654858158984176E-2</c:v>
                </c:pt>
                <c:pt idx="3829">
                  <c:v>-4.1938262343363619E-2</c:v>
                </c:pt>
                <c:pt idx="3830">
                  <c:v>-4.2721791559000799E-2</c:v>
                </c:pt>
                <c:pt idx="3831">
                  <c:v>-3.4025172959906702E-2</c:v>
                </c:pt>
                <c:pt idx="3832">
                  <c:v>-2.5128504348309266E-2</c:v>
                </c:pt>
                <c:pt idx="3833">
                  <c:v>-2.5317440471228858E-2</c:v>
                </c:pt>
                <c:pt idx="3834">
                  <c:v>-3.2135811730710451E-2</c:v>
                </c:pt>
                <c:pt idx="3835">
                  <c:v>-2.6662221110833273E-2</c:v>
                </c:pt>
                <c:pt idx="3836">
                  <c:v>-2.5328554360812383E-2</c:v>
                </c:pt>
                <c:pt idx="3837">
                  <c:v>-3.6175710594315236E-2</c:v>
                </c:pt>
                <c:pt idx="3838">
                  <c:v>-3.0474285237976129E-2</c:v>
                </c:pt>
                <c:pt idx="3839">
                  <c:v>-3.0696563029646295E-2</c:v>
                </c:pt>
                <c:pt idx="3840">
                  <c:v>-2.6673335000416798E-2</c:v>
                </c:pt>
                <c:pt idx="3841">
                  <c:v>-2.5817565502486706E-2</c:v>
                </c:pt>
                <c:pt idx="3842">
                  <c:v>-2.9012808757745034E-2</c:v>
                </c:pt>
                <c:pt idx="3843">
                  <c:v>-3.2908227056764217E-2</c:v>
                </c:pt>
                <c:pt idx="3844">
                  <c:v>-1.8143424745075132E-2</c:v>
                </c:pt>
                <c:pt idx="3845">
                  <c:v>-1.8993637298213462E-2</c:v>
                </c:pt>
                <c:pt idx="3846">
                  <c:v>-1.8293462254452386E-2</c:v>
                </c:pt>
                <c:pt idx="3847">
                  <c:v>-1.9015865077380512E-2</c:v>
                </c:pt>
                <c:pt idx="3848">
                  <c:v>-2.9851907421299839E-2</c:v>
                </c:pt>
                <c:pt idx="3849">
                  <c:v>-2.4895112667055574E-2</c:v>
                </c:pt>
                <c:pt idx="3850">
                  <c:v>-1.9560445666972348E-2</c:v>
                </c:pt>
                <c:pt idx="3851">
                  <c:v>-2.0582923508654871E-2</c:v>
                </c:pt>
                <c:pt idx="3852">
                  <c:v>-1.1675141007474132E-2</c:v>
                </c:pt>
                <c:pt idx="3853">
                  <c:v>-7.8019504876218893E-3</c:v>
                </c:pt>
                <c:pt idx="3854">
                  <c:v>-5.7847795282153225E-3</c:v>
                </c:pt>
                <c:pt idx="3855">
                  <c:v>-7.8019504876218893E-3</c:v>
                </c:pt>
                <c:pt idx="3856">
                  <c:v>-1.5203800950237545E-2</c:v>
                </c:pt>
                <c:pt idx="3857">
                  <c:v>-1.4825928704398361E-2</c:v>
                </c:pt>
                <c:pt idx="3858">
                  <c:v>-5.9014753688421129E-3</c:v>
                </c:pt>
                <c:pt idx="3859">
                  <c:v>-2.1616515239920586E-3</c:v>
                </c:pt>
                <c:pt idx="3860">
                  <c:v>-1.7004251062765485E-3</c:v>
                </c:pt>
                <c:pt idx="3861">
                  <c:v>-5.9959434303019643E-3</c:v>
                </c:pt>
                <c:pt idx="3862">
                  <c:v>1.1280597927258995E-3</c:v>
                </c:pt>
                <c:pt idx="3863">
                  <c:v>1.200300075018701E-3</c:v>
                </c:pt>
                <c:pt idx="3864">
                  <c:v>1.3503375843961773E-3</c:v>
                </c:pt>
                <c:pt idx="3865">
                  <c:v>0</c:v>
                </c:pt>
                <c:pt idx="3866">
                  <c:v>-8.1075824511682715E-3</c:v>
                </c:pt>
                <c:pt idx="3867">
                  <c:v>-1.958823039093105E-2</c:v>
                </c:pt>
                <c:pt idx="3868">
                  <c:v>-2.3050206996193534E-2</c:v>
                </c:pt>
                <c:pt idx="3869">
                  <c:v>-1.9404851212803109E-2</c:v>
                </c:pt>
                <c:pt idx="3870">
                  <c:v>-2.0799644355533387E-2</c:v>
                </c:pt>
                <c:pt idx="3871">
                  <c:v>-1.7437692756522405E-2</c:v>
                </c:pt>
                <c:pt idx="3872">
                  <c:v>-2.3361395904531679E-2</c:v>
                </c:pt>
                <c:pt idx="3873">
                  <c:v>-1.9354838709677358E-2</c:v>
                </c:pt>
                <c:pt idx="3874">
                  <c:v>-2.7823622572309747E-2</c:v>
                </c:pt>
                <c:pt idx="3875">
                  <c:v>-2.1988830540968562E-2</c:v>
                </c:pt>
                <c:pt idx="3876">
                  <c:v>-1.2514239671028826E-2</c:v>
                </c:pt>
                <c:pt idx="3877">
                  <c:v>-2.182212219721591E-2</c:v>
                </c:pt>
                <c:pt idx="3878">
                  <c:v>-2.9418465727543031E-2</c:v>
                </c:pt>
                <c:pt idx="3879">
                  <c:v>-3.5636686949515051E-2</c:v>
                </c:pt>
                <c:pt idx="3880">
                  <c:v>-3.9020866327693082E-2</c:v>
                </c:pt>
                <c:pt idx="3881">
                  <c:v>-3.5175460531799541E-2</c:v>
                </c:pt>
                <c:pt idx="3882">
                  <c:v>-3.0468728293184366E-2</c:v>
                </c:pt>
                <c:pt idx="3883">
                  <c:v>-2.9990831041093569E-2</c:v>
                </c:pt>
                <c:pt idx="3884">
                  <c:v>-3.2558139534883623E-2</c:v>
                </c:pt>
                <c:pt idx="3885">
                  <c:v>-2.437831680142255E-2</c:v>
                </c:pt>
                <c:pt idx="3886">
                  <c:v>-1.7648856658609047E-2</c:v>
                </c:pt>
                <c:pt idx="3887">
                  <c:v>-1.4403600900224967E-2</c:v>
                </c:pt>
                <c:pt idx="3888">
                  <c:v>-1.6831985774221292E-2</c:v>
                </c:pt>
                <c:pt idx="3889">
                  <c:v>-5.9626017615515003E-3</c:v>
                </c:pt>
                <c:pt idx="3890">
                  <c:v>-7.0184212719845984E-3</c:v>
                </c:pt>
                <c:pt idx="3891">
                  <c:v>-6.329360117807159E-3</c:v>
                </c:pt>
                <c:pt idx="3892">
                  <c:v>-1.4598093967936432E-2</c:v>
                </c:pt>
                <c:pt idx="3893">
                  <c:v>-1.0419271484537806E-2</c:v>
                </c:pt>
                <c:pt idx="3894">
                  <c:v>-3.3397238198438206E-3</c:v>
                </c:pt>
                <c:pt idx="3895">
                  <c:v>-2.5395237698313533E-3</c:v>
                </c:pt>
                <c:pt idx="3896">
                  <c:v>8.3909866355469376E-4</c:v>
                </c:pt>
                <c:pt idx="3897">
                  <c:v>1.133616737517773E-3</c:v>
                </c:pt>
                <c:pt idx="3898">
                  <c:v>-6.7461309771886802E-3</c:v>
                </c:pt>
                <c:pt idx="3899">
                  <c:v>-6.0570698230112408E-3</c:v>
                </c:pt>
                <c:pt idx="3900">
                  <c:v>-2.0443999888861031E-2</c:v>
                </c:pt>
                <c:pt idx="3901">
                  <c:v>-1.4887055097107638E-2</c:v>
                </c:pt>
                <c:pt idx="3902">
                  <c:v>-6.7850295907310176E-3</c:v>
                </c:pt>
                <c:pt idx="3903">
                  <c:v>2.5673084937902768E-3</c:v>
                </c:pt>
                <c:pt idx="3904">
                  <c:v>-3.8454057958933197E-3</c:v>
                </c:pt>
                <c:pt idx="3905">
                  <c:v>1.8004501125281624E-3</c:v>
                </c:pt>
                <c:pt idx="3906">
                  <c:v>1.8726903948209639E-3</c:v>
                </c:pt>
                <c:pt idx="3907">
                  <c:v>2.2005501375343961E-3</c:v>
                </c:pt>
                <c:pt idx="3908">
                  <c:v>1.1852963240810199E-2</c:v>
                </c:pt>
                <c:pt idx="3909">
                  <c:v>1.4531410630435504E-2</c:v>
                </c:pt>
                <c:pt idx="3910">
                  <c:v>9.763551999110831E-3</c:v>
                </c:pt>
                <c:pt idx="3911">
                  <c:v>-4.2232780417328364E-4</c:v>
                </c:pt>
                <c:pt idx="3912">
                  <c:v>1.4725903698147302E-3</c:v>
                </c:pt>
                <c:pt idx="3913">
                  <c:v>-5.8570198105081239E-3</c:v>
                </c:pt>
                <c:pt idx="3914">
                  <c:v>-2.2783473646181829E-4</c:v>
                </c:pt>
                <c:pt idx="3915">
                  <c:v>-7.7463810397043753E-3</c:v>
                </c:pt>
                <c:pt idx="3916">
                  <c:v>-1.5670584312744928E-2</c:v>
                </c:pt>
                <c:pt idx="3917">
                  <c:v>-1.3892361979383705E-2</c:v>
                </c:pt>
                <c:pt idx="3918">
                  <c:v>-1.4353588397099215E-2</c:v>
                </c:pt>
                <c:pt idx="3919">
                  <c:v>-1.9210358145091755E-2</c:v>
                </c:pt>
                <c:pt idx="3920">
                  <c:v>-2.9185074046289339E-2</c:v>
                </c:pt>
                <c:pt idx="3921">
                  <c:v>-2.8490455947320137E-2</c:v>
                </c:pt>
                <c:pt idx="3922">
                  <c:v>-2.9412908782751268E-2</c:v>
                </c:pt>
                <c:pt idx="3923">
                  <c:v>-2.7045650301464219E-2</c:v>
                </c:pt>
                <c:pt idx="3924">
                  <c:v>-3.4236336861993233E-2</c:v>
                </c:pt>
                <c:pt idx="3925">
                  <c:v>-2.0816315189908563E-2</c:v>
                </c:pt>
                <c:pt idx="3926">
                  <c:v>-2.1483148564918952E-2</c:v>
                </c:pt>
                <c:pt idx="3927">
                  <c:v>-2.7840293406684924E-2</c:v>
                </c:pt>
                <c:pt idx="3928">
                  <c:v>-2.5072934900391752E-2</c:v>
                </c:pt>
                <c:pt idx="3929">
                  <c:v>-2.0688505459698248E-2</c:v>
                </c:pt>
                <c:pt idx="3930">
                  <c:v>-1.8260120585701922E-2</c:v>
                </c:pt>
                <c:pt idx="3931">
                  <c:v>-1.2336417437692759E-2</c:v>
                </c:pt>
                <c:pt idx="3932">
                  <c:v>-2.057736656386322E-2</c:v>
                </c:pt>
                <c:pt idx="3933">
                  <c:v>-2.055513878469617E-2</c:v>
                </c:pt>
                <c:pt idx="3934">
                  <c:v>-1.5070434275235467E-2</c:v>
                </c:pt>
                <c:pt idx="3935">
                  <c:v>-2.6551082214998134E-2</c:v>
                </c:pt>
                <c:pt idx="3936">
                  <c:v>-3.6286849490150264E-2</c:v>
                </c:pt>
                <c:pt idx="3937">
                  <c:v>-5.2396432441443652E-2</c:v>
                </c:pt>
                <c:pt idx="3938">
                  <c:v>-4.9612403100775193E-2</c:v>
                </c:pt>
                <c:pt idx="3939">
                  <c:v>-4.39665471923536E-2</c:v>
                </c:pt>
                <c:pt idx="3940">
                  <c:v>-5.6575254924842278E-2</c:v>
                </c:pt>
                <c:pt idx="3941">
                  <c:v>-3.7942819038092823E-2</c:v>
                </c:pt>
                <c:pt idx="3942">
                  <c:v>-4.4394431941318646E-2</c:v>
                </c:pt>
                <c:pt idx="3943">
                  <c:v>-3.6114584201605959E-2</c:v>
                </c:pt>
                <c:pt idx="3944">
                  <c:v>-4.4711177794448664E-2</c:v>
                </c:pt>
                <c:pt idx="3945">
                  <c:v>-4.0754633102720095E-2</c:v>
                </c:pt>
                <c:pt idx="3946">
                  <c:v>-5.1357283765385731E-2</c:v>
                </c:pt>
                <c:pt idx="3947">
                  <c:v>-4.0043344169375605E-2</c:v>
                </c:pt>
                <c:pt idx="3948">
                  <c:v>-3.5631130004723288E-2</c:v>
                </c:pt>
                <c:pt idx="3949">
                  <c:v>-3.6453557833902916E-2</c:v>
                </c:pt>
                <c:pt idx="3950">
                  <c:v>-2.4244950126420473E-2</c:v>
                </c:pt>
                <c:pt idx="3951">
                  <c:v>-2.6717790558750787E-2</c:v>
                </c:pt>
                <c:pt idx="3952">
                  <c:v>-2.7729154510849896E-2</c:v>
                </c:pt>
                <c:pt idx="3953">
                  <c:v>-2.1494262454502588E-2</c:v>
                </c:pt>
                <c:pt idx="3954">
                  <c:v>-3.1946875607790859E-2</c:v>
                </c:pt>
                <c:pt idx="3955">
                  <c:v>-2.7390180878552939E-2</c:v>
                </c:pt>
                <c:pt idx="3956">
                  <c:v>-3.7042593981828742E-2</c:v>
                </c:pt>
                <c:pt idx="3957">
                  <c:v>-4.134366925064592E-2</c:v>
                </c:pt>
                <c:pt idx="3958">
                  <c:v>-3.1569003361951564E-2</c:v>
                </c:pt>
                <c:pt idx="3959">
                  <c:v>-2.4700619599344331E-2</c:v>
                </c:pt>
                <c:pt idx="3960">
                  <c:v>-1.4748131477313797E-2</c:v>
                </c:pt>
                <c:pt idx="3961">
                  <c:v>-1.0152538134533651E-2</c:v>
                </c:pt>
                <c:pt idx="3962">
                  <c:v>-1.164735628351532E-2</c:v>
                </c:pt>
                <c:pt idx="3963">
                  <c:v>-7.8297352115805907E-3</c:v>
                </c:pt>
                <c:pt idx="3964">
                  <c:v>-7.6463560334527614E-3</c:v>
                </c:pt>
                <c:pt idx="3965">
                  <c:v>-1.0969409018921406E-2</c:v>
                </c:pt>
                <c:pt idx="3966">
                  <c:v>-4.5233530604872341E-3</c:v>
                </c:pt>
                <c:pt idx="3967">
                  <c:v>-3.4508627156789595E-3</c:v>
                </c:pt>
                <c:pt idx="3968">
                  <c:v>-9.4968186491066753E-3</c:v>
                </c:pt>
                <c:pt idx="3969">
                  <c:v>-2.2227779167005579E-4</c:v>
                </c:pt>
                <c:pt idx="3970">
                  <c:v>1.4670334250230788E-3</c:v>
                </c:pt>
                <c:pt idx="3971">
                  <c:v>-5.4013503375843763E-3</c:v>
                </c:pt>
                <c:pt idx="3972">
                  <c:v>-4.1176960906892379E-3</c:v>
                </c:pt>
                <c:pt idx="3973">
                  <c:v>-4.2566197104830783E-3</c:v>
                </c:pt>
                <c:pt idx="3974">
                  <c:v>-6.2515628907227061E-3</c:v>
                </c:pt>
                <c:pt idx="3975">
                  <c:v>-1.0169208968908716E-3</c:v>
                </c:pt>
                <c:pt idx="3976">
                  <c:v>-3.3563946542191081E-3</c:v>
                </c:pt>
                <c:pt idx="3977">
                  <c:v>-8.2242782917951729E-4</c:v>
                </c:pt>
                <c:pt idx="3978">
                  <c:v>1.7671084437775875E-3</c:v>
                </c:pt>
                <c:pt idx="3979">
                  <c:v>4.017671084437735E-3</c:v>
                </c:pt>
                <c:pt idx="3980">
                  <c:v>7.6685838126198114E-3</c:v>
                </c:pt>
                <c:pt idx="3981">
                  <c:v>1.2669834125197843E-2</c:v>
                </c:pt>
                <c:pt idx="3982">
                  <c:v>1.1952988247061702E-2</c:v>
                </c:pt>
                <c:pt idx="3983">
                  <c:v>9.8969186741129089E-3</c:v>
                </c:pt>
                <c:pt idx="3984">
                  <c:v>1.0141424244950237E-2</c:v>
                </c:pt>
                <c:pt idx="3985">
                  <c:v>-5.8903614792582548E-4</c:v>
                </c:pt>
                <c:pt idx="3986">
                  <c:v>-8.2131644022116479E-3</c:v>
                </c:pt>
                <c:pt idx="3987">
                  <c:v>-8.9466811147230763E-3</c:v>
                </c:pt>
                <c:pt idx="3988">
                  <c:v>2.8896112917120576E-4</c:v>
                </c:pt>
                <c:pt idx="3989">
                  <c:v>-1.0113639520991091E-3</c:v>
                </c:pt>
                <c:pt idx="3990">
                  <c:v>-8.090911616793095E-3</c:v>
                </c:pt>
                <c:pt idx="3991">
                  <c:v>-5.3902364480009624E-3</c:v>
                </c:pt>
                <c:pt idx="3992">
                  <c:v>3.4064071573449706E-3</c:v>
                </c:pt>
                <c:pt idx="3993">
                  <c:v>-4.7234030729904619E-3</c:v>
                </c:pt>
                <c:pt idx="3994">
                  <c:v>-2.2227779167014461E-3</c:v>
                </c:pt>
                <c:pt idx="3995">
                  <c:v>9.4301353116057474E-3</c:v>
                </c:pt>
                <c:pt idx="3996">
                  <c:v>1.5759495429412906E-2</c:v>
                </c:pt>
                <c:pt idx="3997">
                  <c:v>1.811564002111643E-2</c:v>
                </c:pt>
                <c:pt idx="3998">
                  <c:v>1.9132560918007302E-2</c:v>
                </c:pt>
                <c:pt idx="3999">
                  <c:v>2.1811008307632385E-2</c:v>
                </c:pt>
                <c:pt idx="4000">
                  <c:v>2.2994637548275909E-2</c:v>
                </c:pt>
                <c:pt idx="4001">
                  <c:v>1.7337667750271013E-2</c:v>
                </c:pt>
                <c:pt idx="4002">
                  <c:v>2.4183823733711307E-2</c:v>
                </c:pt>
                <c:pt idx="4003">
                  <c:v>2.9157289322330637E-2</c:v>
                </c:pt>
                <c:pt idx="4004">
                  <c:v>2.2366702786807746E-2</c:v>
                </c:pt>
                <c:pt idx="4005">
                  <c:v>2.7929204523353013E-2</c:v>
                </c:pt>
                <c:pt idx="4006">
                  <c:v>2.4056014003500881E-2</c:v>
                </c:pt>
                <c:pt idx="4007">
                  <c:v>2.5834236336861993E-2</c:v>
                </c:pt>
                <c:pt idx="4008">
                  <c:v>3.0657664416104069E-2</c:v>
                </c:pt>
                <c:pt idx="4009">
                  <c:v>3.6725848128698946E-2</c:v>
                </c:pt>
                <c:pt idx="4010">
                  <c:v>2.879608791086663E-2</c:v>
                </c:pt>
                <c:pt idx="4011">
                  <c:v>2.9774110194215275E-2</c:v>
                </c:pt>
                <c:pt idx="4012">
                  <c:v>3.7081492595371079E-2</c:v>
                </c:pt>
                <c:pt idx="4013">
                  <c:v>3.807062876830325E-2</c:v>
                </c:pt>
                <c:pt idx="4014">
                  <c:v>3.0424272734850488E-2</c:v>
                </c:pt>
                <c:pt idx="4015">
                  <c:v>2.258342363368615E-2</c:v>
                </c:pt>
                <c:pt idx="4016">
                  <c:v>1.9904976244061068E-2</c:v>
                </c:pt>
                <c:pt idx="4017">
                  <c:v>2.6790030841043588E-2</c:v>
                </c:pt>
                <c:pt idx="4018">
                  <c:v>2.5345225195187782E-2</c:v>
                </c:pt>
                <c:pt idx="4019">
                  <c:v>3.2719290933844736E-2</c:v>
                </c:pt>
                <c:pt idx="4020">
                  <c:v>2.6539968325414609E-2</c:v>
                </c:pt>
                <c:pt idx="4021">
                  <c:v>2.9579617126503921E-2</c:v>
                </c:pt>
                <c:pt idx="4022">
                  <c:v>1.7465477480481217E-2</c:v>
                </c:pt>
                <c:pt idx="4023">
                  <c:v>1.8487955322163963E-2</c:v>
                </c:pt>
                <c:pt idx="4024">
                  <c:v>1.7526603873190494E-2</c:v>
                </c:pt>
                <c:pt idx="4025">
                  <c:v>1.8193437248200883E-2</c:v>
                </c:pt>
                <c:pt idx="4026">
                  <c:v>1.9877191520102144E-2</c:v>
                </c:pt>
                <c:pt idx="4027">
                  <c:v>1.6426328804423296E-2</c:v>
                </c:pt>
                <c:pt idx="4028">
                  <c:v>9.819121447028456E-3</c:v>
                </c:pt>
                <c:pt idx="4029">
                  <c:v>1.2169709093940106E-2</c:v>
                </c:pt>
                <c:pt idx="4030">
                  <c:v>6.0959684365535782E-3</c:v>
                </c:pt>
                <c:pt idx="4031">
                  <c:v>1.2230835486649383E-2</c:v>
                </c:pt>
                <c:pt idx="4032">
                  <c:v>9.1245033480593651E-3</c:v>
                </c:pt>
                <c:pt idx="4033">
                  <c:v>1.9410408157594983E-2</c:v>
                </c:pt>
                <c:pt idx="4034">
                  <c:v>2.0460670723236429E-2</c:v>
                </c:pt>
                <c:pt idx="4035">
                  <c:v>1.7509933038815317E-2</c:v>
                </c:pt>
                <c:pt idx="4036">
                  <c:v>3.038537412130804E-2</c:v>
                </c:pt>
                <c:pt idx="4037">
                  <c:v>3.3036036786974643E-2</c:v>
                </c:pt>
                <c:pt idx="4038">
                  <c:v>2.9146175432747112E-2</c:v>
                </c:pt>
                <c:pt idx="4039">
                  <c:v>3.733711205579171E-2</c:v>
                </c:pt>
                <c:pt idx="4040">
                  <c:v>3.6620266177655569E-2</c:v>
                </c:pt>
                <c:pt idx="4041">
                  <c:v>2.9073935150454311E-2</c:v>
                </c:pt>
                <c:pt idx="4042">
                  <c:v>2.5723097441026965E-2</c:v>
                </c:pt>
                <c:pt idx="4043">
                  <c:v>2.6234336361868227E-2</c:v>
                </c:pt>
                <c:pt idx="4044">
                  <c:v>3.4764246617209782E-2</c:v>
                </c:pt>
                <c:pt idx="4045">
                  <c:v>2.9001694868161509E-2</c:v>
                </c:pt>
                <c:pt idx="4046">
                  <c:v>2.0921897140951939E-2</c:v>
                </c:pt>
                <c:pt idx="4047">
                  <c:v>1.1636242393931795E-2</c:v>
                </c:pt>
                <c:pt idx="4048">
                  <c:v>1.5553888472118027E-2</c:v>
                </c:pt>
                <c:pt idx="4049">
                  <c:v>1.6109582951293389E-2</c:v>
                </c:pt>
                <c:pt idx="4050">
                  <c:v>1.6392987135672721E-2</c:v>
                </c:pt>
                <c:pt idx="4051">
                  <c:v>1.6437442694006821E-2</c:v>
                </c:pt>
                <c:pt idx="4052">
                  <c:v>1.765441360340092E-2</c:v>
                </c:pt>
                <c:pt idx="4053">
                  <c:v>2.6712233613958913E-2</c:v>
                </c:pt>
                <c:pt idx="4054">
                  <c:v>2.7662471173348857E-2</c:v>
                </c:pt>
                <c:pt idx="4055">
                  <c:v>2.5906476619154795E-2</c:v>
                </c:pt>
                <c:pt idx="4056">
                  <c:v>1.578728015337183E-2</c:v>
                </c:pt>
                <c:pt idx="4057">
                  <c:v>1.0280347864743966E-3</c:v>
                </c:pt>
                <c:pt idx="4058">
                  <c:v>-3.0618765802561398E-3</c:v>
                </c:pt>
                <c:pt idx="4059">
                  <c:v>6.4460559584356147E-4</c:v>
                </c:pt>
                <c:pt idx="4060">
                  <c:v>-6.5294101303103869E-3</c:v>
                </c:pt>
                <c:pt idx="4061">
                  <c:v>-8.5187963657580301E-3</c:v>
                </c:pt>
                <c:pt idx="4062">
                  <c:v>-1.4420271734600365E-2</c:v>
                </c:pt>
                <c:pt idx="4063">
                  <c:v>-1.5109332888777804E-2</c:v>
                </c:pt>
                <c:pt idx="4064">
                  <c:v>-6.968408768858847E-3</c:v>
                </c:pt>
                <c:pt idx="4065">
                  <c:v>-4.0121141396460835E-3</c:v>
                </c:pt>
                <c:pt idx="4066">
                  <c:v>-1.402017170959402E-2</c:v>
                </c:pt>
                <c:pt idx="4067">
                  <c:v>8.113139395959923E-4</c:v>
                </c:pt>
                <c:pt idx="4068">
                  <c:v>-1.4186880053346673E-2</c:v>
                </c:pt>
                <c:pt idx="4069">
                  <c:v>-1.2680948014781479E-2</c:v>
                </c:pt>
                <c:pt idx="4070">
                  <c:v>3.9120891333943586E-3</c:v>
                </c:pt>
                <c:pt idx="4071">
                  <c:v>1.5281598177321332E-3</c:v>
                </c:pt>
                <c:pt idx="4072">
                  <c:v>-2.7729154510850451E-3</c:v>
                </c:pt>
                <c:pt idx="4073">
                  <c:v>-1.3086604984579475E-2</c:v>
                </c:pt>
                <c:pt idx="4074">
                  <c:v>3.3397238198438206E-3</c:v>
                </c:pt>
                <c:pt idx="4075">
                  <c:v>1.0530410380372945E-2</c:v>
                </c:pt>
                <c:pt idx="4076">
                  <c:v>6.979522658442372E-3</c:v>
                </c:pt>
                <c:pt idx="4077">
                  <c:v>1.7159845516934835E-2</c:v>
                </c:pt>
                <c:pt idx="4078">
                  <c:v>2.184434997638296E-2</c:v>
                </c:pt>
                <c:pt idx="4079">
                  <c:v>2.2011058320135612E-2</c:v>
                </c:pt>
                <c:pt idx="4080">
                  <c:v>2.4294962629546335E-2</c:v>
                </c:pt>
                <c:pt idx="4081">
                  <c:v>2.1255313828457023E-2</c:v>
                </c:pt>
                <c:pt idx="4082">
                  <c:v>2.3033536161818358E-2</c:v>
                </c:pt>
                <c:pt idx="4083">
                  <c:v>3.1869078380706295E-2</c:v>
                </c:pt>
                <c:pt idx="4084">
                  <c:v>3.5014309132838761E-2</c:v>
                </c:pt>
                <c:pt idx="4085">
                  <c:v>3.4286349365119095E-2</c:v>
                </c:pt>
                <c:pt idx="4086">
                  <c:v>3.0413158845266963E-2</c:v>
                </c:pt>
                <c:pt idx="4087">
                  <c:v>3.2463671473423883E-2</c:v>
                </c:pt>
                <c:pt idx="4088">
                  <c:v>4.2199438748576013E-2</c:v>
                </c:pt>
                <c:pt idx="4089">
                  <c:v>4.6922841821566585E-2</c:v>
                </c:pt>
                <c:pt idx="4090">
                  <c:v>5.2446444944569626E-2</c:v>
                </c:pt>
                <c:pt idx="4091">
                  <c:v>5.7853352226945765E-2</c:v>
                </c:pt>
                <c:pt idx="4092">
                  <c:v>6.1593176071795819E-2</c:v>
                </c:pt>
                <c:pt idx="4093">
                  <c:v>6.3821510933288916E-2</c:v>
                </c:pt>
                <c:pt idx="4094">
                  <c:v>5.4913728432107956E-2</c:v>
                </c:pt>
                <c:pt idx="4095">
                  <c:v>5.5119335389402835E-2</c:v>
                </c:pt>
                <c:pt idx="4096">
                  <c:v>4.8751076658053449E-2</c:v>
                </c:pt>
                <c:pt idx="4097">
                  <c:v>6.1504264955127619E-2</c:v>
                </c:pt>
                <c:pt idx="4098">
                  <c:v>6.1854352477008101E-2</c:v>
                </c:pt>
                <c:pt idx="4099">
                  <c:v>5.9387068989469549E-2</c:v>
                </c:pt>
                <c:pt idx="4100">
                  <c:v>6.0759634353032776E-2</c:v>
                </c:pt>
                <c:pt idx="4101">
                  <c:v>5.5647245144619495E-2</c:v>
                </c:pt>
                <c:pt idx="4102">
                  <c:v>5.4469172848767844E-2</c:v>
                </c:pt>
                <c:pt idx="4103">
                  <c:v>5.7442138312356006E-2</c:v>
                </c:pt>
                <c:pt idx="4104">
                  <c:v>5.8370148092578678E-2</c:v>
                </c:pt>
                <c:pt idx="4105">
                  <c:v>6.4321635964546653E-2</c:v>
                </c:pt>
                <c:pt idx="4106">
                  <c:v>6.8839432080242347E-2</c:v>
                </c:pt>
                <c:pt idx="4107">
                  <c:v>6.7405740323969843E-2</c:v>
                </c:pt>
                <c:pt idx="4108">
                  <c:v>6.4377205412464278E-2</c:v>
                </c:pt>
                <c:pt idx="4109">
                  <c:v>5.8158984190492147E-2</c:v>
                </c:pt>
                <c:pt idx="4110">
                  <c:v>5.7936706398821869E-2</c:v>
                </c:pt>
                <c:pt idx="4111">
                  <c:v>6.0626267678030699E-2</c:v>
                </c:pt>
                <c:pt idx="4112">
                  <c:v>6.5355227695812923E-2</c:v>
                </c:pt>
                <c:pt idx="4113">
                  <c:v>6.5960934678114036E-2</c:v>
                </c:pt>
                <c:pt idx="4114">
                  <c:v>5.5780611819621573E-2</c:v>
                </c:pt>
                <c:pt idx="4115">
                  <c:v>5.7342113306104281E-2</c:v>
                </c:pt>
                <c:pt idx="4116">
                  <c:v>5.4263565891472965E-2</c:v>
                </c:pt>
                <c:pt idx="4117">
                  <c:v>4.9117835014309108E-2</c:v>
                </c:pt>
                <c:pt idx="4118">
                  <c:v>6.6355477758328618E-2</c:v>
                </c:pt>
                <c:pt idx="4119">
                  <c:v>7.0484287738601381E-2</c:v>
                </c:pt>
                <c:pt idx="4120">
                  <c:v>7.0512072462560083E-2</c:v>
                </c:pt>
                <c:pt idx="4121">
                  <c:v>8.0831318940846275E-2</c:v>
                </c:pt>
                <c:pt idx="4122">
                  <c:v>8.4787863632574956E-2</c:v>
                </c:pt>
                <c:pt idx="4123">
                  <c:v>8.445444694506965E-2</c:v>
                </c:pt>
                <c:pt idx="4124">
                  <c:v>8.8360979133672357E-2</c:v>
                </c:pt>
                <c:pt idx="4125">
                  <c:v>8.1537050929399113E-2</c:v>
                </c:pt>
                <c:pt idx="4126">
                  <c:v>8.2848489900252842E-2</c:v>
                </c:pt>
                <c:pt idx="4127">
                  <c:v>7.8919729932483085E-2</c:v>
                </c:pt>
                <c:pt idx="4128">
                  <c:v>7.4829818565752548E-2</c:v>
                </c:pt>
                <c:pt idx="4129">
                  <c:v>8.0814648106471099E-2</c:v>
                </c:pt>
                <c:pt idx="4130">
                  <c:v>6.1015253813453407E-2</c:v>
                </c:pt>
                <c:pt idx="4131">
                  <c:v>6.2993526159317748E-2</c:v>
                </c:pt>
                <c:pt idx="4132">
                  <c:v>6.5566391597899454E-2</c:v>
                </c:pt>
                <c:pt idx="4133">
                  <c:v>6.3754827595787766E-2</c:v>
                </c:pt>
                <c:pt idx="4134">
                  <c:v>7.1473423911533551E-2</c:v>
                </c:pt>
                <c:pt idx="4135">
                  <c:v>7.9903309160623381E-2</c:v>
                </c:pt>
                <c:pt idx="4136">
                  <c:v>8.1192520352310282E-2</c:v>
                </c:pt>
                <c:pt idx="4137">
                  <c:v>7.6897002028284867E-2</c:v>
                </c:pt>
                <c:pt idx="4138">
                  <c:v>7.901975493873481E-2</c:v>
                </c:pt>
                <c:pt idx="4139">
                  <c:v>6.9528493234419786E-2</c:v>
                </c:pt>
                <c:pt idx="4140">
                  <c:v>6.3877080381206541E-2</c:v>
                </c:pt>
                <c:pt idx="4141">
                  <c:v>6.4732849879136412E-2</c:v>
                </c:pt>
                <c:pt idx="4142">
                  <c:v>5.614181323108558E-2</c:v>
                </c:pt>
                <c:pt idx="4143">
                  <c:v>6.5733099941652107E-2</c:v>
                </c:pt>
                <c:pt idx="4144">
                  <c:v>6.4210497068711625E-2</c:v>
                </c:pt>
                <c:pt idx="4145">
                  <c:v>6.6933400016670808E-2</c:v>
                </c:pt>
                <c:pt idx="4146">
                  <c:v>6.3610347031202163E-2</c:v>
                </c:pt>
                <c:pt idx="4147">
                  <c:v>7.4413047706371138E-2</c:v>
                </c:pt>
                <c:pt idx="4148">
                  <c:v>7.8425161846017222E-2</c:v>
                </c:pt>
                <c:pt idx="4149">
                  <c:v>8.6416048456558592E-2</c:v>
                </c:pt>
                <c:pt idx="4150">
                  <c:v>8.4621155288822303E-2</c:v>
                </c:pt>
                <c:pt idx="4151">
                  <c:v>8.1075824511683603E-2</c:v>
                </c:pt>
                <c:pt idx="4152">
                  <c:v>8.9305659748270427E-2</c:v>
                </c:pt>
                <c:pt idx="4153">
                  <c:v>8.5476924786752173E-2</c:v>
                </c:pt>
                <c:pt idx="4154">
                  <c:v>8.7016198494068053E-2</c:v>
                </c:pt>
                <c:pt idx="4155">
                  <c:v>9.1150565419132468E-2</c:v>
                </c:pt>
                <c:pt idx="4156">
                  <c:v>7.9819954988747277E-2</c:v>
                </c:pt>
                <c:pt idx="4157">
                  <c:v>8.9027812508682747E-2</c:v>
                </c:pt>
                <c:pt idx="4158">
                  <c:v>8.7271817954488684E-2</c:v>
                </c:pt>
                <c:pt idx="4159">
                  <c:v>8.5682531744047052E-2</c:v>
                </c:pt>
                <c:pt idx="4160">
                  <c:v>7.8158428496012844E-2</c:v>
                </c:pt>
                <c:pt idx="4161">
                  <c:v>7.6202383929315776E-2</c:v>
                </c:pt>
                <c:pt idx="4162">
                  <c:v>7.8697452140813029E-2</c:v>
                </c:pt>
                <c:pt idx="4163">
                  <c:v>7.3451696257397669E-2</c:v>
                </c:pt>
                <c:pt idx="4164">
                  <c:v>8.1337000916895885E-2</c:v>
                </c:pt>
                <c:pt idx="4165">
                  <c:v>8.3820955238809836E-2</c:v>
                </c:pt>
                <c:pt idx="4166">
                  <c:v>9.5079325386902447E-2</c:v>
                </c:pt>
                <c:pt idx="4167">
                  <c:v>9.9836070128643373E-2</c:v>
                </c:pt>
                <c:pt idx="4168">
                  <c:v>0.10180878552971584</c:v>
                </c:pt>
                <c:pt idx="4169">
                  <c:v>0.1034369703536997</c:v>
                </c:pt>
                <c:pt idx="4170">
                  <c:v>0.10160873551721261</c:v>
                </c:pt>
                <c:pt idx="4171">
                  <c:v>9.4995971215025898E-2</c:v>
                </c:pt>
                <c:pt idx="4172">
                  <c:v>0.10160873551721261</c:v>
                </c:pt>
                <c:pt idx="4173">
                  <c:v>9.8769136728626528E-2</c:v>
                </c:pt>
                <c:pt idx="4174">
                  <c:v>9.9852740963018549E-2</c:v>
                </c:pt>
                <c:pt idx="4175">
                  <c:v>9.8713567280709125E-2</c:v>
                </c:pt>
                <c:pt idx="4176">
                  <c:v>9.1645133505598775E-2</c:v>
                </c:pt>
                <c:pt idx="4177">
                  <c:v>0.1000027784723958</c:v>
                </c:pt>
                <c:pt idx="4178">
                  <c:v>9.7830013058820331E-2</c:v>
                </c:pt>
                <c:pt idx="4179">
                  <c:v>9.3262204439998886E-2</c:v>
                </c:pt>
                <c:pt idx="4180">
                  <c:v>9.5785057375455063E-2</c:v>
                </c:pt>
                <c:pt idx="4181">
                  <c:v>0.10275902308910556</c:v>
                </c:pt>
                <c:pt idx="4182">
                  <c:v>0.10761579283709821</c:v>
                </c:pt>
                <c:pt idx="4183">
                  <c:v>0.10575977327665242</c:v>
                </c:pt>
                <c:pt idx="4184">
                  <c:v>9.4329137840015509E-2</c:v>
                </c:pt>
                <c:pt idx="4185">
                  <c:v>9.5290489288988978E-2</c:v>
                </c:pt>
                <c:pt idx="4186">
                  <c:v>8.6999527659692655E-2</c:v>
                </c:pt>
                <c:pt idx="4187">
                  <c:v>8.8322080520130131E-2</c:v>
                </c:pt>
                <c:pt idx="4188">
                  <c:v>8.9166736128476476E-2</c:v>
                </c:pt>
                <c:pt idx="4189">
                  <c:v>8.5965935928426607E-2</c:v>
                </c:pt>
                <c:pt idx="4190">
                  <c:v>0.10482064960684623</c:v>
                </c:pt>
                <c:pt idx="4191">
                  <c:v>0.10685449140062797</c:v>
                </c:pt>
                <c:pt idx="4192">
                  <c:v>0.1081826012058571</c:v>
                </c:pt>
                <c:pt idx="4193">
                  <c:v>0.10804923453085502</c:v>
                </c:pt>
                <c:pt idx="4194">
                  <c:v>0.10538745797560511</c:v>
                </c:pt>
                <c:pt idx="4195">
                  <c:v>0.1000027784723958</c:v>
                </c:pt>
                <c:pt idx="4196">
                  <c:v>0.10320913561723755</c:v>
                </c:pt>
                <c:pt idx="4197">
                  <c:v>0.10716012336417435</c:v>
                </c:pt>
                <c:pt idx="4198">
                  <c:v>0.10793809563501977</c:v>
                </c:pt>
                <c:pt idx="4199">
                  <c:v>0.10335917312661502</c:v>
                </c:pt>
                <c:pt idx="4200">
                  <c:v>0.11013864577255417</c:v>
                </c:pt>
                <c:pt idx="4201">
                  <c:v>0.10581534272457005</c:v>
                </c:pt>
                <c:pt idx="4202">
                  <c:v>0.10957739434858715</c:v>
                </c:pt>
                <c:pt idx="4203">
                  <c:v>0.12102470061959925</c:v>
                </c:pt>
                <c:pt idx="4204">
                  <c:v>0.1201911589008362</c:v>
                </c:pt>
                <c:pt idx="4205">
                  <c:v>0.12060792976021784</c:v>
                </c:pt>
                <c:pt idx="4206">
                  <c:v>0.11916312411436203</c:v>
                </c:pt>
                <c:pt idx="4207">
                  <c:v>0.10503181350893276</c:v>
                </c:pt>
                <c:pt idx="4208">
                  <c:v>9.2645383568114248E-2</c:v>
                </c:pt>
                <c:pt idx="4209">
                  <c:v>9.5523880970242558E-2</c:v>
                </c:pt>
                <c:pt idx="4210">
                  <c:v>9.3490039176460815E-2</c:v>
                </c:pt>
                <c:pt idx="4211">
                  <c:v>7.5368842210552733E-2</c:v>
                </c:pt>
                <c:pt idx="4212">
                  <c:v>6.8222611208357709E-2</c:v>
                </c:pt>
                <c:pt idx="4213">
                  <c:v>7.2640382317801677E-2</c:v>
                </c:pt>
                <c:pt idx="4214">
                  <c:v>6.8444889000027764E-2</c:v>
                </c:pt>
                <c:pt idx="4215">
                  <c:v>6.3810397043705391E-2</c:v>
                </c:pt>
                <c:pt idx="4216">
                  <c:v>6.5533049929149101E-2</c:v>
                </c:pt>
                <c:pt idx="4217">
                  <c:v>7.778055625017366E-2</c:v>
                </c:pt>
                <c:pt idx="4218">
                  <c:v>8.4087688588813769E-2</c:v>
                </c:pt>
                <c:pt idx="4219">
                  <c:v>6.6983412519796559E-2</c:v>
                </c:pt>
                <c:pt idx="4220">
                  <c:v>7.6052346419938299E-2</c:v>
                </c:pt>
                <c:pt idx="4221">
                  <c:v>8.9316773637853952E-2</c:v>
                </c:pt>
                <c:pt idx="4222">
                  <c:v>9.1445083493095547E-2</c:v>
                </c:pt>
                <c:pt idx="4223">
                  <c:v>7.2062460059459266E-2</c:v>
                </c:pt>
                <c:pt idx="4224">
                  <c:v>7.089550165319114E-2</c:v>
                </c:pt>
                <c:pt idx="4225">
                  <c:v>6.4582812369759157E-2</c:v>
                </c:pt>
                <c:pt idx="4226">
                  <c:v>6.6149870801033517E-2</c:v>
                </c:pt>
                <c:pt idx="4227">
                  <c:v>6.1382012169709066E-2</c:v>
                </c:pt>
                <c:pt idx="4228">
                  <c:v>4.7934205773665584E-2</c:v>
                </c:pt>
                <c:pt idx="4229">
                  <c:v>3.7437137062043435E-2</c:v>
                </c:pt>
                <c:pt idx="4230">
                  <c:v>4.2855158234003099E-2</c:v>
                </c:pt>
                <c:pt idx="4231">
                  <c:v>6.5021811008307617E-2</c:v>
                </c:pt>
                <c:pt idx="4232">
                  <c:v>6.1109721874913259E-2</c:v>
                </c:pt>
                <c:pt idx="4233">
                  <c:v>5.1440637937262057E-2</c:v>
                </c:pt>
                <c:pt idx="4234">
                  <c:v>5.1446194882053931E-2</c:v>
                </c:pt>
                <c:pt idx="4235">
                  <c:v>6.1720985802006023E-2</c:v>
                </c:pt>
                <c:pt idx="4236">
                  <c:v>5.6364091022755636E-2</c:v>
                </c:pt>
                <c:pt idx="4237">
                  <c:v>5.5441638187324616E-2</c:v>
                </c:pt>
                <c:pt idx="4238">
                  <c:v>6.0576255174904725E-2</c:v>
                </c:pt>
                <c:pt idx="4239">
                  <c:v>5.0951626795587845E-2</c:v>
                </c:pt>
                <c:pt idx="4240">
                  <c:v>5.6919785501930997E-2</c:v>
                </c:pt>
                <c:pt idx="4241">
                  <c:v>7.9758828596037779E-2</c:v>
                </c:pt>
                <c:pt idx="4242">
                  <c:v>7.7508265955377853E-2</c:v>
                </c:pt>
                <c:pt idx="4243">
                  <c:v>8.6099302603428685E-2</c:v>
                </c:pt>
                <c:pt idx="4244">
                  <c:v>7.8352921563724198E-2</c:v>
                </c:pt>
                <c:pt idx="4245">
                  <c:v>8.132588702731236E-2</c:v>
                </c:pt>
                <c:pt idx="4246">
                  <c:v>7.4018504626156556E-2</c:v>
                </c:pt>
                <c:pt idx="4247">
                  <c:v>7.5607790836597966E-2</c:v>
                </c:pt>
                <c:pt idx="4248">
                  <c:v>8.0081131393959781E-2</c:v>
                </c:pt>
                <c:pt idx="4249">
                  <c:v>6.8389319552110139E-2</c:v>
                </c:pt>
                <c:pt idx="4250">
                  <c:v>5.4558083965435822E-2</c:v>
                </c:pt>
                <c:pt idx="4251">
                  <c:v>4.9390125309105137E-2</c:v>
                </c:pt>
                <c:pt idx="4252">
                  <c:v>4.7939762718457457E-2</c:v>
                </c:pt>
                <c:pt idx="4253">
                  <c:v>4.99736045122392E-2</c:v>
                </c:pt>
                <c:pt idx="4254">
                  <c:v>6.9567391847962012E-2</c:v>
                </c:pt>
                <c:pt idx="4255">
                  <c:v>6.0498457947820272E-2</c:v>
                </c:pt>
                <c:pt idx="4256">
                  <c:v>5.3007696368536639E-2</c:v>
                </c:pt>
                <c:pt idx="4257">
                  <c:v>7.0545414131310658E-2</c:v>
                </c:pt>
                <c:pt idx="4258">
                  <c:v>7.7313772887666499E-2</c:v>
                </c:pt>
                <c:pt idx="4259">
                  <c:v>7.6913672862660265E-2</c:v>
                </c:pt>
                <c:pt idx="4260">
                  <c:v>7.2668167041760379E-2</c:v>
                </c:pt>
                <c:pt idx="4261">
                  <c:v>8.5749215081548202E-2</c:v>
                </c:pt>
                <c:pt idx="4262">
                  <c:v>8.4154371926314919E-2</c:v>
                </c:pt>
                <c:pt idx="4263">
                  <c:v>7.9280931343947092E-2</c:v>
                </c:pt>
                <c:pt idx="4264">
                  <c:v>8.592703731488438E-2</c:v>
                </c:pt>
                <c:pt idx="4265">
                  <c:v>8.7721930482620669E-2</c:v>
                </c:pt>
                <c:pt idx="4266">
                  <c:v>8.696618599094208E-2</c:v>
                </c:pt>
                <c:pt idx="4267">
                  <c:v>8.3954321913811913E-2</c:v>
                </c:pt>
                <c:pt idx="4268">
                  <c:v>8.0392320302297815E-2</c:v>
                </c:pt>
                <c:pt idx="4269">
                  <c:v>7.5991220027229023E-2</c:v>
                </c:pt>
                <c:pt idx="4270">
                  <c:v>8.1164735628351581E-2</c:v>
                </c:pt>
                <c:pt idx="4271">
                  <c:v>7.7008140924120116E-2</c:v>
                </c:pt>
                <c:pt idx="4272">
                  <c:v>7.8325136839765497E-2</c:v>
                </c:pt>
                <c:pt idx="4273">
                  <c:v>9.3195521102497958E-2</c:v>
                </c:pt>
                <c:pt idx="4274">
                  <c:v>0.10183657025367454</c:v>
                </c:pt>
                <c:pt idx="4275">
                  <c:v>0.10363146342141083</c:v>
                </c:pt>
                <c:pt idx="4276">
                  <c:v>0.10773804562251676</c:v>
                </c:pt>
                <c:pt idx="4277">
                  <c:v>0.10367036203495306</c:v>
                </c:pt>
                <c:pt idx="4278">
                  <c:v>0.10477619404851213</c:v>
                </c:pt>
                <c:pt idx="4279">
                  <c:v>9.9913867355727826E-2</c:v>
                </c:pt>
                <c:pt idx="4280">
                  <c:v>0.10254785918701903</c:v>
                </c:pt>
                <c:pt idx="4281">
                  <c:v>0.10183657025367454</c:v>
                </c:pt>
                <c:pt idx="4282">
                  <c:v>0.10753243866522189</c:v>
                </c:pt>
                <c:pt idx="4283">
                  <c:v>0.10983301380900778</c:v>
                </c:pt>
                <c:pt idx="4284">
                  <c:v>0.110322024950682</c:v>
                </c:pt>
                <c:pt idx="4285">
                  <c:v>0.10995526659442656</c:v>
                </c:pt>
                <c:pt idx="4286">
                  <c:v>0.11609569058931402</c:v>
                </c:pt>
                <c:pt idx="4287">
                  <c:v>0.11805729210080296</c:v>
                </c:pt>
                <c:pt idx="4288">
                  <c:v>0.10717679419854975</c:v>
                </c:pt>
                <c:pt idx="4289">
                  <c:v>0.10190325359117569</c:v>
                </c:pt>
                <c:pt idx="4290">
                  <c:v>0.10607651912978255</c:v>
                </c:pt>
                <c:pt idx="4291">
                  <c:v>0.10665999833291662</c:v>
                </c:pt>
                <c:pt idx="4292">
                  <c:v>0.11823511433413914</c:v>
                </c:pt>
                <c:pt idx="4293">
                  <c:v>0.12277513822900166</c:v>
                </c:pt>
                <c:pt idx="4294">
                  <c:v>0.12131366174877045</c:v>
                </c:pt>
                <c:pt idx="4295">
                  <c:v>0.12436442443944307</c:v>
                </c:pt>
                <c:pt idx="4296">
                  <c:v>0.12549804117696106</c:v>
                </c:pt>
                <c:pt idx="4297">
                  <c:v>0.12305854241338121</c:v>
                </c:pt>
                <c:pt idx="4298">
                  <c:v>0.12894334694784804</c:v>
                </c:pt>
                <c:pt idx="4299">
                  <c:v>0.12310299797171509</c:v>
                </c:pt>
                <c:pt idx="4300">
                  <c:v>0.12033008252063015</c:v>
                </c:pt>
                <c:pt idx="4301">
                  <c:v>0.13021033036036789</c:v>
                </c:pt>
                <c:pt idx="4302">
                  <c:v>0.13872912672612592</c:v>
                </c:pt>
                <c:pt idx="4303">
                  <c:v>0.13915701147509085</c:v>
                </c:pt>
                <c:pt idx="4304">
                  <c:v>0.14135756161262525</c:v>
                </c:pt>
                <c:pt idx="4305">
                  <c:v>0.13855686143758161</c:v>
                </c:pt>
                <c:pt idx="4306">
                  <c:v>0.13472256953127171</c:v>
                </c:pt>
                <c:pt idx="4307">
                  <c:v>0.13710649884693393</c:v>
                </c:pt>
                <c:pt idx="4308">
                  <c:v>0.15109332888777738</c:v>
                </c:pt>
                <c:pt idx="4309">
                  <c:v>0.15397182628990591</c:v>
                </c:pt>
                <c:pt idx="4310">
                  <c:v>0.15087105109610754</c:v>
                </c:pt>
                <c:pt idx="4311">
                  <c:v>0.15179350393153856</c:v>
                </c:pt>
                <c:pt idx="4312">
                  <c:v>0.15418299019199266</c:v>
                </c:pt>
                <c:pt idx="4313">
                  <c:v>0.15134339140340658</c:v>
                </c:pt>
                <c:pt idx="4314">
                  <c:v>0.16234058514628669</c:v>
                </c:pt>
                <c:pt idx="4315">
                  <c:v>0.16471895751715704</c:v>
                </c:pt>
                <c:pt idx="4316">
                  <c:v>0.16765858131199485</c:v>
                </c:pt>
                <c:pt idx="4317">
                  <c:v>0.16339084771192791</c:v>
                </c:pt>
                <c:pt idx="4318">
                  <c:v>0.1651301714317468</c:v>
                </c:pt>
                <c:pt idx="4319">
                  <c:v>0.16602483954321934</c:v>
                </c:pt>
                <c:pt idx="4320">
                  <c:v>0.16743630352032457</c:v>
                </c:pt>
                <c:pt idx="4321">
                  <c:v>0.17463810397043722</c:v>
                </c:pt>
                <c:pt idx="4322">
                  <c:v>0.17493817898919195</c:v>
                </c:pt>
                <c:pt idx="4323">
                  <c:v>0.17908921674863154</c:v>
                </c:pt>
                <c:pt idx="4324">
                  <c:v>0.18495735044872319</c:v>
                </c:pt>
                <c:pt idx="4325">
                  <c:v>0.17509933038815273</c:v>
                </c:pt>
                <c:pt idx="4326">
                  <c:v>0.17564391097774457</c:v>
                </c:pt>
                <c:pt idx="4327">
                  <c:v>0.17565502486732809</c:v>
                </c:pt>
                <c:pt idx="4328">
                  <c:v>0.16715845628073689</c:v>
                </c:pt>
                <c:pt idx="4329">
                  <c:v>0.16707510210886056</c:v>
                </c:pt>
                <c:pt idx="4330">
                  <c:v>0.16455780611819626</c:v>
                </c:pt>
                <c:pt idx="4331">
                  <c:v>0.17781111944652839</c:v>
                </c:pt>
                <c:pt idx="4332">
                  <c:v>0.18045066822261124</c:v>
                </c:pt>
                <c:pt idx="4333">
                  <c:v>0.18319579894973725</c:v>
                </c:pt>
                <c:pt idx="4334">
                  <c:v>0.17713872912672635</c:v>
                </c:pt>
                <c:pt idx="4335">
                  <c:v>0.17932816537467722</c:v>
                </c:pt>
                <c:pt idx="4336">
                  <c:v>0.18261231974660341</c:v>
                </c:pt>
                <c:pt idx="4337">
                  <c:v>0.19026978966963948</c:v>
                </c:pt>
                <c:pt idx="4338">
                  <c:v>0.19340946347698029</c:v>
                </c:pt>
                <c:pt idx="4339">
                  <c:v>0.19617126503848192</c:v>
                </c:pt>
                <c:pt idx="4340">
                  <c:v>0.19741046372704307</c:v>
                </c:pt>
                <c:pt idx="4341">
                  <c:v>0.19683254146870066</c:v>
                </c:pt>
                <c:pt idx="4342">
                  <c:v>0.1988663832624824</c:v>
                </c:pt>
                <c:pt idx="4343">
                  <c:v>0.20177266538856942</c:v>
                </c:pt>
                <c:pt idx="4344">
                  <c:v>0.19749937484371105</c:v>
                </c:pt>
                <c:pt idx="4345">
                  <c:v>0.18122308354866501</c:v>
                </c:pt>
                <c:pt idx="4346">
                  <c:v>0.18558528521019135</c:v>
                </c:pt>
                <c:pt idx="4347">
                  <c:v>0.19701592064682849</c:v>
                </c:pt>
                <c:pt idx="4348">
                  <c:v>0.19801617070934396</c:v>
                </c:pt>
                <c:pt idx="4349">
                  <c:v>0.19465977605512497</c:v>
                </c:pt>
                <c:pt idx="4350">
                  <c:v>0.20530132533133294</c:v>
                </c:pt>
                <c:pt idx="4351">
                  <c:v>0.21016365202411724</c:v>
                </c:pt>
                <c:pt idx="4352">
                  <c:v>0.20888555472201387</c:v>
                </c:pt>
                <c:pt idx="4353">
                  <c:v>0.20411769609068942</c:v>
                </c:pt>
                <c:pt idx="4354">
                  <c:v>0.20632380317301569</c:v>
                </c:pt>
                <c:pt idx="4355">
                  <c:v>0.20908004778972544</c:v>
                </c:pt>
                <c:pt idx="4356">
                  <c:v>0.20784640604595594</c:v>
                </c:pt>
                <c:pt idx="4357">
                  <c:v>0.20948014781473145</c:v>
                </c:pt>
                <c:pt idx="4358">
                  <c:v>0.22007724153260555</c:v>
                </c:pt>
                <c:pt idx="4359">
                  <c:v>0.22145536384096043</c:v>
                </c:pt>
                <c:pt idx="4360">
                  <c:v>0.21750993303881527</c:v>
                </c:pt>
                <c:pt idx="4361">
                  <c:v>0.22019393737323223</c:v>
                </c:pt>
                <c:pt idx="4362">
                  <c:v>0.21850462615653932</c:v>
                </c:pt>
                <c:pt idx="4363">
                  <c:v>0.2143091328387654</c:v>
                </c:pt>
                <c:pt idx="4364">
                  <c:v>0.20802422827929212</c:v>
                </c:pt>
                <c:pt idx="4365">
                  <c:v>0.21329221194187453</c:v>
                </c:pt>
                <c:pt idx="4366">
                  <c:v>0.22205551387846967</c:v>
                </c:pt>
                <c:pt idx="4367">
                  <c:v>0.22030507626906726</c:v>
                </c:pt>
                <c:pt idx="4368">
                  <c:v>0.21482037175960667</c:v>
                </c:pt>
                <c:pt idx="4369">
                  <c:v>0.21359228696062904</c:v>
                </c:pt>
                <c:pt idx="4370">
                  <c:v>0.21508154816481895</c:v>
                </c:pt>
                <c:pt idx="4371">
                  <c:v>0.20768525464699517</c:v>
                </c:pt>
                <c:pt idx="4372">
                  <c:v>0.21074713122725131</c:v>
                </c:pt>
                <c:pt idx="4373">
                  <c:v>0.21012475341057479</c:v>
                </c:pt>
                <c:pt idx="4374">
                  <c:v>0.2126142646772804</c:v>
                </c:pt>
                <c:pt idx="4375">
                  <c:v>0.22031619015865078</c:v>
                </c:pt>
                <c:pt idx="4376">
                  <c:v>0.22623989330665983</c:v>
                </c:pt>
                <c:pt idx="4377">
                  <c:v>0.22724014336917575</c:v>
                </c:pt>
                <c:pt idx="4378">
                  <c:v>0.22625100719624336</c:v>
                </c:pt>
                <c:pt idx="4379">
                  <c:v>0.22263899308160373</c:v>
                </c:pt>
                <c:pt idx="4380">
                  <c:v>0.22619543774832596</c:v>
                </c:pt>
                <c:pt idx="4381">
                  <c:v>0.2197493817898919</c:v>
                </c:pt>
                <c:pt idx="4382">
                  <c:v>0.22406712789308436</c:v>
                </c:pt>
                <c:pt idx="4383">
                  <c:v>0.23450862715678911</c:v>
                </c:pt>
                <c:pt idx="4384">
                  <c:v>0.22060515128782199</c:v>
                </c:pt>
                <c:pt idx="4385">
                  <c:v>0.21913256091800726</c:v>
                </c:pt>
                <c:pt idx="4386">
                  <c:v>0.21792114695340503</c:v>
                </c:pt>
                <c:pt idx="4387">
                  <c:v>0.22497290989414021</c:v>
                </c:pt>
                <c:pt idx="4388">
                  <c:v>0.23319163124114373</c:v>
                </c:pt>
                <c:pt idx="4389">
                  <c:v>0.24009335667250165</c:v>
                </c:pt>
                <c:pt idx="4390">
                  <c:v>0.24219388180378432</c:v>
                </c:pt>
                <c:pt idx="4391">
                  <c:v>0.24111027756939252</c:v>
                </c:pt>
                <c:pt idx="4392">
                  <c:v>0.24198827484648944</c:v>
                </c:pt>
                <c:pt idx="4393">
                  <c:v>0.24422772359756628</c:v>
                </c:pt>
                <c:pt idx="4394">
                  <c:v>0.2427884748965019</c:v>
                </c:pt>
                <c:pt idx="4395">
                  <c:v>0.23404184379428172</c:v>
                </c:pt>
                <c:pt idx="4396">
                  <c:v>0.23007418521296996</c:v>
                </c:pt>
                <c:pt idx="4397">
                  <c:v>0.23964324414436966</c:v>
                </c:pt>
                <c:pt idx="4398">
                  <c:v>0.24942346697785567</c:v>
                </c:pt>
                <c:pt idx="4399">
                  <c:v>0.25085160178933608</c:v>
                </c:pt>
                <c:pt idx="4400">
                  <c:v>0.24979022533411133</c:v>
                </c:pt>
                <c:pt idx="4401">
                  <c:v>0.25335778389041708</c:v>
                </c:pt>
                <c:pt idx="4402">
                  <c:v>0.25166291572893207</c:v>
                </c:pt>
                <c:pt idx="4403">
                  <c:v>0.25088494345808687</c:v>
                </c:pt>
                <c:pt idx="4404">
                  <c:v>0.24656719735489441</c:v>
                </c:pt>
                <c:pt idx="4405">
                  <c:v>0.24516129032258061</c:v>
                </c:pt>
                <c:pt idx="4406">
                  <c:v>0.20202828484899005</c:v>
                </c:pt>
                <c:pt idx="4407">
                  <c:v>0.20906893390014192</c:v>
                </c:pt>
                <c:pt idx="4408">
                  <c:v>0.20595148787196815</c:v>
                </c:pt>
                <c:pt idx="4409">
                  <c:v>0.19220360645716972</c:v>
                </c:pt>
                <c:pt idx="4410">
                  <c:v>0.18103970437053718</c:v>
                </c:pt>
                <c:pt idx="4411">
                  <c:v>0.19938873607290719</c:v>
                </c:pt>
                <c:pt idx="4412">
                  <c:v>0.19677141507599138</c:v>
                </c:pt>
                <c:pt idx="4413">
                  <c:v>0.20537912255841739</c:v>
                </c:pt>
                <c:pt idx="4414">
                  <c:v>0.20620155038759691</c:v>
                </c:pt>
                <c:pt idx="4415">
                  <c:v>0.20946903392514793</c:v>
                </c:pt>
                <c:pt idx="4416">
                  <c:v>0.18516295740601829</c:v>
                </c:pt>
                <c:pt idx="4417">
                  <c:v>0.19317607179572671</c:v>
                </c:pt>
                <c:pt idx="4418">
                  <c:v>0.19762162762912938</c:v>
                </c:pt>
                <c:pt idx="4419">
                  <c:v>0.19303714817593276</c:v>
                </c:pt>
                <c:pt idx="4420">
                  <c:v>0.20604039898863613</c:v>
                </c:pt>
                <c:pt idx="4421">
                  <c:v>0.21369231196688054</c:v>
                </c:pt>
                <c:pt idx="4422">
                  <c:v>0.2344530577088717</c:v>
                </c:pt>
                <c:pt idx="4423">
                  <c:v>0.2340196160151149</c:v>
                </c:pt>
                <c:pt idx="4424">
                  <c:v>0.23537551054430272</c:v>
                </c:pt>
                <c:pt idx="4425">
                  <c:v>0.23656469672973812</c:v>
                </c:pt>
                <c:pt idx="4426">
                  <c:v>0.22892945458586866</c:v>
                </c:pt>
                <c:pt idx="4427">
                  <c:v>0.21940485121280329</c:v>
                </c:pt>
                <c:pt idx="4428">
                  <c:v>0.22401711538995861</c:v>
                </c:pt>
                <c:pt idx="4429">
                  <c:v>0.22259453752326963</c:v>
                </c:pt>
                <c:pt idx="4430">
                  <c:v>0.22577866688894455</c:v>
                </c:pt>
                <c:pt idx="4431">
                  <c:v>0.23739823844850116</c:v>
                </c:pt>
                <c:pt idx="4432">
                  <c:v>0.23878191770164769</c:v>
                </c:pt>
                <c:pt idx="4433">
                  <c:v>0.24292739851629586</c:v>
                </c:pt>
                <c:pt idx="4434">
                  <c:v>0.2436609152288074</c:v>
                </c:pt>
                <c:pt idx="4435">
                  <c:v>0.24693951265594172</c:v>
                </c:pt>
                <c:pt idx="4436">
                  <c:v>0.23888749965269107</c:v>
                </c:pt>
                <c:pt idx="4437">
                  <c:v>0.24658942513406146</c:v>
                </c:pt>
                <c:pt idx="4438">
                  <c:v>0.2509349559612124</c:v>
                </c:pt>
                <c:pt idx="4439">
                  <c:v>0.26439943319163128</c:v>
                </c:pt>
                <c:pt idx="4440">
                  <c:v>0.26698896946458861</c:v>
                </c:pt>
                <c:pt idx="4441">
                  <c:v>0.26787808063126906</c:v>
                </c:pt>
                <c:pt idx="4442">
                  <c:v>0.2663777055374954</c:v>
                </c:pt>
                <c:pt idx="4443">
                  <c:v>0.27814175766163762</c:v>
                </c:pt>
                <c:pt idx="4444">
                  <c:v>0.27521880470117543</c:v>
                </c:pt>
                <c:pt idx="4445">
                  <c:v>0.2747742491178351</c:v>
                </c:pt>
                <c:pt idx="4446">
                  <c:v>0.28782195548887235</c:v>
                </c:pt>
                <c:pt idx="4447">
                  <c:v>0.28693840126698333</c:v>
                </c:pt>
                <c:pt idx="4448">
                  <c:v>0.28682170542635643</c:v>
                </c:pt>
                <c:pt idx="4449">
                  <c:v>0.27674696451890757</c:v>
                </c:pt>
                <c:pt idx="4450">
                  <c:v>0.28014225778666879</c:v>
                </c:pt>
                <c:pt idx="4451">
                  <c:v>0.28856658609096719</c:v>
                </c:pt>
                <c:pt idx="4452">
                  <c:v>0.29451251701814352</c:v>
                </c:pt>
                <c:pt idx="4453">
                  <c:v>0.29732988802756255</c:v>
                </c:pt>
                <c:pt idx="4454">
                  <c:v>0.30070295351615672</c:v>
                </c:pt>
                <c:pt idx="4455">
                  <c:v>0.29929148953905149</c:v>
                </c:pt>
                <c:pt idx="4456">
                  <c:v>0.30382595648912236</c:v>
                </c:pt>
                <c:pt idx="4457">
                  <c:v>0.28584368314300801</c:v>
                </c:pt>
                <c:pt idx="4458">
                  <c:v>0.29836903670362047</c:v>
                </c:pt>
                <c:pt idx="4459">
                  <c:v>0.2961184740629601</c:v>
                </c:pt>
                <c:pt idx="4460">
                  <c:v>0.29455141563168574</c:v>
                </c:pt>
                <c:pt idx="4461">
                  <c:v>0.30610430385374121</c:v>
                </c:pt>
                <c:pt idx="4462">
                  <c:v>0.30501514267455754</c:v>
                </c:pt>
                <c:pt idx="4463">
                  <c:v>0.3136450779361506</c:v>
                </c:pt>
                <c:pt idx="4464">
                  <c:v>0.31567891972993256</c:v>
                </c:pt>
                <c:pt idx="4465">
                  <c:v>0.31482870717679412</c:v>
                </c:pt>
                <c:pt idx="4466">
                  <c:v>0.31326720569031141</c:v>
                </c:pt>
                <c:pt idx="4467">
                  <c:v>0.30068072573698967</c:v>
                </c:pt>
                <c:pt idx="4468">
                  <c:v>0.30778250118085082</c:v>
                </c:pt>
                <c:pt idx="4469">
                  <c:v>0.30998860826317687</c:v>
                </c:pt>
                <c:pt idx="4470">
                  <c:v>0.32093578950293145</c:v>
                </c:pt>
                <c:pt idx="4471">
                  <c:v>0.3213025478591871</c:v>
                </c:pt>
                <c:pt idx="4472">
                  <c:v>0.32623711483426421</c:v>
                </c:pt>
                <c:pt idx="4473">
                  <c:v>0.32873773999055333</c:v>
                </c:pt>
                <c:pt idx="4474">
                  <c:v>0.32168597704981816</c:v>
                </c:pt>
                <c:pt idx="4475">
                  <c:v>0.31029979717151512</c:v>
                </c:pt>
                <c:pt idx="4476">
                  <c:v>0.28733850129198979</c:v>
                </c:pt>
                <c:pt idx="4477">
                  <c:v>0.3019810508182601</c:v>
                </c:pt>
                <c:pt idx="4478">
                  <c:v>0.3032535911755716</c:v>
                </c:pt>
                <c:pt idx="4479">
                  <c:v>0.28933344447222908</c:v>
                </c:pt>
                <c:pt idx="4480">
                  <c:v>0.30922730682670663</c:v>
                </c:pt>
                <c:pt idx="4481">
                  <c:v>0.31561779333722328</c:v>
                </c:pt>
                <c:pt idx="4482">
                  <c:v>0.32420327304048224</c:v>
                </c:pt>
                <c:pt idx="4483">
                  <c:v>0.32260287294045753</c:v>
                </c:pt>
                <c:pt idx="4484">
                  <c:v>0.32491456197382673</c:v>
                </c:pt>
                <c:pt idx="4485">
                  <c:v>0.30692117473812885</c:v>
                </c:pt>
                <c:pt idx="4486">
                  <c:v>0.31528437664971798</c:v>
                </c:pt>
                <c:pt idx="4487">
                  <c:v>0.29833013809007802</c:v>
                </c:pt>
                <c:pt idx="4488">
                  <c:v>0.29416242949626281</c:v>
                </c:pt>
                <c:pt idx="4489">
                  <c:v>0.29002250562640675</c:v>
                </c:pt>
                <c:pt idx="4490">
                  <c:v>0.30190325359117565</c:v>
                </c:pt>
                <c:pt idx="4491">
                  <c:v>0.30138090078075086</c:v>
                </c:pt>
                <c:pt idx="4492">
                  <c:v>0.29935261593176077</c:v>
                </c:pt>
                <c:pt idx="4493">
                  <c:v>0.31326164874551976</c:v>
                </c:pt>
                <c:pt idx="4494">
                  <c:v>0.31822955738934722</c:v>
                </c:pt>
                <c:pt idx="4495">
                  <c:v>0.31870189769664647</c:v>
                </c:pt>
                <c:pt idx="4496">
                  <c:v>0.32343641465922057</c:v>
                </c:pt>
                <c:pt idx="4497">
                  <c:v>0.32466449945819797</c:v>
                </c:pt>
                <c:pt idx="4498">
                  <c:v>0.30587091217248763</c:v>
                </c:pt>
                <c:pt idx="4499">
                  <c:v>0.31350615431635687</c:v>
                </c:pt>
                <c:pt idx="4500">
                  <c:v>0.33855130449278992</c:v>
                </c:pt>
                <c:pt idx="4501">
                  <c:v>0.34271345614181348</c:v>
                </c:pt>
                <c:pt idx="4502">
                  <c:v>0.34014059070323155</c:v>
                </c:pt>
                <c:pt idx="4503">
                  <c:v>0.34000722402822925</c:v>
                </c:pt>
                <c:pt idx="4504">
                  <c:v>0.33738434608652179</c:v>
                </c:pt>
                <c:pt idx="4505">
                  <c:v>0.34339140340640717</c:v>
                </c:pt>
                <c:pt idx="4506">
                  <c:v>0.3269761884915674</c:v>
                </c:pt>
                <c:pt idx="4507">
                  <c:v>0.33346670000833534</c:v>
                </c:pt>
                <c:pt idx="4508">
                  <c:v>0.30706009835792281</c:v>
                </c:pt>
                <c:pt idx="4509">
                  <c:v>0.31317273762885156</c:v>
                </c:pt>
                <c:pt idx="4510">
                  <c:v>0.28253174404712289</c:v>
                </c:pt>
                <c:pt idx="4511">
                  <c:v>0.26220999694368041</c:v>
                </c:pt>
                <c:pt idx="4512">
                  <c:v>0.27517990608763299</c:v>
                </c:pt>
                <c:pt idx="4513">
                  <c:v>0.25906476619154795</c:v>
                </c:pt>
                <c:pt idx="4514">
                  <c:v>0.26826150982190011</c:v>
                </c:pt>
                <c:pt idx="4515">
                  <c:v>0.27409074490844931</c:v>
                </c:pt>
                <c:pt idx="4516">
                  <c:v>0.2402989636297963</c:v>
                </c:pt>
                <c:pt idx="4517">
                  <c:v>0.27027868078130646</c:v>
                </c:pt>
                <c:pt idx="4518">
                  <c:v>0.27815287155122115</c:v>
                </c:pt>
                <c:pt idx="4519">
                  <c:v>0.29656858659109209</c:v>
                </c:pt>
                <c:pt idx="4520">
                  <c:v>0.25837014809257863</c:v>
                </c:pt>
                <c:pt idx="4521">
                  <c:v>0.25884804534466954</c:v>
                </c:pt>
                <c:pt idx="4522">
                  <c:v>0.25841460365091273</c:v>
                </c:pt>
                <c:pt idx="4523">
                  <c:v>0.23570337028701616</c:v>
                </c:pt>
                <c:pt idx="4524">
                  <c:v>0.21886027062321145</c:v>
                </c:pt>
                <c:pt idx="4525">
                  <c:v>0.22286682781806566</c:v>
                </c:pt>
                <c:pt idx="4526">
                  <c:v>0.25291322830707674</c:v>
                </c:pt>
                <c:pt idx="4527">
                  <c:v>0.25257425467478001</c:v>
                </c:pt>
                <c:pt idx="4528">
                  <c:v>0.25393570614875949</c:v>
                </c:pt>
                <c:pt idx="4529">
                  <c:v>0.2686949515156567</c:v>
                </c:pt>
                <c:pt idx="4530">
                  <c:v>0.2673612847656357</c:v>
                </c:pt>
                <c:pt idx="4531">
                  <c:v>0.28210941624294961</c:v>
                </c:pt>
                <c:pt idx="4532">
                  <c:v>0.27121780445111265</c:v>
                </c:pt>
                <c:pt idx="4533">
                  <c:v>0.24143258036731408</c:v>
                </c:pt>
                <c:pt idx="4534">
                  <c:v>0.26897279875524438</c:v>
                </c:pt>
                <c:pt idx="4535">
                  <c:v>0.26373815676141255</c:v>
                </c:pt>
                <c:pt idx="4536">
                  <c:v>0.27793615070434274</c:v>
                </c:pt>
                <c:pt idx="4537">
                  <c:v>0.29133950154205213</c:v>
                </c:pt>
                <c:pt idx="4538">
                  <c:v>0.277074824261621</c:v>
                </c:pt>
                <c:pt idx="4539">
                  <c:v>0.28273735100441777</c:v>
                </c:pt>
                <c:pt idx="4540">
                  <c:v>0.26104859548220394</c:v>
                </c:pt>
                <c:pt idx="4541">
                  <c:v>0.25948709399572123</c:v>
                </c:pt>
                <c:pt idx="4542">
                  <c:v>0.27665805340223937</c:v>
                </c:pt>
                <c:pt idx="4543">
                  <c:v>0.27706371037203747</c:v>
                </c:pt>
                <c:pt idx="4544">
                  <c:v>0.28789419577116515</c:v>
                </c:pt>
                <c:pt idx="4545">
                  <c:v>0.28816092912116931</c:v>
                </c:pt>
                <c:pt idx="4546">
                  <c:v>0.28157039259814964</c:v>
                </c:pt>
                <c:pt idx="4547">
                  <c:v>0.31901308660498473</c:v>
                </c:pt>
                <c:pt idx="4548">
                  <c:v>0.32708177044261078</c:v>
                </c:pt>
                <c:pt idx="4549">
                  <c:v>0.31844627823622584</c:v>
                </c:pt>
                <c:pt idx="4550">
                  <c:v>0.32452557583840425</c:v>
                </c:pt>
                <c:pt idx="4551">
                  <c:v>0.31756828095912892</c:v>
                </c:pt>
                <c:pt idx="4552">
                  <c:v>0.31714039621016377</c:v>
                </c:pt>
                <c:pt idx="4553">
                  <c:v>0.32451446194882072</c:v>
                </c:pt>
                <c:pt idx="4554">
                  <c:v>0.32973243310827716</c:v>
                </c:pt>
                <c:pt idx="4555">
                  <c:v>0.32573143285821438</c:v>
                </c:pt>
                <c:pt idx="4556">
                  <c:v>0.34335806173765659</c:v>
                </c:pt>
                <c:pt idx="4557">
                  <c:v>0.34301908810535964</c:v>
                </c:pt>
                <c:pt idx="4558">
                  <c:v>0.33716762523964339</c:v>
                </c:pt>
                <c:pt idx="4559">
                  <c:v>0.34000722402822925</c:v>
                </c:pt>
                <c:pt idx="4560">
                  <c:v>0.35320496790864375</c:v>
                </c:pt>
                <c:pt idx="4561">
                  <c:v>0.34885388013670093</c:v>
                </c:pt>
                <c:pt idx="4562">
                  <c:v>0.35980106137645529</c:v>
                </c:pt>
                <c:pt idx="4563">
                  <c:v>0.35757272651496219</c:v>
                </c:pt>
                <c:pt idx="4564">
                  <c:v>0.35064321635964557</c:v>
                </c:pt>
                <c:pt idx="4565">
                  <c:v>0.35707260148370423</c:v>
                </c:pt>
                <c:pt idx="4566">
                  <c:v>0.34570864938456847</c:v>
                </c:pt>
                <c:pt idx="4567">
                  <c:v>0.33686755022088866</c:v>
                </c:pt>
                <c:pt idx="4568">
                  <c:v>0.33934594759801051</c:v>
                </c:pt>
                <c:pt idx="4569">
                  <c:v>0.33836792531466209</c:v>
                </c:pt>
                <c:pt idx="4570">
                  <c:v>0.30409268983912652</c:v>
                </c:pt>
                <c:pt idx="4571">
                  <c:v>0.3090717123725375</c:v>
                </c:pt>
                <c:pt idx="4572">
                  <c:v>0.32059125892584239</c:v>
                </c:pt>
                <c:pt idx="4573">
                  <c:v>0.31739045872579252</c:v>
                </c:pt>
                <c:pt idx="4574">
                  <c:v>0.31612347531327267</c:v>
                </c:pt>
                <c:pt idx="4575">
                  <c:v>0.33426134311355638</c:v>
                </c:pt>
                <c:pt idx="4576">
                  <c:v>0.33940707399071979</c:v>
                </c:pt>
                <c:pt idx="4577">
                  <c:v>0.33078269567391838</c:v>
                </c:pt>
                <c:pt idx="4578">
                  <c:v>0.34682003834291919</c:v>
                </c:pt>
                <c:pt idx="4579">
                  <c:v>0.31155566669445145</c:v>
                </c:pt>
                <c:pt idx="4580">
                  <c:v>0.31266705565280217</c:v>
                </c:pt>
                <c:pt idx="4581">
                  <c:v>0.30626545525270221</c:v>
                </c:pt>
                <c:pt idx="4582">
                  <c:v>0.32202495068211512</c:v>
                </c:pt>
                <c:pt idx="4583">
                  <c:v>0.28388208163151885</c:v>
                </c:pt>
                <c:pt idx="4584">
                  <c:v>0.28319857742213328</c:v>
                </c:pt>
                <c:pt idx="4585">
                  <c:v>0.26490511516768089</c:v>
                </c:pt>
                <c:pt idx="4586">
                  <c:v>0.25227417965602528</c:v>
                </c:pt>
                <c:pt idx="4587">
                  <c:v>0.28913339445972608</c:v>
                </c:pt>
                <c:pt idx="4588">
                  <c:v>0.28035342168875554</c:v>
                </c:pt>
                <c:pt idx="4589">
                  <c:v>0.26349920813536731</c:v>
                </c:pt>
                <c:pt idx="4590">
                  <c:v>0.27013420021672085</c:v>
                </c:pt>
                <c:pt idx="4591">
                  <c:v>0.24798421827679151</c:v>
                </c:pt>
                <c:pt idx="4592">
                  <c:v>0.25365785890917181</c:v>
                </c:pt>
                <c:pt idx="4593">
                  <c:v>0.23375843960990261</c:v>
                </c:pt>
                <c:pt idx="4594">
                  <c:v>0.25473034925398008</c:v>
                </c:pt>
                <c:pt idx="4595">
                  <c:v>0.22557861687644132</c:v>
                </c:pt>
                <c:pt idx="4596">
                  <c:v>0.2439332055236032</c:v>
                </c:pt>
                <c:pt idx="4597">
                  <c:v>0.27985885360228946</c:v>
                </c:pt>
                <c:pt idx="4598">
                  <c:v>0.28055902864605042</c:v>
                </c:pt>
                <c:pt idx="4599">
                  <c:v>0.29051151676808096</c:v>
                </c:pt>
                <c:pt idx="4600">
                  <c:v>0.28295407185129617</c:v>
                </c:pt>
                <c:pt idx="4601">
                  <c:v>0.27456864216054022</c:v>
                </c:pt>
                <c:pt idx="4602">
                  <c:v>0.29460698507960337</c:v>
                </c:pt>
                <c:pt idx="4603">
                  <c:v>0.31420077241532596</c:v>
                </c:pt>
                <c:pt idx="4604">
                  <c:v>0.31187796949237301</c:v>
                </c:pt>
                <c:pt idx="4605">
                  <c:v>0.32177488816648614</c:v>
                </c:pt>
                <c:pt idx="4606">
                  <c:v>0.28838320691283958</c:v>
                </c:pt>
                <c:pt idx="4607">
                  <c:v>0.2963518657442139</c:v>
                </c:pt>
                <c:pt idx="4608">
                  <c:v>0.29798560751298941</c:v>
                </c:pt>
                <c:pt idx="4609">
                  <c:v>0.28020338417937829</c:v>
                </c:pt>
                <c:pt idx="4610">
                  <c:v>0.26100413992386984</c:v>
                </c:pt>
                <c:pt idx="4611">
                  <c:v>0.26892834319691028</c:v>
                </c:pt>
                <c:pt idx="4612">
                  <c:v>0.26724458892500902</c:v>
                </c:pt>
                <c:pt idx="4613">
                  <c:v>0.27377955600011128</c:v>
                </c:pt>
                <c:pt idx="4614">
                  <c:v>0.29521824900669613</c:v>
                </c:pt>
                <c:pt idx="4615">
                  <c:v>0.30569308993915145</c:v>
                </c:pt>
                <c:pt idx="4616">
                  <c:v>0.3067711372287516</c:v>
                </c:pt>
                <c:pt idx="4617">
                  <c:v>0.28849990275346604</c:v>
                </c:pt>
                <c:pt idx="4618">
                  <c:v>0.29038370703787075</c:v>
                </c:pt>
                <c:pt idx="4619">
                  <c:v>0.28155927870856612</c:v>
                </c:pt>
                <c:pt idx="4620">
                  <c:v>0.26332138590203091</c:v>
                </c:pt>
                <c:pt idx="4621">
                  <c:v>0.26332138590203091</c:v>
                </c:pt>
                <c:pt idx="4622">
                  <c:v>0.23230252007446328</c:v>
                </c:pt>
                <c:pt idx="4623">
                  <c:v>0.23628684949015044</c:v>
                </c:pt>
                <c:pt idx="4624">
                  <c:v>0.21400905782001067</c:v>
                </c:pt>
                <c:pt idx="4625">
                  <c:v>0.23064099358172885</c:v>
                </c:pt>
                <c:pt idx="4626">
                  <c:v>0.24044344419438191</c:v>
                </c:pt>
                <c:pt idx="4627">
                  <c:v>0.22365591397849482</c:v>
                </c:pt>
                <c:pt idx="4628">
                  <c:v>0.23696479675474436</c:v>
                </c:pt>
                <c:pt idx="4629">
                  <c:v>0.20614042399488786</c:v>
                </c:pt>
                <c:pt idx="4630">
                  <c:v>0.19951098885832574</c:v>
                </c:pt>
                <c:pt idx="4631">
                  <c:v>0.16465783112444798</c:v>
                </c:pt>
                <c:pt idx="4632">
                  <c:v>0.15764496679725482</c:v>
                </c:pt>
                <c:pt idx="4633">
                  <c:v>0.14481398127309619</c:v>
                </c:pt>
                <c:pt idx="4634">
                  <c:v>0.16938679114222999</c:v>
                </c:pt>
                <c:pt idx="4635">
                  <c:v>0.18118418493512256</c:v>
                </c:pt>
                <c:pt idx="4636">
                  <c:v>0.16244616709733006</c:v>
                </c:pt>
                <c:pt idx="4637">
                  <c:v>0.1828734961518157</c:v>
                </c:pt>
                <c:pt idx="4638">
                  <c:v>0.19021422022172207</c:v>
                </c:pt>
                <c:pt idx="4639">
                  <c:v>0.18461837681642645</c:v>
                </c:pt>
                <c:pt idx="4640">
                  <c:v>0.20469006140423995</c:v>
                </c:pt>
                <c:pt idx="4641">
                  <c:v>0.21943263593676199</c:v>
                </c:pt>
                <c:pt idx="4642">
                  <c:v>0.20669611847406322</c:v>
                </c:pt>
                <c:pt idx="4643">
                  <c:v>0.16819760495679481</c:v>
                </c:pt>
                <c:pt idx="4644">
                  <c:v>0.15976216276291311</c:v>
                </c:pt>
                <c:pt idx="4645">
                  <c:v>0.16919229807451863</c:v>
                </c:pt>
                <c:pt idx="4646">
                  <c:v>0.16429662971298375</c:v>
                </c:pt>
                <c:pt idx="4647">
                  <c:v>0.1712094690339252</c:v>
                </c:pt>
                <c:pt idx="4648">
                  <c:v>0.17977272095801733</c:v>
                </c:pt>
                <c:pt idx="4649">
                  <c:v>0.1962768469895253</c:v>
                </c:pt>
                <c:pt idx="4650">
                  <c:v>0.18026173209969154</c:v>
                </c:pt>
                <c:pt idx="4651">
                  <c:v>0.18132310855491651</c:v>
                </c:pt>
                <c:pt idx="4652">
                  <c:v>0.18036175710594304</c:v>
                </c:pt>
                <c:pt idx="4653">
                  <c:v>0.19026978966963948</c:v>
                </c:pt>
                <c:pt idx="4654">
                  <c:v>0.17536606373815689</c:v>
                </c:pt>
                <c:pt idx="4655">
                  <c:v>0.18475174349142853</c:v>
                </c:pt>
                <c:pt idx="4656">
                  <c:v>0.2011391736823096</c:v>
                </c:pt>
                <c:pt idx="4657">
                  <c:v>0.2094579200355644</c:v>
                </c:pt>
                <c:pt idx="4658">
                  <c:v>0.20863549220638489</c:v>
                </c:pt>
                <c:pt idx="4659">
                  <c:v>0.19797171515100986</c:v>
                </c:pt>
                <c:pt idx="4660">
                  <c:v>0.16555805618071195</c:v>
                </c:pt>
                <c:pt idx="4661">
                  <c:v>0.16620266177655529</c:v>
                </c:pt>
                <c:pt idx="4662">
                  <c:v>0.16219054763690921</c:v>
                </c:pt>
                <c:pt idx="4663">
                  <c:v>0.16885888138701355</c:v>
                </c:pt>
                <c:pt idx="4664">
                  <c:v>0.14330804923453089</c:v>
                </c:pt>
                <c:pt idx="4665">
                  <c:v>0.13371120557917271</c:v>
                </c:pt>
                <c:pt idx="4666">
                  <c:v>0.11622905726431609</c:v>
                </c:pt>
                <c:pt idx="4667">
                  <c:v>0.15771165013475597</c:v>
                </c:pt>
                <c:pt idx="4668">
                  <c:v>0.14762579533772335</c:v>
                </c:pt>
                <c:pt idx="4669">
                  <c:v>0.15355505543052428</c:v>
                </c:pt>
                <c:pt idx="4670">
                  <c:v>0.12961018032285843</c:v>
                </c:pt>
                <c:pt idx="4671">
                  <c:v>0.11965769220082811</c:v>
                </c:pt>
                <c:pt idx="4672">
                  <c:v>0.16716957017032041</c:v>
                </c:pt>
                <c:pt idx="4673">
                  <c:v>0.13884026562196117</c:v>
                </c:pt>
                <c:pt idx="4674">
                  <c:v>0.16610263677030379</c:v>
                </c:pt>
                <c:pt idx="4675">
                  <c:v>0.18397377122058289</c:v>
                </c:pt>
                <c:pt idx="4676">
                  <c:v>0.1867077880581256</c:v>
                </c:pt>
                <c:pt idx="4677">
                  <c:v>0.17636631380067236</c:v>
                </c:pt>
                <c:pt idx="4678">
                  <c:v>0.16312967130671563</c:v>
                </c:pt>
                <c:pt idx="4679">
                  <c:v>0.15393292767636346</c:v>
                </c:pt>
                <c:pt idx="4680">
                  <c:v>0.16052346419938335</c:v>
                </c:pt>
                <c:pt idx="4681">
                  <c:v>0.20217832235836752</c:v>
                </c:pt>
                <c:pt idx="4682">
                  <c:v>0.20009446806145981</c:v>
                </c:pt>
                <c:pt idx="4683">
                  <c:v>0.20166708343752604</c:v>
                </c:pt>
                <c:pt idx="4684">
                  <c:v>0.20263954877608303</c:v>
                </c:pt>
                <c:pt idx="4685">
                  <c:v>0.20452891000527917</c:v>
                </c:pt>
                <c:pt idx="4686">
                  <c:v>0.19878858603539795</c:v>
                </c:pt>
                <c:pt idx="4687">
                  <c:v>0.1891806284904558</c:v>
                </c:pt>
                <c:pt idx="4688">
                  <c:v>0.19455975104887346</c:v>
                </c:pt>
                <c:pt idx="4689">
                  <c:v>0.1702981300880777</c:v>
                </c:pt>
                <c:pt idx="4690">
                  <c:v>0.16635825623072442</c:v>
                </c:pt>
                <c:pt idx="4691">
                  <c:v>0.17173182184434999</c:v>
                </c:pt>
                <c:pt idx="4692">
                  <c:v>0.19844961240310077</c:v>
                </c:pt>
                <c:pt idx="4693">
                  <c:v>0.19923314161873806</c:v>
                </c:pt>
                <c:pt idx="4694">
                  <c:v>0.2209941374232447</c:v>
                </c:pt>
                <c:pt idx="4695">
                  <c:v>0.21912144702842373</c:v>
                </c:pt>
                <c:pt idx="4696">
                  <c:v>0.20840765746992318</c:v>
                </c:pt>
                <c:pt idx="4697">
                  <c:v>0.2119196465783113</c:v>
                </c:pt>
                <c:pt idx="4698">
                  <c:v>0.21972715401072485</c:v>
                </c:pt>
                <c:pt idx="4699">
                  <c:v>0.22766802811814069</c:v>
                </c:pt>
                <c:pt idx="4700">
                  <c:v>0.22642882942957954</c:v>
                </c:pt>
                <c:pt idx="4701">
                  <c:v>0.22169431246700566</c:v>
                </c:pt>
                <c:pt idx="4702">
                  <c:v>0.21704314967630811</c:v>
                </c:pt>
                <c:pt idx="4703">
                  <c:v>0.23813731210580436</c:v>
                </c:pt>
                <c:pt idx="4704">
                  <c:v>0.24214386930065857</c:v>
                </c:pt>
                <c:pt idx="4705">
                  <c:v>0.23662582312244718</c:v>
                </c:pt>
                <c:pt idx="4706">
                  <c:v>0.24612819871634573</c:v>
                </c:pt>
                <c:pt idx="4707">
                  <c:v>0.22406712789308436</c:v>
                </c:pt>
                <c:pt idx="4708">
                  <c:v>0.22861270873273876</c:v>
                </c:pt>
                <c:pt idx="4709">
                  <c:v>0.22060515128782199</c:v>
                </c:pt>
                <c:pt idx="4710">
                  <c:v>0.2340918562974077</c:v>
                </c:pt>
                <c:pt idx="4711">
                  <c:v>0.23389736322969634</c:v>
                </c:pt>
                <c:pt idx="4712">
                  <c:v>0.2390542079964435</c:v>
                </c:pt>
                <c:pt idx="4713">
                  <c:v>0.2524019893862357</c:v>
                </c:pt>
                <c:pt idx="4714">
                  <c:v>0.25399683254146876</c:v>
                </c:pt>
                <c:pt idx="4715">
                  <c:v>0.25516934789252854</c:v>
                </c:pt>
                <c:pt idx="4716">
                  <c:v>0.2435275485538051</c:v>
                </c:pt>
                <c:pt idx="4717">
                  <c:v>0.22365035703370295</c:v>
                </c:pt>
                <c:pt idx="4718">
                  <c:v>0.2270845489150064</c:v>
                </c:pt>
                <c:pt idx="4719">
                  <c:v>0.21088605484704526</c:v>
                </c:pt>
                <c:pt idx="4720">
                  <c:v>0.21918257342113301</c:v>
                </c:pt>
                <c:pt idx="4721">
                  <c:v>0.22425050707121219</c:v>
                </c:pt>
                <c:pt idx="4722">
                  <c:v>0.23092995471089983</c:v>
                </c:pt>
                <c:pt idx="4723">
                  <c:v>0.23280820205051267</c:v>
                </c:pt>
                <c:pt idx="4724">
                  <c:v>0.21989941929926937</c:v>
                </c:pt>
                <c:pt idx="4725">
                  <c:v>0.21288655497207642</c:v>
                </c:pt>
                <c:pt idx="4726">
                  <c:v>0.21308660498457965</c:v>
                </c:pt>
                <c:pt idx="4727">
                  <c:v>0.23683143007974206</c:v>
                </c:pt>
                <c:pt idx="4728">
                  <c:v>0.19876635825623068</c:v>
                </c:pt>
                <c:pt idx="4729">
                  <c:v>0.19976105137395472</c:v>
                </c:pt>
                <c:pt idx="4730">
                  <c:v>0.19683809841349231</c:v>
                </c:pt>
                <c:pt idx="4731">
                  <c:v>0.17687199577672197</c:v>
                </c:pt>
                <c:pt idx="4732">
                  <c:v>0.1808174265788669</c:v>
                </c:pt>
                <c:pt idx="4733">
                  <c:v>0.19861076380206177</c:v>
                </c:pt>
                <c:pt idx="4734">
                  <c:v>0.19871078880831305</c:v>
                </c:pt>
                <c:pt idx="4735">
                  <c:v>0.19060320635714501</c:v>
                </c:pt>
                <c:pt idx="4736">
                  <c:v>0.17906143202467306</c:v>
                </c:pt>
                <c:pt idx="4737">
                  <c:v>0.18379594898724694</c:v>
                </c:pt>
                <c:pt idx="4738">
                  <c:v>0.16185157400461225</c:v>
                </c:pt>
                <c:pt idx="4739">
                  <c:v>0.16192381428690505</c:v>
                </c:pt>
                <c:pt idx="4740">
                  <c:v>0.15866744463893756</c:v>
                </c:pt>
                <c:pt idx="4741">
                  <c:v>0.1654913728432108</c:v>
                </c:pt>
                <c:pt idx="4742">
                  <c:v>0.13161623739268169</c:v>
                </c:pt>
                <c:pt idx="4743">
                  <c:v>0.1274429718540746</c:v>
                </c:pt>
                <c:pt idx="4744">
                  <c:v>0.12887666361034711</c:v>
                </c:pt>
                <c:pt idx="4745">
                  <c:v>0.13342780139479316</c:v>
                </c:pt>
                <c:pt idx="4746">
                  <c:v>0.1128559917757217</c:v>
                </c:pt>
                <c:pt idx="4747">
                  <c:v>0.11409519046428263</c:v>
                </c:pt>
                <c:pt idx="4748">
                  <c:v>0.10477063710372025</c:v>
                </c:pt>
                <c:pt idx="4749">
                  <c:v>0.12407546331027208</c:v>
                </c:pt>
                <c:pt idx="4750">
                  <c:v>9.8591314495290572E-2</c:v>
                </c:pt>
                <c:pt idx="4751">
                  <c:v>0.10626545525270203</c:v>
                </c:pt>
                <c:pt idx="4752">
                  <c:v>9.4084632269178403E-2</c:v>
                </c:pt>
                <c:pt idx="4753">
                  <c:v>8.4204384429440671E-2</c:v>
                </c:pt>
                <c:pt idx="4754">
                  <c:v>7.2406990636548096E-2</c:v>
                </c:pt>
                <c:pt idx="4755">
                  <c:v>9.9424856214053614E-2</c:v>
                </c:pt>
                <c:pt idx="4756">
                  <c:v>0.112667055652802</c:v>
                </c:pt>
                <c:pt idx="4757">
                  <c:v>0.11298935845072378</c:v>
                </c:pt>
                <c:pt idx="4758">
                  <c:v>0.11242255008196489</c:v>
                </c:pt>
                <c:pt idx="4759">
                  <c:v>0.12745408574365813</c:v>
                </c:pt>
                <c:pt idx="4760">
                  <c:v>0.1320330082520631</c:v>
                </c:pt>
                <c:pt idx="4761">
                  <c:v>0.10588202606207098</c:v>
                </c:pt>
                <c:pt idx="4762">
                  <c:v>0.11050540412881005</c:v>
                </c:pt>
                <c:pt idx="4763">
                  <c:v>8.9844683393070612E-2</c:v>
                </c:pt>
                <c:pt idx="4764">
                  <c:v>0.11539551554555305</c:v>
                </c:pt>
                <c:pt idx="4765">
                  <c:v>0.13406685004584484</c:v>
                </c:pt>
                <c:pt idx="4766">
                  <c:v>0.11938540190603208</c:v>
                </c:pt>
                <c:pt idx="4767">
                  <c:v>0.1131449529048929</c:v>
                </c:pt>
                <c:pt idx="4768">
                  <c:v>0.10318135089327884</c:v>
                </c:pt>
                <c:pt idx="4769">
                  <c:v>0.13497263204690069</c:v>
                </c:pt>
                <c:pt idx="4770">
                  <c:v>0.13930149203967668</c:v>
                </c:pt>
                <c:pt idx="4771">
                  <c:v>0.1189797449362342</c:v>
                </c:pt>
                <c:pt idx="4772">
                  <c:v>0.14571420632936016</c:v>
                </c:pt>
                <c:pt idx="4773">
                  <c:v>0.15394959851073886</c:v>
                </c:pt>
                <c:pt idx="4774">
                  <c:v>0.14009613514489727</c:v>
                </c:pt>
                <c:pt idx="4775">
                  <c:v>0.13714539746047616</c:v>
                </c:pt>
                <c:pt idx="4776">
                  <c:v>0.14346364368869979</c:v>
                </c:pt>
                <c:pt idx="4777">
                  <c:v>0.14826484398877504</c:v>
                </c:pt>
                <c:pt idx="4778">
                  <c:v>0.1310049734655887</c:v>
                </c:pt>
                <c:pt idx="4779">
                  <c:v>0.12056903114667561</c:v>
                </c:pt>
                <c:pt idx="4780">
                  <c:v>0.12758745241866021</c:v>
                </c:pt>
                <c:pt idx="4781">
                  <c:v>0.13047706371037204</c:v>
                </c:pt>
                <c:pt idx="4782">
                  <c:v>0.14341918813036592</c:v>
                </c:pt>
                <c:pt idx="4783">
                  <c:v>0.12098580200605702</c:v>
                </c:pt>
                <c:pt idx="4784">
                  <c:v>0.12512572587591353</c:v>
                </c:pt>
                <c:pt idx="4785">
                  <c:v>0.1343057986718903</c:v>
                </c:pt>
                <c:pt idx="4786">
                  <c:v>0.15132116362423953</c:v>
                </c:pt>
                <c:pt idx="4787">
                  <c:v>0.1355783390292018</c:v>
                </c:pt>
                <c:pt idx="4788">
                  <c:v>0.13097163179683813</c:v>
                </c:pt>
                <c:pt idx="4789">
                  <c:v>0.12924342196660277</c:v>
                </c:pt>
                <c:pt idx="4790">
                  <c:v>9.5479425411908458E-2</c:v>
                </c:pt>
                <c:pt idx="4791">
                  <c:v>0.10037509377344334</c:v>
                </c:pt>
                <c:pt idx="4792">
                  <c:v>0.12313078269567401</c:v>
                </c:pt>
                <c:pt idx="4793">
                  <c:v>8.4793420577366607E-2</c:v>
                </c:pt>
                <c:pt idx="4794">
                  <c:v>9.152288072018E-2</c:v>
                </c:pt>
                <c:pt idx="4795">
                  <c:v>0.10694340251729595</c:v>
                </c:pt>
                <c:pt idx="4796">
                  <c:v>0.10930510405379135</c:v>
                </c:pt>
                <c:pt idx="4797">
                  <c:v>5.7025367452974374E-2</c:v>
                </c:pt>
                <c:pt idx="4798">
                  <c:v>7.5541107499097038E-2</c:v>
                </c:pt>
                <c:pt idx="4799">
                  <c:v>2.4872884887888524E-2</c:v>
                </c:pt>
                <c:pt idx="4800">
                  <c:v>6.9628518240671289E-2</c:v>
                </c:pt>
                <c:pt idx="4801">
                  <c:v>0.11267816954238552</c:v>
                </c:pt>
                <c:pt idx="4802">
                  <c:v>7.018421271984665E-2</c:v>
                </c:pt>
                <c:pt idx="4803">
                  <c:v>5.34744797310438E-2</c:v>
                </c:pt>
                <c:pt idx="4804">
                  <c:v>5.1401739323719831E-2</c:v>
                </c:pt>
                <c:pt idx="4805">
                  <c:v>7.2068017004251139E-2</c:v>
                </c:pt>
                <c:pt idx="4806">
                  <c:v>7.5707815842849691E-2</c:v>
                </c:pt>
                <c:pt idx="4807">
                  <c:v>-1.8799144230501996E-2</c:v>
                </c:pt>
                <c:pt idx="4808">
                  <c:v>3.4391931316162472E-2</c:v>
                </c:pt>
                <c:pt idx="4809">
                  <c:v>2.9846350476508077E-2</c:v>
                </c:pt>
                <c:pt idx="4810">
                  <c:v>-1.1475090994970905E-2</c:v>
                </c:pt>
                <c:pt idx="4811">
                  <c:v>-2.4806201550387486E-2</c:v>
                </c:pt>
                <c:pt idx="4812">
                  <c:v>-6.2354477508265949E-2</c:v>
                </c:pt>
                <c:pt idx="4813">
                  <c:v>-0.11616237392681505</c:v>
                </c:pt>
                <c:pt idx="4814">
                  <c:v>-0.12570364813425583</c:v>
                </c:pt>
                <c:pt idx="4815">
                  <c:v>-0.19228696062904616</c:v>
                </c:pt>
                <c:pt idx="4816">
                  <c:v>-0.20171153899586014</c:v>
                </c:pt>
                <c:pt idx="4817">
                  <c:v>-0.10926064849545714</c:v>
                </c:pt>
                <c:pt idx="4818">
                  <c:v>-0.11399516545803112</c:v>
                </c:pt>
                <c:pt idx="4819">
                  <c:v>-0.19396515795615565</c:v>
                </c:pt>
                <c:pt idx="4820">
                  <c:v>-0.15967325164624491</c:v>
                </c:pt>
                <c:pt idx="4821">
                  <c:v>-0.16488010891611793</c:v>
                </c:pt>
                <c:pt idx="4822">
                  <c:v>-0.12505904253841238</c:v>
                </c:pt>
                <c:pt idx="4823">
                  <c:v>-0.15199911088883333</c:v>
                </c:pt>
                <c:pt idx="4824">
                  <c:v>-0.20356755855630571</c:v>
                </c:pt>
                <c:pt idx="4825">
                  <c:v>-0.1934817037592732</c:v>
                </c:pt>
                <c:pt idx="4826">
                  <c:v>-0.2213108832763746</c:v>
                </c:pt>
                <c:pt idx="4827">
                  <c:v>-0.2460448445444694</c:v>
                </c:pt>
                <c:pt idx="4828">
                  <c:v>-0.16470228668278175</c:v>
                </c:pt>
                <c:pt idx="4829">
                  <c:v>-0.17383234697563277</c:v>
                </c:pt>
                <c:pt idx="4830">
                  <c:v>-0.15236031230029734</c:v>
                </c:pt>
                <c:pt idx="4831">
                  <c:v>-0.13933483370842714</c:v>
                </c:pt>
                <c:pt idx="4832">
                  <c:v>-0.14150204217721085</c:v>
                </c:pt>
                <c:pt idx="4833">
                  <c:v>-0.1064432774860381</c:v>
                </c:pt>
                <c:pt idx="4834">
                  <c:v>-0.15300491789614068</c:v>
                </c:pt>
                <c:pt idx="4835">
                  <c:v>-0.1953488372093023</c:v>
                </c:pt>
                <c:pt idx="4836">
                  <c:v>-0.17184296074018501</c:v>
                </c:pt>
                <c:pt idx="4837">
                  <c:v>-0.18221777666638872</c:v>
                </c:pt>
                <c:pt idx="4838">
                  <c:v>-0.20023339168125365</c:v>
                </c:pt>
                <c:pt idx="4839">
                  <c:v>-0.24139368175377174</c:v>
                </c:pt>
                <c:pt idx="4840">
                  <c:v>-0.18878608541024144</c:v>
                </c:pt>
                <c:pt idx="4841">
                  <c:v>-0.22247228473785108</c:v>
                </c:pt>
                <c:pt idx="4842">
                  <c:v>-0.24251062765691411</c:v>
                </c:pt>
                <c:pt idx="4843">
                  <c:v>-0.23491428412658721</c:v>
                </c:pt>
                <c:pt idx="4844">
                  <c:v>-0.28162040510127528</c:v>
                </c:pt>
                <c:pt idx="4845">
                  <c:v>-0.32981023033536161</c:v>
                </c:pt>
                <c:pt idx="4846">
                  <c:v>-0.28727181795448864</c:v>
                </c:pt>
                <c:pt idx="4847">
                  <c:v>-0.24112694840376758</c:v>
                </c:pt>
                <c:pt idx="4848">
                  <c:v>-0.23603678697452146</c:v>
                </c:pt>
                <c:pt idx="4849">
                  <c:v>-0.20874663110221992</c:v>
                </c:pt>
                <c:pt idx="4850">
                  <c:v>-0.20108916117918363</c:v>
                </c:pt>
                <c:pt idx="4851">
                  <c:v>-0.27237920591258924</c:v>
                </c:pt>
                <c:pt idx="4852">
                  <c:v>-0.24326081520380094</c:v>
                </c:pt>
                <c:pt idx="4853">
                  <c:v>-0.2232947125670306</c:v>
                </c:pt>
                <c:pt idx="4854">
                  <c:v>-0.24602817371009422</c:v>
                </c:pt>
                <c:pt idx="4855">
                  <c:v>-0.21849351226695568</c:v>
                </c:pt>
                <c:pt idx="4856">
                  <c:v>-0.18835264371648475</c:v>
                </c:pt>
                <c:pt idx="4857">
                  <c:v>-0.20709066155427736</c:v>
                </c:pt>
                <c:pt idx="4858">
                  <c:v>-0.1975771720707955</c:v>
                </c:pt>
                <c:pt idx="4859">
                  <c:v>-0.22024950682114963</c:v>
                </c:pt>
                <c:pt idx="4860">
                  <c:v>-0.21476480231168904</c:v>
                </c:pt>
                <c:pt idx="4861">
                  <c:v>-0.22468950570976076</c:v>
                </c:pt>
                <c:pt idx="4862">
                  <c:v>-0.18486843933205532</c:v>
                </c:pt>
                <c:pt idx="4863">
                  <c:v>-0.19264260509571829</c:v>
                </c:pt>
                <c:pt idx="4864">
                  <c:v>-0.20969686866160975</c:v>
                </c:pt>
                <c:pt idx="4865">
                  <c:v>-0.20736295184907327</c:v>
                </c:pt>
                <c:pt idx="4866">
                  <c:v>-0.22179433747325716</c:v>
                </c:pt>
                <c:pt idx="4867">
                  <c:v>-0.22920730182545634</c:v>
                </c:pt>
                <c:pt idx="4868">
                  <c:v>-0.22438387374621427</c:v>
                </c:pt>
                <c:pt idx="4869">
                  <c:v>-0.22023839293156622</c:v>
                </c:pt>
                <c:pt idx="4870">
                  <c:v>-0.22300019449306774</c:v>
                </c:pt>
                <c:pt idx="4871">
                  <c:v>-0.20388430440943561</c:v>
                </c:pt>
                <c:pt idx="4872">
                  <c:v>-0.19258703564780077</c:v>
                </c:pt>
                <c:pt idx="4873">
                  <c:v>-0.16691950765469143</c:v>
                </c:pt>
                <c:pt idx="4874">
                  <c:v>-0.1707871412297518</c:v>
                </c:pt>
                <c:pt idx="4875">
                  <c:v>-0.16430774360256739</c:v>
                </c:pt>
                <c:pt idx="4876">
                  <c:v>-0.18891945208524352</c:v>
                </c:pt>
                <c:pt idx="4877">
                  <c:v>-0.1861298657997833</c:v>
                </c:pt>
                <c:pt idx="4878">
                  <c:v>-0.20346197660526233</c:v>
                </c:pt>
                <c:pt idx="4879">
                  <c:v>-0.22143313606179327</c:v>
                </c:pt>
                <c:pt idx="4880">
                  <c:v>-0.22001055819510429</c:v>
                </c:pt>
                <c:pt idx="4881">
                  <c:v>-0.24603928759967775</c:v>
                </c:pt>
                <c:pt idx="4882">
                  <c:v>-0.24501125281320324</c:v>
                </c:pt>
                <c:pt idx="4883">
                  <c:v>-0.23929871356728061</c:v>
                </c:pt>
                <c:pt idx="4884">
                  <c:v>-0.27946986746686664</c:v>
                </c:pt>
                <c:pt idx="4885">
                  <c:v>-0.24796199049762446</c:v>
                </c:pt>
                <c:pt idx="4886">
                  <c:v>-0.25934817037592739</c:v>
                </c:pt>
                <c:pt idx="4887">
                  <c:v>-0.25535828401544824</c:v>
                </c:pt>
                <c:pt idx="4888">
                  <c:v>-0.25121836014559196</c:v>
                </c:pt>
                <c:pt idx="4889">
                  <c:v>-0.24304409435692254</c:v>
                </c:pt>
                <c:pt idx="4890">
                  <c:v>-0.21754327470756585</c:v>
                </c:pt>
                <c:pt idx="4891">
                  <c:v>-0.24339973882359478</c:v>
                </c:pt>
                <c:pt idx="4892">
                  <c:v>-0.26064293851240583</c:v>
                </c:pt>
                <c:pt idx="4893">
                  <c:v>-0.26103192464782865</c:v>
                </c:pt>
                <c:pt idx="4894">
                  <c:v>-0.24932344197160394</c:v>
                </c:pt>
                <c:pt idx="4895">
                  <c:v>-0.25438581867689147</c:v>
                </c:pt>
                <c:pt idx="4896">
                  <c:v>-0.24213275541107504</c:v>
                </c:pt>
                <c:pt idx="4897">
                  <c:v>-0.22143869300658503</c:v>
                </c:pt>
                <c:pt idx="4898">
                  <c:v>-0.22025506376594139</c:v>
                </c:pt>
                <c:pt idx="4899">
                  <c:v>-0.25853685643633129</c:v>
                </c:pt>
                <c:pt idx="4900">
                  <c:v>-0.25231307826956739</c:v>
                </c:pt>
                <c:pt idx="4901">
                  <c:v>-0.25084048789975266</c:v>
                </c:pt>
                <c:pt idx="4902">
                  <c:v>-0.25824233836236843</c:v>
                </c:pt>
                <c:pt idx="4903">
                  <c:v>-0.29190075296601925</c:v>
                </c:pt>
                <c:pt idx="4904">
                  <c:v>-0.29243977661081932</c:v>
                </c:pt>
                <c:pt idx="4905">
                  <c:v>-0.30048067572448667</c:v>
                </c:pt>
                <c:pt idx="4906">
                  <c:v>-0.30831596788085902</c:v>
                </c:pt>
                <c:pt idx="4907">
                  <c:v>-0.33229974160206721</c:v>
                </c:pt>
                <c:pt idx="4908">
                  <c:v>-0.30551526770581539</c:v>
                </c:pt>
                <c:pt idx="4909">
                  <c:v>-0.31275040982467839</c:v>
                </c:pt>
                <c:pt idx="4910">
                  <c:v>-0.32344752854880388</c:v>
                </c:pt>
                <c:pt idx="4911">
                  <c:v>-0.33936817537717767</c:v>
                </c:pt>
                <c:pt idx="4912">
                  <c:v>-0.37015920646828371</c:v>
                </c:pt>
                <c:pt idx="4913">
                  <c:v>-0.37418799144230497</c:v>
                </c:pt>
                <c:pt idx="4914">
                  <c:v>-0.3590897724431108</c:v>
                </c:pt>
                <c:pt idx="4915">
                  <c:v>-0.38630213108832756</c:v>
                </c:pt>
                <c:pt idx="4916">
                  <c:v>-0.38540190603206359</c:v>
                </c:pt>
                <c:pt idx="4917">
                  <c:v>-0.39149231752382541</c:v>
                </c:pt>
                <c:pt idx="4918">
                  <c:v>-0.35271039982217778</c:v>
                </c:pt>
                <c:pt idx="4919">
                  <c:v>-0.35090994970964962</c:v>
                </c:pt>
                <c:pt idx="4920">
                  <c:v>-0.32434775360506796</c:v>
                </c:pt>
                <c:pt idx="4921">
                  <c:v>-0.31909644077686095</c:v>
                </c:pt>
                <c:pt idx="4922">
                  <c:v>-0.32148037009252317</c:v>
                </c:pt>
                <c:pt idx="4923">
                  <c:v>-0.29966380484009891</c:v>
                </c:pt>
                <c:pt idx="4924">
                  <c:v>-0.28503236920341202</c:v>
                </c:pt>
                <c:pt idx="4925">
                  <c:v>-0.29430691006084853</c:v>
                </c:pt>
                <c:pt idx="4926">
                  <c:v>-0.30824372759856633</c:v>
                </c:pt>
                <c:pt idx="4927">
                  <c:v>-0.2591425634186324</c:v>
                </c:pt>
                <c:pt idx="4928">
                  <c:v>-0.27424633936261844</c:v>
                </c:pt>
                <c:pt idx="4929">
                  <c:v>-0.26725570281459254</c:v>
                </c:pt>
                <c:pt idx="4930">
                  <c:v>-0.25016254063515886</c:v>
                </c:pt>
                <c:pt idx="4931">
                  <c:v>-0.26526631657914479</c:v>
                </c:pt>
                <c:pt idx="4932">
                  <c:v>-0.29081159178683558</c:v>
                </c:pt>
                <c:pt idx="4933">
                  <c:v>-0.28149815231585673</c:v>
                </c:pt>
                <c:pt idx="4934">
                  <c:v>-0.26946736684171035</c:v>
                </c:pt>
                <c:pt idx="4935">
                  <c:v>-0.24843988774971515</c:v>
                </c:pt>
                <c:pt idx="4936">
                  <c:v>-0.2411102775693923</c:v>
                </c:pt>
                <c:pt idx="4937">
                  <c:v>-0.24738962518407381</c:v>
                </c:pt>
                <c:pt idx="4938">
                  <c:v>-0.26486621655413845</c:v>
                </c:pt>
                <c:pt idx="4939">
                  <c:v>-0.25618626878941952</c:v>
                </c:pt>
                <c:pt idx="4940">
                  <c:v>-0.22786807813064369</c:v>
                </c:pt>
                <c:pt idx="4941">
                  <c:v>-0.22584535022644547</c:v>
                </c:pt>
                <c:pt idx="4942">
                  <c:v>-0.24136589702981293</c:v>
                </c:pt>
                <c:pt idx="4943">
                  <c:v>-0.23183017976716402</c:v>
                </c:pt>
                <c:pt idx="4944">
                  <c:v>-0.21986607763051869</c:v>
                </c:pt>
                <c:pt idx="4945">
                  <c:v>-0.21599844405545832</c:v>
                </c:pt>
                <c:pt idx="4946">
                  <c:v>-0.24952349198410717</c:v>
                </c:pt>
                <c:pt idx="4947">
                  <c:v>-0.23357506043177456</c:v>
                </c:pt>
                <c:pt idx="4948">
                  <c:v>-0.23929871356728061</c:v>
                </c:pt>
                <c:pt idx="4949">
                  <c:v>-0.23174126865049594</c:v>
                </c:pt>
                <c:pt idx="4950">
                  <c:v>-0.21883804284404429</c:v>
                </c:pt>
                <c:pt idx="4951">
                  <c:v>-0.22670667666916733</c:v>
                </c:pt>
                <c:pt idx="4952">
                  <c:v>-0.22879608791086659</c:v>
                </c:pt>
                <c:pt idx="4953">
                  <c:v>-0.21203078547414633</c:v>
                </c:pt>
                <c:pt idx="4954">
                  <c:v>-0.21273096051790719</c:v>
                </c:pt>
                <c:pt idx="4955">
                  <c:v>-0.20846322691784047</c:v>
                </c:pt>
                <c:pt idx="4956">
                  <c:v>-0.18166208218721336</c:v>
                </c:pt>
                <c:pt idx="4957">
                  <c:v>-0.18465727542996857</c:v>
                </c:pt>
                <c:pt idx="4958">
                  <c:v>-0.17017587730265904</c:v>
                </c:pt>
                <c:pt idx="4959">
                  <c:v>-0.18109527381845458</c:v>
                </c:pt>
                <c:pt idx="4960">
                  <c:v>-0.16137923369731311</c:v>
                </c:pt>
                <c:pt idx="4961">
                  <c:v>-0.17912811536217388</c:v>
                </c:pt>
                <c:pt idx="4962">
                  <c:v>-0.17988941679864412</c:v>
                </c:pt>
                <c:pt idx="4963">
                  <c:v>-0.20161151398960853</c:v>
                </c:pt>
                <c:pt idx="4964">
                  <c:v>-0.19324831207801951</c:v>
                </c:pt>
                <c:pt idx="4965">
                  <c:v>-0.20231168903336938</c:v>
                </c:pt>
                <c:pt idx="4966">
                  <c:v>-0.17799449862465611</c:v>
                </c:pt>
                <c:pt idx="4967">
                  <c:v>-0.17927259592675937</c:v>
                </c:pt>
                <c:pt idx="4968">
                  <c:v>-0.18342363368619929</c:v>
                </c:pt>
                <c:pt idx="4969">
                  <c:v>-0.19686588313745101</c:v>
                </c:pt>
                <c:pt idx="4970">
                  <c:v>-0.19805506932288619</c:v>
                </c:pt>
                <c:pt idx="4971">
                  <c:v>-0.17696090689339006</c:v>
                </c:pt>
                <c:pt idx="4972">
                  <c:v>-0.19242032730404823</c:v>
                </c:pt>
                <c:pt idx="4973">
                  <c:v>-0.17982829040593473</c:v>
                </c:pt>
                <c:pt idx="4974">
                  <c:v>-0.16869772998805255</c:v>
                </c:pt>
                <c:pt idx="4975">
                  <c:v>-0.14720346753354996</c:v>
                </c:pt>
                <c:pt idx="4976">
                  <c:v>-0.14551415631685694</c:v>
                </c:pt>
                <c:pt idx="4977">
                  <c:v>-0.15707815842849593</c:v>
                </c:pt>
                <c:pt idx="4978">
                  <c:v>-0.14723680920230064</c:v>
                </c:pt>
                <c:pt idx="4979">
                  <c:v>-0.14933177738879166</c:v>
                </c:pt>
                <c:pt idx="4980">
                  <c:v>-0.15001528159817734</c:v>
                </c:pt>
                <c:pt idx="4981">
                  <c:v>-0.14699230363146343</c:v>
                </c:pt>
                <c:pt idx="4982">
                  <c:v>-0.14992081353671749</c:v>
                </c:pt>
                <c:pt idx="4983">
                  <c:v>-0.14450834930954959</c:v>
                </c:pt>
                <c:pt idx="4984">
                  <c:v>-0.14328582145536384</c:v>
                </c:pt>
                <c:pt idx="4985">
                  <c:v>-0.16364646717234865</c:v>
                </c:pt>
                <c:pt idx="4986">
                  <c:v>-0.17428245950376475</c:v>
                </c:pt>
                <c:pt idx="4987">
                  <c:v>-0.175404962351699</c:v>
                </c:pt>
                <c:pt idx="4988">
                  <c:v>-0.16835319941096383</c:v>
                </c:pt>
                <c:pt idx="4989">
                  <c:v>-0.16576366313800672</c:v>
                </c:pt>
                <c:pt idx="4990">
                  <c:v>-0.19116445778111191</c:v>
                </c:pt>
                <c:pt idx="4991">
                  <c:v>-0.18928621044149918</c:v>
                </c:pt>
                <c:pt idx="4992">
                  <c:v>-0.18397377122058289</c:v>
                </c:pt>
                <c:pt idx="4993">
                  <c:v>-0.16646939512655934</c:v>
                </c:pt>
                <c:pt idx="4994">
                  <c:v>-0.16752521463699255</c:v>
                </c:pt>
                <c:pt idx="4995">
                  <c:v>-0.15995665583062424</c:v>
                </c:pt>
                <c:pt idx="4996">
                  <c:v>-0.16704731738490175</c:v>
                </c:pt>
                <c:pt idx="4997">
                  <c:v>-0.16332416437442687</c:v>
                </c:pt>
                <c:pt idx="4998">
                  <c:v>-0.18768581034147425</c:v>
                </c:pt>
                <c:pt idx="4999">
                  <c:v>-0.18558528521019146</c:v>
                </c:pt>
                <c:pt idx="5000">
                  <c:v>-0.20161151398960853</c:v>
                </c:pt>
                <c:pt idx="5001">
                  <c:v>-0.20246728348753851</c:v>
                </c:pt>
                <c:pt idx="5002">
                  <c:v>-0.1996332416437443</c:v>
                </c:pt>
                <c:pt idx="5003">
                  <c:v>-0.20285626962296133</c:v>
                </c:pt>
                <c:pt idx="5004">
                  <c:v>-0.18289016698619098</c:v>
                </c:pt>
                <c:pt idx="5005">
                  <c:v>-0.17855019310383147</c:v>
                </c:pt>
                <c:pt idx="5006">
                  <c:v>-0.15418299019199244</c:v>
                </c:pt>
                <c:pt idx="5007">
                  <c:v>-0.14684226612208606</c:v>
                </c:pt>
                <c:pt idx="5008">
                  <c:v>-0.14717568280959126</c:v>
                </c:pt>
                <c:pt idx="5009">
                  <c:v>-0.13741768775527219</c:v>
                </c:pt>
                <c:pt idx="5010">
                  <c:v>-0.13427801394793137</c:v>
                </c:pt>
                <c:pt idx="5011">
                  <c:v>-0.1345780889666861</c:v>
                </c:pt>
                <c:pt idx="5012">
                  <c:v>-0.11441749326220441</c:v>
                </c:pt>
                <c:pt idx="5013">
                  <c:v>-0.11172237503820392</c:v>
                </c:pt>
                <c:pt idx="5014">
                  <c:v>-0.10907726931732931</c:v>
                </c:pt>
                <c:pt idx="5015">
                  <c:v>-0.1113945152954906</c:v>
                </c:pt>
                <c:pt idx="5016">
                  <c:v>-0.11533438915284377</c:v>
                </c:pt>
                <c:pt idx="5017">
                  <c:v>-0.10469839682142745</c:v>
                </c:pt>
                <c:pt idx="5018">
                  <c:v>-0.10404823428079246</c:v>
                </c:pt>
                <c:pt idx="5019">
                  <c:v>-9.0294795921202486E-2</c:v>
                </c:pt>
                <c:pt idx="5020">
                  <c:v>-8.7532994359701077E-2</c:v>
                </c:pt>
                <c:pt idx="5021">
                  <c:v>-8.9878025061820965E-2</c:v>
                </c:pt>
                <c:pt idx="5022">
                  <c:v>-9.4873718429607456E-2</c:v>
                </c:pt>
                <c:pt idx="5023">
                  <c:v>-8.2698452390875477E-2</c:v>
                </c:pt>
                <c:pt idx="5024">
                  <c:v>-8.5738101191964677E-2</c:v>
                </c:pt>
                <c:pt idx="5025">
                  <c:v>-9.7046483843182929E-2</c:v>
                </c:pt>
                <c:pt idx="5026">
                  <c:v>-8.6310466505515215E-2</c:v>
                </c:pt>
                <c:pt idx="5027">
                  <c:v>-7.9958878608541006E-2</c:v>
                </c:pt>
                <c:pt idx="5028">
                  <c:v>-8.7805284654496996E-2</c:v>
                </c:pt>
                <c:pt idx="5029">
                  <c:v>-0.10974410269233981</c:v>
                </c:pt>
                <c:pt idx="5030">
                  <c:v>-0.10055291600677951</c:v>
                </c:pt>
                <c:pt idx="5031">
                  <c:v>-9.426245450251447E-2</c:v>
                </c:pt>
                <c:pt idx="5032">
                  <c:v>-8.4298852490900522E-2</c:v>
                </c:pt>
                <c:pt idx="5033">
                  <c:v>-6.7077880581256411E-2</c:v>
                </c:pt>
                <c:pt idx="5034">
                  <c:v>-6.7578005612514147E-2</c:v>
                </c:pt>
                <c:pt idx="5035">
                  <c:v>-6.5366341585396337E-2</c:v>
                </c:pt>
                <c:pt idx="5036">
                  <c:v>-6.5160734628101458E-2</c:v>
                </c:pt>
                <c:pt idx="5037">
                  <c:v>-6.2454502514517451E-2</c:v>
                </c:pt>
                <c:pt idx="5038">
                  <c:v>-6.4182712344752813E-2</c:v>
                </c:pt>
                <c:pt idx="5039">
                  <c:v>-7.170125864799537E-2</c:v>
                </c:pt>
                <c:pt idx="5040">
                  <c:v>-9.2200827984773914E-2</c:v>
                </c:pt>
                <c:pt idx="5041">
                  <c:v>-9.4962629546275434E-2</c:v>
                </c:pt>
                <c:pt idx="5042">
                  <c:v>-8.7171792948236959E-2</c:v>
                </c:pt>
                <c:pt idx="5043">
                  <c:v>-7.5135450529299042E-2</c:v>
                </c:pt>
                <c:pt idx="5044">
                  <c:v>-6.6811147231252255E-2</c:v>
                </c:pt>
                <c:pt idx="5045">
                  <c:v>-5.9498207885304577E-2</c:v>
                </c:pt>
                <c:pt idx="5046">
                  <c:v>-4.9684643383067884E-2</c:v>
                </c:pt>
                <c:pt idx="5047">
                  <c:v>-5.0768247617459905E-2</c:v>
                </c:pt>
                <c:pt idx="5048">
                  <c:v>-4.4738962518407366E-2</c:v>
                </c:pt>
                <c:pt idx="5049">
                  <c:v>-4.173265538606874E-2</c:v>
                </c:pt>
                <c:pt idx="5050">
                  <c:v>-2.7028979467088932E-2</c:v>
                </c:pt>
                <c:pt idx="5051">
                  <c:v>-2.9868578255675016E-2</c:v>
                </c:pt>
                <c:pt idx="5052">
                  <c:v>-2.7295712817093087E-2</c:v>
                </c:pt>
                <c:pt idx="5053">
                  <c:v>-3.0607651912978207E-2</c:v>
                </c:pt>
                <c:pt idx="5054">
                  <c:v>-2.4206051512878135E-2</c:v>
                </c:pt>
                <c:pt idx="5055">
                  <c:v>-3.4025172959906702E-2</c:v>
                </c:pt>
                <c:pt idx="5056">
                  <c:v>-4.3082992970464806E-2</c:v>
                </c:pt>
                <c:pt idx="5057">
                  <c:v>-4.8912228057014229E-2</c:v>
                </c:pt>
                <c:pt idx="5058">
                  <c:v>-3.1802395043205256E-2</c:v>
                </c:pt>
                <c:pt idx="5059">
                  <c:v>-3.3936261843238502E-2</c:v>
                </c:pt>
                <c:pt idx="5060">
                  <c:v>-3.7059264816204029E-2</c:v>
                </c:pt>
                <c:pt idx="5061">
                  <c:v>-6.1854352477008101E-2</c:v>
                </c:pt>
                <c:pt idx="5062">
                  <c:v>-6.6044288849990251E-2</c:v>
                </c:pt>
                <c:pt idx="5063">
                  <c:v>-5.2135256036231259E-2</c:v>
                </c:pt>
                <c:pt idx="5064">
                  <c:v>-3.9126448278736237E-2</c:v>
                </c:pt>
                <c:pt idx="5065">
                  <c:v>-3.6014559195354345E-2</c:v>
                </c:pt>
                <c:pt idx="5066">
                  <c:v>-2.8812758745241807E-2</c:v>
                </c:pt>
                <c:pt idx="5067">
                  <c:v>-2.3311383401405927E-2</c:v>
                </c:pt>
                <c:pt idx="5068">
                  <c:v>-1.9026978966963926E-2</c:v>
                </c:pt>
                <c:pt idx="5069">
                  <c:v>-2.1694312467005594E-2</c:v>
                </c:pt>
                <c:pt idx="5070">
                  <c:v>-4.4900113917367701E-3</c:v>
                </c:pt>
                <c:pt idx="5071">
                  <c:v>-3.5564446667213367E-4</c:v>
                </c:pt>
                <c:pt idx="5072">
                  <c:v>-8.4465560834653397E-3</c:v>
                </c:pt>
                <c:pt idx="5073">
                  <c:v>8.7244033230526874E-4</c:v>
                </c:pt>
                <c:pt idx="5074">
                  <c:v>-5.3457808896667514E-3</c:v>
                </c:pt>
                <c:pt idx="5075">
                  <c:v>-1.4014614764802369E-2</c:v>
                </c:pt>
                <c:pt idx="5076">
                  <c:v>-3.4508627156789595E-3</c:v>
                </c:pt>
                <c:pt idx="5077">
                  <c:v>-1.5587230140868491E-2</c:v>
                </c:pt>
                <c:pt idx="5078">
                  <c:v>-2.7117890583757021E-2</c:v>
                </c:pt>
                <c:pt idx="5079">
                  <c:v>-3.0340918562974051E-2</c:v>
                </c:pt>
                <c:pt idx="5080">
                  <c:v>-4.9156733627851446E-2</c:v>
                </c:pt>
                <c:pt idx="5081">
                  <c:v>-2.766802811814062E-2</c:v>
                </c:pt>
                <c:pt idx="5082">
                  <c:v>-5.494707010085853E-2</c:v>
                </c:pt>
                <c:pt idx="5083">
                  <c:v>-4.884554471951319E-2</c:v>
                </c:pt>
                <c:pt idx="5084">
                  <c:v>-4.6533855686143766E-2</c:v>
                </c:pt>
                <c:pt idx="5085">
                  <c:v>-4.5200188936122876E-2</c:v>
                </c:pt>
                <c:pt idx="5086">
                  <c:v>-2.6728904448334201E-2</c:v>
                </c:pt>
                <c:pt idx="5087">
                  <c:v>-2.4161595954544257E-2</c:v>
                </c:pt>
                <c:pt idx="5088">
                  <c:v>-2.2172209719096836E-3</c:v>
                </c:pt>
                <c:pt idx="5089">
                  <c:v>-2.0282848489899807E-3</c:v>
                </c:pt>
                <c:pt idx="5090">
                  <c:v>2.9896362979633384E-3</c:v>
                </c:pt>
                <c:pt idx="5091">
                  <c:v>-7.1629018365702013E-3</c:v>
                </c:pt>
                <c:pt idx="5092">
                  <c:v>-1.4559195354393317E-3</c:v>
                </c:pt>
                <c:pt idx="5093">
                  <c:v>1.3192186935622852E-2</c:v>
                </c:pt>
                <c:pt idx="5094">
                  <c:v>1.4242449501264298E-2</c:v>
                </c:pt>
                <c:pt idx="5095">
                  <c:v>1.3925703648134169E-2</c:v>
                </c:pt>
                <c:pt idx="5096">
                  <c:v>3.1674585312990722E-4</c:v>
                </c:pt>
                <c:pt idx="5097">
                  <c:v>-2.7229029479591826E-3</c:v>
                </c:pt>
                <c:pt idx="5098">
                  <c:v>1.0902725681420478E-2</c:v>
                </c:pt>
                <c:pt idx="5099">
                  <c:v>1.0424828429329569E-2</c:v>
                </c:pt>
                <c:pt idx="5100">
                  <c:v>1.5109332888777693E-2</c:v>
                </c:pt>
                <c:pt idx="5101">
                  <c:v>-2.1394237448250086E-3</c:v>
                </c:pt>
                <c:pt idx="5102">
                  <c:v>1.739323719818886E-3</c:v>
                </c:pt>
                <c:pt idx="5103">
                  <c:v>1.3886805034591942E-2</c:v>
                </c:pt>
                <c:pt idx="5104">
                  <c:v>1.4364702286682851E-2</c:v>
                </c:pt>
                <c:pt idx="5105">
                  <c:v>5.8792475896751739E-3</c:v>
                </c:pt>
                <c:pt idx="5106">
                  <c:v>1.1425078491845264E-2</c:v>
                </c:pt>
                <c:pt idx="5107">
                  <c:v>8.9744658386818887E-3</c:v>
                </c:pt>
                <c:pt idx="5108">
                  <c:v>-1.2447556333528009E-3</c:v>
                </c:pt>
                <c:pt idx="5109">
                  <c:v>2.5284098802478283E-3</c:v>
                </c:pt>
                <c:pt idx="5110">
                  <c:v>8.4798977522158037E-3</c:v>
                </c:pt>
                <c:pt idx="5111">
                  <c:v>1.2364202161651461E-2</c:v>
                </c:pt>
                <c:pt idx="5112">
                  <c:v>1.9449306771137209E-2</c:v>
                </c:pt>
                <c:pt idx="5113">
                  <c:v>1.3792336973132091E-2</c:v>
                </c:pt>
                <c:pt idx="5114">
                  <c:v>1.4948181489816914E-2</c:v>
                </c:pt>
                <c:pt idx="5115">
                  <c:v>3.0063071323387369E-3</c:v>
                </c:pt>
                <c:pt idx="5116">
                  <c:v>8.8633269428468608E-3</c:v>
                </c:pt>
                <c:pt idx="5117">
                  <c:v>1.9471534550304259E-2</c:v>
                </c:pt>
                <c:pt idx="5118">
                  <c:v>2.3128004223278209E-2</c:v>
                </c:pt>
                <c:pt idx="5119">
                  <c:v>2.5700869661859915E-2</c:v>
                </c:pt>
                <c:pt idx="5120">
                  <c:v>3.1091106109860878E-2</c:v>
                </c:pt>
                <c:pt idx="5121">
                  <c:v>3.2419215915090005E-2</c:v>
                </c:pt>
                <c:pt idx="5122">
                  <c:v>3.1152232502570154E-2</c:v>
                </c:pt>
                <c:pt idx="5123">
                  <c:v>3.1446750576533011E-2</c:v>
                </c:pt>
                <c:pt idx="5124">
                  <c:v>2.1088605484704592E-2</c:v>
                </c:pt>
                <c:pt idx="5125">
                  <c:v>3.7514934289127888E-2</c:v>
                </c:pt>
                <c:pt idx="5126">
                  <c:v>4.0760190047511857E-2</c:v>
                </c:pt>
                <c:pt idx="5127">
                  <c:v>4.1777110944402729E-2</c:v>
                </c:pt>
                <c:pt idx="5128">
                  <c:v>4.6005945930927217E-2</c:v>
                </c:pt>
                <c:pt idx="5129">
                  <c:v>4.9023366952849257E-2</c:v>
                </c:pt>
                <c:pt idx="5130">
                  <c:v>5.0851601789336121E-2</c:v>
                </c:pt>
                <c:pt idx="5131">
                  <c:v>4.0993581728765438E-2</c:v>
                </c:pt>
                <c:pt idx="5132">
                  <c:v>4.9762440610152447E-2</c:v>
                </c:pt>
                <c:pt idx="5133">
                  <c:v>5.2329749103942724E-2</c:v>
                </c:pt>
                <c:pt idx="5134">
                  <c:v>4.0982467839181913E-2</c:v>
                </c:pt>
                <c:pt idx="5135">
                  <c:v>5.3996832541468809E-2</c:v>
                </c:pt>
                <c:pt idx="5136">
                  <c:v>4.2982967964213303E-2</c:v>
                </c:pt>
                <c:pt idx="5137">
                  <c:v>2.3250257008696762E-2</c:v>
                </c:pt>
                <c:pt idx="5138">
                  <c:v>5.890361479259365E-4</c:v>
                </c:pt>
                <c:pt idx="5139">
                  <c:v>5.2124142146647845E-3</c:v>
                </c:pt>
                <c:pt idx="5140">
                  <c:v>9.9469311772382163E-4</c:v>
                </c:pt>
                <c:pt idx="5141">
                  <c:v>5.9237031480092739E-3</c:v>
                </c:pt>
                <c:pt idx="5142">
                  <c:v>-5.8792475896751739E-3</c:v>
                </c:pt>
                <c:pt idx="5143">
                  <c:v>-1.5642799588786005E-2</c:v>
                </c:pt>
                <c:pt idx="5144">
                  <c:v>-1.6004001000249346E-3</c:v>
                </c:pt>
                <c:pt idx="5145">
                  <c:v>1.1358395154344114E-2</c:v>
                </c:pt>
                <c:pt idx="5146">
                  <c:v>6.1626517740547282E-3</c:v>
                </c:pt>
                <c:pt idx="5147">
                  <c:v>-2.5145175182684554E-2</c:v>
                </c:pt>
                <c:pt idx="5148">
                  <c:v>-2.2322247228473646E-2</c:v>
                </c:pt>
                <c:pt idx="5149">
                  <c:v>-3.0663221360895832E-2</c:v>
                </c:pt>
                <c:pt idx="5150">
                  <c:v>-1.7987830290906004E-2</c:v>
                </c:pt>
                <c:pt idx="5151">
                  <c:v>-1.9927204023228007E-2</c:v>
                </c:pt>
                <c:pt idx="5152">
                  <c:v>-1.0302575643910905E-2</c:v>
                </c:pt>
                <c:pt idx="5153">
                  <c:v>-1.2808757744991794E-2</c:v>
                </c:pt>
                <c:pt idx="5154">
                  <c:v>5.0957183740381051E-3</c:v>
                </c:pt>
                <c:pt idx="5155">
                  <c:v>9.5301603178572503E-3</c:v>
                </c:pt>
                <c:pt idx="5156">
                  <c:v>1.6259620460670643E-2</c:v>
                </c:pt>
                <c:pt idx="5157">
                  <c:v>1.8637992831541217E-2</c:v>
                </c:pt>
                <c:pt idx="5158">
                  <c:v>1.7593287210691644E-2</c:v>
                </c:pt>
                <c:pt idx="5159">
                  <c:v>5.2790975521657124E-3</c:v>
                </c:pt>
                <c:pt idx="5160">
                  <c:v>1.5248256508571645E-2</c:v>
                </c:pt>
                <c:pt idx="5161">
                  <c:v>1.3386680003334206E-2</c:v>
                </c:pt>
                <c:pt idx="5162">
                  <c:v>1.4848156483565411E-2</c:v>
                </c:pt>
                <c:pt idx="5163">
                  <c:v>2.518407379622678E-2</c:v>
                </c:pt>
                <c:pt idx="5164">
                  <c:v>2.7573560056680879E-2</c:v>
                </c:pt>
                <c:pt idx="5165">
                  <c:v>2.8168153149398467E-2</c:v>
                </c:pt>
                <c:pt idx="5166">
                  <c:v>3.2035786724458948E-2</c:v>
                </c:pt>
                <c:pt idx="5167">
                  <c:v>4.6528298741352003E-2</c:v>
                </c:pt>
                <c:pt idx="5168">
                  <c:v>4.6533855686143655E-2</c:v>
                </c:pt>
                <c:pt idx="5169">
                  <c:v>4.8373204412214044E-2</c:v>
                </c:pt>
                <c:pt idx="5170">
                  <c:v>5.3252201939373744E-2</c:v>
                </c:pt>
                <c:pt idx="5171">
                  <c:v>5.786446611652929E-2</c:v>
                </c:pt>
                <c:pt idx="5172">
                  <c:v>5.7647745269650663E-2</c:v>
                </c:pt>
                <c:pt idx="5173">
                  <c:v>5.8147870300908622E-2</c:v>
                </c:pt>
                <c:pt idx="5174">
                  <c:v>6.6388819427078971E-2</c:v>
                </c:pt>
                <c:pt idx="5175">
                  <c:v>7.2612597593842976E-2</c:v>
                </c:pt>
                <c:pt idx="5176">
                  <c:v>7.2284737851129544E-2</c:v>
                </c:pt>
                <c:pt idx="5177">
                  <c:v>6.682226112083578E-2</c:v>
                </c:pt>
                <c:pt idx="5178">
                  <c:v>7.2290294795921195E-2</c:v>
                </c:pt>
                <c:pt idx="5179">
                  <c:v>8.0103359173126609E-2</c:v>
                </c:pt>
                <c:pt idx="5180">
                  <c:v>7.4179656025117335E-2</c:v>
                </c:pt>
                <c:pt idx="5181">
                  <c:v>7.2351421188630471E-2</c:v>
                </c:pt>
                <c:pt idx="5182">
                  <c:v>7.3146064293851287E-2</c:v>
                </c:pt>
                <c:pt idx="5183">
                  <c:v>7.9442082742907871E-2</c:v>
                </c:pt>
                <c:pt idx="5184">
                  <c:v>7.9608791086660524E-2</c:v>
                </c:pt>
                <c:pt idx="5185">
                  <c:v>7.6091245033480526E-2</c:v>
                </c:pt>
                <c:pt idx="5186">
                  <c:v>8.4109916367981041E-2</c:v>
                </c:pt>
                <c:pt idx="5187">
                  <c:v>9.2739851629574099E-2</c:v>
                </c:pt>
                <c:pt idx="5188">
                  <c:v>9.458475730043614E-2</c:v>
                </c:pt>
                <c:pt idx="5189">
                  <c:v>8.8627712483676513E-2</c:v>
                </c:pt>
                <c:pt idx="5190">
                  <c:v>9.2339751604567866E-2</c:v>
                </c:pt>
                <c:pt idx="5191">
                  <c:v>9.9641577060931796E-2</c:v>
                </c:pt>
                <c:pt idx="5192">
                  <c:v>0.10160873551721261</c:v>
                </c:pt>
                <c:pt idx="5193">
                  <c:v>0.10244783418076753</c:v>
                </c:pt>
                <c:pt idx="5194">
                  <c:v>0.11475646689450136</c:v>
                </c:pt>
                <c:pt idx="5195">
                  <c:v>0.11569003361951613</c:v>
                </c:pt>
                <c:pt idx="5196">
                  <c:v>9.7696646383818253E-2</c:v>
                </c:pt>
                <c:pt idx="5197">
                  <c:v>0.10267566891722923</c:v>
                </c:pt>
                <c:pt idx="5198">
                  <c:v>0.11157233752882667</c:v>
                </c:pt>
                <c:pt idx="5199">
                  <c:v>0.11044983468089242</c:v>
                </c:pt>
                <c:pt idx="5200">
                  <c:v>0.1130171431746827</c:v>
                </c:pt>
                <c:pt idx="5201">
                  <c:v>0.12094134644772314</c:v>
                </c:pt>
                <c:pt idx="5202">
                  <c:v>0.11614014614764812</c:v>
                </c:pt>
                <c:pt idx="5203">
                  <c:v>9.005029035036527E-2</c:v>
                </c:pt>
                <c:pt idx="5204">
                  <c:v>9.7290989414020368E-2</c:v>
                </c:pt>
                <c:pt idx="5205">
                  <c:v>0.11157789447361832</c:v>
                </c:pt>
                <c:pt idx="5206">
                  <c:v>9.3078825261871057E-2</c:v>
                </c:pt>
                <c:pt idx="5207">
                  <c:v>0.10742685671417851</c:v>
                </c:pt>
                <c:pt idx="5208">
                  <c:v>8.1031368953349503E-2</c:v>
                </c:pt>
                <c:pt idx="5209">
                  <c:v>7.4296351865744237E-2</c:v>
                </c:pt>
                <c:pt idx="5210">
                  <c:v>3.9676585813120058E-2</c:v>
                </c:pt>
                <c:pt idx="5211">
                  <c:v>2.3767052874329675E-2</c:v>
                </c:pt>
                <c:pt idx="5212">
                  <c:v>6.8817204301075297E-2</c:v>
                </c:pt>
                <c:pt idx="5213">
                  <c:v>6.5405240198938674E-2</c:v>
                </c:pt>
                <c:pt idx="5214">
                  <c:v>8.0408991136672991E-2</c:v>
                </c:pt>
                <c:pt idx="5215">
                  <c:v>6.7355727820844091E-2</c:v>
                </c:pt>
                <c:pt idx="5216">
                  <c:v>4.7300714067405769E-2</c:v>
                </c:pt>
                <c:pt idx="5217">
                  <c:v>4.8656608596593598E-2</c:v>
                </c:pt>
                <c:pt idx="5218">
                  <c:v>3.3952932677614012E-2</c:v>
                </c:pt>
                <c:pt idx="5219">
                  <c:v>2.8746075407740879E-2</c:v>
                </c:pt>
                <c:pt idx="5220">
                  <c:v>-1.1252813203300849E-2</c:v>
                </c:pt>
                <c:pt idx="5221">
                  <c:v>3.6120141146398499E-3</c:v>
                </c:pt>
                <c:pt idx="5222">
                  <c:v>-9.3245533605623709E-3</c:v>
                </c:pt>
                <c:pt idx="5223">
                  <c:v>-8.9744658386817777E-3</c:v>
                </c:pt>
                <c:pt idx="5224">
                  <c:v>-1.4392487010641442E-2</c:v>
                </c:pt>
                <c:pt idx="5225">
                  <c:v>1.8371259481537061E-2</c:v>
                </c:pt>
                <c:pt idx="5226">
                  <c:v>5.7958934177988475E-3</c:v>
                </c:pt>
                <c:pt idx="5227">
                  <c:v>-1.1425078491845153E-2</c:v>
                </c:pt>
                <c:pt idx="5228">
                  <c:v>1.4281348114806525E-2</c:v>
                </c:pt>
                <c:pt idx="5229">
                  <c:v>1.8432385874246338E-2</c:v>
                </c:pt>
                <c:pt idx="5230">
                  <c:v>-1.6576366313800661E-2</c:v>
                </c:pt>
                <c:pt idx="5231">
                  <c:v>-2.9829679642132789E-2</c:v>
                </c:pt>
                <c:pt idx="5232">
                  <c:v>-1.9038092856547451E-2</c:v>
                </c:pt>
                <c:pt idx="5233">
                  <c:v>-2.4806201550387486E-2</c:v>
                </c:pt>
                <c:pt idx="5234">
                  <c:v>3.9676585813119836E-3</c:v>
                </c:pt>
                <c:pt idx="5235">
                  <c:v>8.729960267844783E-3</c:v>
                </c:pt>
                <c:pt idx="5236">
                  <c:v>6.9295101553166205E-3</c:v>
                </c:pt>
                <c:pt idx="5237">
                  <c:v>3.0596538023394793E-2</c:v>
                </c:pt>
                <c:pt idx="5238">
                  <c:v>3.0046400489011083E-2</c:v>
                </c:pt>
                <c:pt idx="5239">
                  <c:v>3.1507876969242288E-2</c:v>
                </c:pt>
                <c:pt idx="5240">
                  <c:v>3.286932844322199E-2</c:v>
                </c:pt>
                <c:pt idx="5241">
                  <c:v>2.8896112917118133E-2</c:v>
                </c:pt>
                <c:pt idx="5242">
                  <c:v>1.2503125781445412E-2</c:v>
                </c:pt>
                <c:pt idx="5243">
                  <c:v>9.5023755938985488E-3</c:v>
                </c:pt>
                <c:pt idx="5244">
                  <c:v>-7.4574199105330585E-3</c:v>
                </c:pt>
                <c:pt idx="5245">
                  <c:v>-4.6178211219470855E-3</c:v>
                </c:pt>
                <c:pt idx="5246">
                  <c:v>-6.4516129032257119E-3</c:v>
                </c:pt>
                <c:pt idx="5247">
                  <c:v>-3.7231530104748445E-2</c:v>
                </c:pt>
                <c:pt idx="5248">
                  <c:v>-4.6856158484065435E-2</c:v>
                </c:pt>
                <c:pt idx="5249">
                  <c:v>-4.9890250340362874E-2</c:v>
                </c:pt>
                <c:pt idx="5250">
                  <c:v>-5.4285793670639904E-2</c:v>
                </c:pt>
                <c:pt idx="5251">
                  <c:v>-4.9223416965352373E-2</c:v>
                </c:pt>
                <c:pt idx="5252">
                  <c:v>-1.8965852574254649E-2</c:v>
                </c:pt>
                <c:pt idx="5253">
                  <c:v>-9.6968686616099031E-3</c:v>
                </c:pt>
                <c:pt idx="5254">
                  <c:v>-2.5617515489982923E-3</c:v>
                </c:pt>
                <c:pt idx="5255">
                  <c:v>-1.8060070573199249E-3</c:v>
                </c:pt>
                <c:pt idx="5256">
                  <c:v>1.362562862937966E-2</c:v>
                </c:pt>
                <c:pt idx="5257">
                  <c:v>1.3486705009585709E-2</c:v>
                </c:pt>
                <c:pt idx="5258">
                  <c:v>1.4698118974187935E-2</c:v>
                </c:pt>
                <c:pt idx="5259">
                  <c:v>-1.4514739796060105E-2</c:v>
                </c:pt>
                <c:pt idx="5260">
                  <c:v>-8.607707482426119E-3</c:v>
                </c:pt>
                <c:pt idx="5261">
                  <c:v>2.7395737823345812E-3</c:v>
                </c:pt>
                <c:pt idx="5262">
                  <c:v>-9.9747159011975839E-3</c:v>
                </c:pt>
                <c:pt idx="5263">
                  <c:v>1.2341974382484633E-2</c:v>
                </c:pt>
                <c:pt idx="5264">
                  <c:v>2.067183462532296E-2</c:v>
                </c:pt>
                <c:pt idx="5265">
                  <c:v>3.2113583951543401E-2</c:v>
                </c:pt>
                <c:pt idx="5266">
                  <c:v>3.1029979717151601E-2</c:v>
                </c:pt>
                <c:pt idx="5267">
                  <c:v>2.3955988997249378E-2</c:v>
                </c:pt>
                <c:pt idx="5268">
                  <c:v>1.9860520685726968E-2</c:v>
                </c:pt>
                <c:pt idx="5269">
                  <c:v>1.9921647078436244E-2</c:v>
                </c:pt>
                <c:pt idx="5270">
                  <c:v>4.239948876107924E-2</c:v>
                </c:pt>
                <c:pt idx="5271">
                  <c:v>3.7409352338084512E-2</c:v>
                </c:pt>
                <c:pt idx="5272">
                  <c:v>4.4044344419438275E-2</c:v>
                </c:pt>
                <c:pt idx="5273">
                  <c:v>4.2766247117334899E-2</c:v>
                </c:pt>
                <c:pt idx="5274">
                  <c:v>3.9020866327692971E-2</c:v>
                </c:pt>
                <c:pt idx="5275">
                  <c:v>4.4738962518407366E-2</c:v>
                </c:pt>
                <c:pt idx="5276">
                  <c:v>3.8526298241227108E-2</c:v>
                </c:pt>
                <c:pt idx="5277">
                  <c:v>9.7691089439027046E-3</c:v>
                </c:pt>
                <c:pt idx="5278">
                  <c:v>4.4788975021532451E-3</c:v>
                </c:pt>
                <c:pt idx="5279">
                  <c:v>4.6678336250738361E-4</c:v>
                </c:pt>
                <c:pt idx="5280">
                  <c:v>6.3904865105168795E-4</c:v>
                </c:pt>
                <c:pt idx="5281">
                  <c:v>1.3131060542913575E-2</c:v>
                </c:pt>
                <c:pt idx="5282">
                  <c:v>1.477591620127261E-2</c:v>
                </c:pt>
                <c:pt idx="5283">
                  <c:v>-2.3950432052457504E-3</c:v>
                </c:pt>
                <c:pt idx="5284">
                  <c:v>-6.0459559334277158E-3</c:v>
                </c:pt>
                <c:pt idx="5285">
                  <c:v>-1.0046956183490274E-2</c:v>
                </c:pt>
                <c:pt idx="5286">
                  <c:v>-2.4394987635797727E-2</c:v>
                </c:pt>
                <c:pt idx="5287">
                  <c:v>-2.1077491595121067E-2</c:v>
                </c:pt>
                <c:pt idx="5288">
                  <c:v>-2.856825317440459E-2</c:v>
                </c:pt>
                <c:pt idx="5289">
                  <c:v>-1.2197493817898919E-2</c:v>
                </c:pt>
                <c:pt idx="5290">
                  <c:v>-2.653996832541472E-2</c:v>
                </c:pt>
                <c:pt idx="5291">
                  <c:v>-2.6117640521241436E-2</c:v>
                </c:pt>
                <c:pt idx="5292">
                  <c:v>2.7284598927510562E-3</c:v>
                </c:pt>
                <c:pt idx="5293">
                  <c:v>1.1908532688727824E-2</c:v>
                </c:pt>
                <c:pt idx="5294">
                  <c:v>2.5311883526437207E-2</c:v>
                </c:pt>
                <c:pt idx="5295">
                  <c:v>1.3614514739796135E-2</c:v>
                </c:pt>
                <c:pt idx="5296">
                  <c:v>2.0371759606568451E-2</c:v>
                </c:pt>
                <c:pt idx="5297">
                  <c:v>2.5306326581645333E-2</c:v>
                </c:pt>
                <c:pt idx="5298">
                  <c:v>3.0313133839015238E-2</c:v>
                </c:pt>
                <c:pt idx="5299">
                  <c:v>4.2154983190242135E-2</c:v>
                </c:pt>
                <c:pt idx="5300">
                  <c:v>4.141035258814707E-2</c:v>
                </c:pt>
                <c:pt idx="5301">
                  <c:v>4.5116834764246549E-2</c:v>
                </c:pt>
                <c:pt idx="5302">
                  <c:v>4.491122780695167E-2</c:v>
                </c:pt>
                <c:pt idx="5303">
                  <c:v>4.5778111194465287E-2</c:v>
                </c:pt>
                <c:pt idx="5304">
                  <c:v>6.1709871912422498E-2</c:v>
                </c:pt>
                <c:pt idx="5305">
                  <c:v>5.9009196743630365E-2</c:v>
                </c:pt>
                <c:pt idx="5306">
                  <c:v>5.402461726542751E-2</c:v>
                </c:pt>
                <c:pt idx="5307">
                  <c:v>4.5244644494456976E-2</c:v>
                </c:pt>
                <c:pt idx="5308">
                  <c:v>6.7400183379178191E-2</c:v>
                </c:pt>
                <c:pt idx="5309">
                  <c:v>6.1365341335333889E-2</c:v>
                </c:pt>
                <c:pt idx="5310">
                  <c:v>6.6705565280208878E-2</c:v>
                </c:pt>
                <c:pt idx="5311">
                  <c:v>6.4066016504126022E-2</c:v>
                </c:pt>
                <c:pt idx="5312">
                  <c:v>6.0792976021783351E-2</c:v>
                </c:pt>
                <c:pt idx="5313">
                  <c:v>6.5499708260398526E-2</c:v>
                </c:pt>
                <c:pt idx="5314">
                  <c:v>5.7014253563390849E-2</c:v>
                </c:pt>
                <c:pt idx="5315">
                  <c:v>7.9058653552277036E-2</c:v>
                </c:pt>
                <c:pt idx="5316">
                  <c:v>7.8880831318940858E-2</c:v>
                </c:pt>
                <c:pt idx="5317">
                  <c:v>7.7108165930371397E-2</c:v>
                </c:pt>
                <c:pt idx="5318">
                  <c:v>8.3704259398182934E-2</c:v>
                </c:pt>
                <c:pt idx="5319">
                  <c:v>8.3865410797143713E-2</c:v>
                </c:pt>
                <c:pt idx="5320">
                  <c:v>8.8005334667000223E-2</c:v>
                </c:pt>
                <c:pt idx="5321">
                  <c:v>9.5873968492123041E-2</c:v>
                </c:pt>
                <c:pt idx="5322">
                  <c:v>9.1884082131644007E-2</c:v>
                </c:pt>
                <c:pt idx="5323">
                  <c:v>9.4090189213970055E-2</c:v>
                </c:pt>
                <c:pt idx="5324">
                  <c:v>0.10203662026617777</c:v>
                </c:pt>
                <c:pt idx="5325">
                  <c:v>8.4532244172154325E-2</c:v>
                </c:pt>
                <c:pt idx="5326">
                  <c:v>9.6112917118168495E-2</c:v>
                </c:pt>
                <c:pt idx="5327">
                  <c:v>9.8118974187991315E-2</c:v>
                </c:pt>
                <c:pt idx="5328">
                  <c:v>0.10073629518490734</c:v>
                </c:pt>
                <c:pt idx="5329">
                  <c:v>0.10311466755577769</c:v>
                </c:pt>
                <c:pt idx="5330">
                  <c:v>0.10312578144536144</c:v>
                </c:pt>
                <c:pt idx="5331">
                  <c:v>0.10030285349115053</c:v>
                </c:pt>
                <c:pt idx="5332">
                  <c:v>0.10163652024117154</c:v>
                </c:pt>
                <c:pt idx="5333">
                  <c:v>0.10115862298908063</c:v>
                </c:pt>
                <c:pt idx="5334">
                  <c:v>0.1022033286099302</c:v>
                </c:pt>
                <c:pt idx="5335">
                  <c:v>0.1107554666444388</c:v>
                </c:pt>
                <c:pt idx="5336">
                  <c:v>0.11504542802367257</c:v>
                </c:pt>
                <c:pt idx="5337">
                  <c:v>0.13673974049067827</c:v>
                </c:pt>
                <c:pt idx="5338">
                  <c:v>0.14126865049595727</c:v>
                </c:pt>
                <c:pt idx="5339">
                  <c:v>0.13900141702092195</c:v>
                </c:pt>
                <c:pt idx="5340">
                  <c:v>0.13019921647078436</c:v>
                </c:pt>
                <c:pt idx="5341">
                  <c:v>0.13537273207190692</c:v>
                </c:pt>
                <c:pt idx="5342">
                  <c:v>0.13054930399266484</c:v>
                </c:pt>
                <c:pt idx="5343">
                  <c:v>0.11726264899558214</c:v>
                </c:pt>
                <c:pt idx="5344">
                  <c:v>0.11597343780389546</c:v>
                </c:pt>
                <c:pt idx="5345">
                  <c:v>9.819677141507599E-2</c:v>
                </c:pt>
                <c:pt idx="5346">
                  <c:v>9.8607985329665748E-2</c:v>
                </c:pt>
                <c:pt idx="5347">
                  <c:v>0.1154899836070129</c:v>
                </c:pt>
                <c:pt idx="5348">
                  <c:v>0.11838515184351639</c:v>
                </c:pt>
                <c:pt idx="5349">
                  <c:v>0.11667916979244808</c:v>
                </c:pt>
                <c:pt idx="5350">
                  <c:v>0.10076963685365792</c:v>
                </c:pt>
                <c:pt idx="5351">
                  <c:v>0.11725709205079049</c:v>
                </c:pt>
                <c:pt idx="5352">
                  <c:v>0.10918285126837257</c:v>
                </c:pt>
                <c:pt idx="5353">
                  <c:v>0.10796032341418682</c:v>
                </c:pt>
                <c:pt idx="5354">
                  <c:v>0.10129754660887436</c:v>
                </c:pt>
                <c:pt idx="5355">
                  <c:v>0.12526464949570726</c:v>
                </c:pt>
                <c:pt idx="5356">
                  <c:v>0.13970714900947456</c:v>
                </c:pt>
                <c:pt idx="5357">
                  <c:v>0.14273012697618848</c:v>
                </c:pt>
                <c:pt idx="5358">
                  <c:v>0.14128532133033267</c:v>
                </c:pt>
                <c:pt idx="5359">
                  <c:v>0.14189102831263378</c:v>
                </c:pt>
                <c:pt idx="5360">
                  <c:v>0.14641438137312113</c:v>
                </c:pt>
                <c:pt idx="5361">
                  <c:v>0.15090994970964955</c:v>
                </c:pt>
                <c:pt idx="5362">
                  <c:v>0.15782834597538287</c:v>
                </c:pt>
                <c:pt idx="5363">
                  <c:v>0.1580672946014281</c:v>
                </c:pt>
                <c:pt idx="5364">
                  <c:v>0.1591397849462366</c:v>
                </c:pt>
                <c:pt idx="5365">
                  <c:v>0.15322719568781085</c:v>
                </c:pt>
                <c:pt idx="5366">
                  <c:v>0.16039565446917292</c:v>
                </c:pt>
                <c:pt idx="5367">
                  <c:v>0.16137367675252134</c:v>
                </c:pt>
                <c:pt idx="5368">
                  <c:v>0.16435775610569325</c:v>
                </c:pt>
                <c:pt idx="5369">
                  <c:v>0.17154844266622216</c:v>
                </c:pt>
                <c:pt idx="5370">
                  <c:v>0.17567725264649492</c:v>
                </c:pt>
                <c:pt idx="5371">
                  <c:v>0.17383234697563266</c:v>
                </c:pt>
                <c:pt idx="5372">
                  <c:v>0.17455474979856089</c:v>
                </c:pt>
                <c:pt idx="5373">
                  <c:v>0.17547164568920026</c:v>
                </c:pt>
                <c:pt idx="5374">
                  <c:v>0.1768664388319301</c:v>
                </c:pt>
                <c:pt idx="5375">
                  <c:v>0.17512711511211121</c:v>
                </c:pt>
                <c:pt idx="5376">
                  <c:v>0.1748992803756495</c:v>
                </c:pt>
                <c:pt idx="5377">
                  <c:v>0.18824150482064983</c:v>
                </c:pt>
                <c:pt idx="5378">
                  <c:v>0.18670223111333395</c:v>
                </c:pt>
                <c:pt idx="5379">
                  <c:v>0.19279819954988753</c:v>
                </c:pt>
                <c:pt idx="5380">
                  <c:v>0.19071990219777191</c:v>
                </c:pt>
                <c:pt idx="5381">
                  <c:v>0.18852490900502894</c:v>
                </c:pt>
                <c:pt idx="5382">
                  <c:v>0.18688561029146178</c:v>
                </c:pt>
                <c:pt idx="5383">
                  <c:v>0.19130893834569762</c:v>
                </c:pt>
                <c:pt idx="5384">
                  <c:v>0.202167208468784</c:v>
                </c:pt>
                <c:pt idx="5385">
                  <c:v>0.20011113889583498</c:v>
                </c:pt>
                <c:pt idx="5386">
                  <c:v>0.20901336445222407</c:v>
                </c:pt>
                <c:pt idx="5387">
                  <c:v>0.21070267566891721</c:v>
                </c:pt>
                <c:pt idx="5388">
                  <c:v>0.1986163207468532</c:v>
                </c:pt>
                <c:pt idx="5389">
                  <c:v>0.19706593314995402</c:v>
                </c:pt>
                <c:pt idx="5390">
                  <c:v>0.19998332916562478</c:v>
                </c:pt>
                <c:pt idx="5391">
                  <c:v>0.2069850796032342</c:v>
                </c:pt>
                <c:pt idx="5392">
                  <c:v>0.20734072406990633</c:v>
                </c:pt>
                <c:pt idx="5393">
                  <c:v>0.21248089800227832</c:v>
                </c:pt>
                <c:pt idx="5394">
                  <c:v>0.21526492734294678</c:v>
                </c:pt>
                <c:pt idx="5395">
                  <c:v>0.19360395654469165</c:v>
                </c:pt>
                <c:pt idx="5396">
                  <c:v>0.20274513072712641</c:v>
                </c:pt>
                <c:pt idx="5397">
                  <c:v>0.22282792920452343</c:v>
                </c:pt>
                <c:pt idx="5398">
                  <c:v>0.21971604012114154</c:v>
                </c:pt>
                <c:pt idx="5399">
                  <c:v>0.22276124586702228</c:v>
                </c:pt>
                <c:pt idx="5400">
                  <c:v>0.22630657664416121</c:v>
                </c:pt>
                <c:pt idx="5401">
                  <c:v>0.2339751604567808</c:v>
                </c:pt>
                <c:pt idx="5402">
                  <c:v>0.23952654830374276</c:v>
                </c:pt>
                <c:pt idx="5403">
                  <c:v>0.23622016615264929</c:v>
                </c:pt>
                <c:pt idx="5404">
                  <c:v>0.23725931482870743</c:v>
                </c:pt>
                <c:pt idx="5405">
                  <c:v>0.24424439443194124</c:v>
                </c:pt>
                <c:pt idx="5406">
                  <c:v>0.24747297935595003</c:v>
                </c:pt>
                <c:pt idx="5407">
                  <c:v>0.24358867494651459</c:v>
                </c:pt>
                <c:pt idx="5408">
                  <c:v>0.25159067544663949</c:v>
                </c:pt>
                <c:pt idx="5409">
                  <c:v>0.25554722013836795</c:v>
                </c:pt>
                <c:pt idx="5410">
                  <c:v>0.25797560501236427</c:v>
                </c:pt>
                <c:pt idx="5411">
                  <c:v>0.23216915339946098</c:v>
                </c:pt>
                <c:pt idx="5412">
                  <c:v>0.22468950570976065</c:v>
                </c:pt>
                <c:pt idx="5413">
                  <c:v>0.22376705287432963</c:v>
                </c:pt>
                <c:pt idx="5414">
                  <c:v>0.23700369536828658</c:v>
                </c:pt>
                <c:pt idx="5415">
                  <c:v>0.2439498763579786</c:v>
                </c:pt>
                <c:pt idx="5416">
                  <c:v>0.22437275985663097</c:v>
                </c:pt>
                <c:pt idx="5417">
                  <c:v>0.22655108221499809</c:v>
                </c:pt>
                <c:pt idx="5418">
                  <c:v>0.24771748492678713</c:v>
                </c:pt>
                <c:pt idx="5419">
                  <c:v>0.23852074129643541</c:v>
                </c:pt>
                <c:pt idx="5420">
                  <c:v>0.22822927954210792</c:v>
                </c:pt>
                <c:pt idx="5421">
                  <c:v>0.23942096635269938</c:v>
                </c:pt>
                <c:pt idx="5422">
                  <c:v>0.23792059125892573</c:v>
                </c:pt>
                <c:pt idx="5423">
                  <c:v>0.21455363840960251</c:v>
                </c:pt>
                <c:pt idx="5424">
                  <c:v>0.22353366119307605</c:v>
                </c:pt>
                <c:pt idx="5425">
                  <c:v>0.21617070934400262</c:v>
                </c:pt>
                <c:pt idx="5426">
                  <c:v>0.20255619460420671</c:v>
                </c:pt>
                <c:pt idx="5427">
                  <c:v>0.17915034314134104</c:v>
                </c:pt>
                <c:pt idx="5428">
                  <c:v>0.19498207885304653</c:v>
                </c:pt>
                <c:pt idx="5429">
                  <c:v>0.20012780973021038</c:v>
                </c:pt>
                <c:pt idx="5430">
                  <c:v>0.21813231085549178</c:v>
                </c:pt>
                <c:pt idx="5431">
                  <c:v>0.21395348837209305</c:v>
                </c:pt>
                <c:pt idx="5432">
                  <c:v>0.21750437609402362</c:v>
                </c:pt>
                <c:pt idx="5433">
                  <c:v>0.22887388513795126</c:v>
                </c:pt>
                <c:pt idx="5434">
                  <c:v>0.23276374649217857</c:v>
                </c:pt>
                <c:pt idx="5435">
                  <c:v>0.229374010169209</c:v>
                </c:pt>
                <c:pt idx="5436">
                  <c:v>0.23831513433914031</c:v>
                </c:pt>
                <c:pt idx="5437">
                  <c:v>0.24672834875385519</c:v>
                </c:pt>
                <c:pt idx="5438">
                  <c:v>0.24444444444444446</c:v>
                </c:pt>
                <c:pt idx="5439">
                  <c:v>0.25063488094245789</c:v>
                </c:pt>
                <c:pt idx="5440">
                  <c:v>0.25122391709038361</c:v>
                </c:pt>
                <c:pt idx="5441">
                  <c:v>0.2510127531882973</c:v>
                </c:pt>
                <c:pt idx="5442">
                  <c:v>0.25426356589147292</c:v>
                </c:pt>
                <c:pt idx="5443">
                  <c:v>0.2524019893862357</c:v>
                </c:pt>
                <c:pt idx="5444">
                  <c:v>0.2473896251840737</c:v>
                </c:pt>
                <c:pt idx="5445">
                  <c:v>0.24392764857881155</c:v>
                </c:pt>
                <c:pt idx="5446">
                  <c:v>0.234264121585952</c:v>
                </c:pt>
                <c:pt idx="5447">
                  <c:v>0.23462532299741601</c:v>
                </c:pt>
                <c:pt idx="5448">
                  <c:v>0.23474757578283456</c:v>
                </c:pt>
                <c:pt idx="5449">
                  <c:v>0.23958767469645181</c:v>
                </c:pt>
                <c:pt idx="5450">
                  <c:v>0.2259453752326972</c:v>
                </c:pt>
                <c:pt idx="5451">
                  <c:v>0.2330082520630159</c:v>
                </c:pt>
                <c:pt idx="5452">
                  <c:v>0.24970131421744335</c:v>
                </c:pt>
                <c:pt idx="5453">
                  <c:v>0.25633630629879711</c:v>
                </c:pt>
                <c:pt idx="5454">
                  <c:v>0.2543358061737655</c:v>
                </c:pt>
                <c:pt idx="5455">
                  <c:v>0.26559973326665021</c:v>
                </c:pt>
                <c:pt idx="5456">
                  <c:v>0.27372398655219365</c:v>
                </c:pt>
                <c:pt idx="5457">
                  <c:v>0.27835292156372438</c:v>
                </c:pt>
                <c:pt idx="5458">
                  <c:v>0.28129810230335384</c:v>
                </c:pt>
                <c:pt idx="5459">
                  <c:v>0.27905309660748512</c:v>
                </c:pt>
                <c:pt idx="5460">
                  <c:v>0.27473535050429265</c:v>
                </c:pt>
                <c:pt idx="5461">
                  <c:v>0.2662221110833265</c:v>
                </c:pt>
                <c:pt idx="5462">
                  <c:v>0.25480258953627288</c:v>
                </c:pt>
                <c:pt idx="5463">
                  <c:v>0.25974271345614164</c:v>
                </c:pt>
                <c:pt idx="5464">
                  <c:v>0.26548303742602331</c:v>
                </c:pt>
                <c:pt idx="5465">
                  <c:v>0.27571892973243295</c:v>
                </c:pt>
                <c:pt idx="5466">
                  <c:v>0.26224333861243077</c:v>
                </c:pt>
                <c:pt idx="5467">
                  <c:v>0.26856158484065462</c:v>
                </c:pt>
                <c:pt idx="5468">
                  <c:v>0.25838126198216216</c:v>
                </c:pt>
                <c:pt idx="5469">
                  <c:v>0.25065155177683329</c:v>
                </c:pt>
                <c:pt idx="5470">
                  <c:v>0.25050707121224747</c:v>
                </c:pt>
                <c:pt idx="5471">
                  <c:v>0.26174321358117325</c:v>
                </c:pt>
                <c:pt idx="5472">
                  <c:v>0.26459948320413451</c:v>
                </c:pt>
                <c:pt idx="5473">
                  <c:v>0.25487482981856591</c:v>
                </c:pt>
                <c:pt idx="5474">
                  <c:v>0.23992664832874877</c:v>
                </c:pt>
                <c:pt idx="5475">
                  <c:v>0.23891528437664955</c:v>
                </c:pt>
                <c:pt idx="5476">
                  <c:v>0.24294962629546268</c:v>
                </c:pt>
                <c:pt idx="5477">
                  <c:v>0.24816204051012769</c:v>
                </c:pt>
                <c:pt idx="5478">
                  <c:v>0.25350226445500246</c:v>
                </c:pt>
                <c:pt idx="5479">
                  <c:v>0.26679447639687703</c:v>
                </c:pt>
                <c:pt idx="5480">
                  <c:v>0.23806507182351155</c:v>
                </c:pt>
                <c:pt idx="5481">
                  <c:v>0.23662026617765552</c:v>
                </c:pt>
                <c:pt idx="5482">
                  <c:v>0.22464505015142677</c:v>
                </c:pt>
                <c:pt idx="5483">
                  <c:v>0.21149176182934615</c:v>
                </c:pt>
                <c:pt idx="5484">
                  <c:v>0.2103859298157873</c:v>
                </c:pt>
                <c:pt idx="5485">
                  <c:v>0.20557917257092062</c:v>
                </c:pt>
                <c:pt idx="5486">
                  <c:v>0.21448139812730971</c:v>
                </c:pt>
                <c:pt idx="5487">
                  <c:v>0.19752160262287788</c:v>
                </c:pt>
                <c:pt idx="5488">
                  <c:v>0.19871634575310493</c:v>
                </c:pt>
                <c:pt idx="5489">
                  <c:v>0.2139034758689673</c:v>
                </c:pt>
                <c:pt idx="5490">
                  <c:v>0.1927704148259286</c:v>
                </c:pt>
                <c:pt idx="5491">
                  <c:v>0.19506543302492285</c:v>
                </c:pt>
                <c:pt idx="5492">
                  <c:v>0.19871078880831305</c:v>
                </c:pt>
                <c:pt idx="5493">
                  <c:v>0.20519018643549791</c:v>
                </c:pt>
                <c:pt idx="5494">
                  <c:v>0.22149981939929431</c:v>
                </c:pt>
                <c:pt idx="5495">
                  <c:v>0.21365341335333854</c:v>
                </c:pt>
                <c:pt idx="5496">
                  <c:v>0.21021922147203465</c:v>
                </c:pt>
                <c:pt idx="5497">
                  <c:v>0.19602678447389632</c:v>
                </c:pt>
                <c:pt idx="5498">
                  <c:v>0.2070128643271929</c:v>
                </c:pt>
                <c:pt idx="5499">
                  <c:v>0.22290572643160789</c:v>
                </c:pt>
                <c:pt idx="5500">
                  <c:v>0.23319718818593538</c:v>
                </c:pt>
                <c:pt idx="5501">
                  <c:v>0.24567808618821374</c:v>
                </c:pt>
                <c:pt idx="5502">
                  <c:v>0.26379372620933017</c:v>
                </c:pt>
                <c:pt idx="5503">
                  <c:v>0.26214331360617926</c:v>
                </c:pt>
                <c:pt idx="5504">
                  <c:v>0.26388263732599815</c:v>
                </c:pt>
                <c:pt idx="5505">
                  <c:v>0.27715817843349733</c:v>
                </c:pt>
                <c:pt idx="5506">
                  <c:v>0.26827262371148364</c:v>
                </c:pt>
                <c:pt idx="5507">
                  <c:v>0.24535022644550031</c:v>
                </c:pt>
                <c:pt idx="5508">
                  <c:v>0.23983773721208079</c:v>
                </c:pt>
                <c:pt idx="5509">
                  <c:v>0.24380539579339278</c:v>
                </c:pt>
                <c:pt idx="5510">
                  <c:v>0.23546997860576258</c:v>
                </c:pt>
                <c:pt idx="5511">
                  <c:v>0.24233836236836992</c:v>
                </c:pt>
                <c:pt idx="5512">
                  <c:v>0.23228029229529623</c:v>
                </c:pt>
                <c:pt idx="5513">
                  <c:v>0.25237420466227678</c:v>
                </c:pt>
                <c:pt idx="5514">
                  <c:v>0.25171292823205804</c:v>
                </c:pt>
                <c:pt idx="5515">
                  <c:v>0.26877830568753303</c:v>
                </c:pt>
                <c:pt idx="5516">
                  <c:v>0.26995082103859303</c:v>
                </c:pt>
                <c:pt idx="5517">
                  <c:v>0.26279903309160613</c:v>
                </c:pt>
                <c:pt idx="5518">
                  <c:v>0.25761996054569214</c:v>
                </c:pt>
                <c:pt idx="5519">
                  <c:v>0.23213581173071041</c:v>
                </c:pt>
                <c:pt idx="5520">
                  <c:v>0.22826817815564993</c:v>
                </c:pt>
                <c:pt idx="5521">
                  <c:v>0.22034953182740136</c:v>
                </c:pt>
                <c:pt idx="5522">
                  <c:v>0.21530382595648923</c:v>
                </c:pt>
                <c:pt idx="5523">
                  <c:v>0.18424050457058705</c:v>
                </c:pt>
                <c:pt idx="5524">
                  <c:v>0.19060876330193666</c:v>
                </c:pt>
                <c:pt idx="5525">
                  <c:v>0.13372787641354789</c:v>
                </c:pt>
                <c:pt idx="5526">
                  <c:v>0.13308327081770432</c:v>
                </c:pt>
                <c:pt idx="5527">
                  <c:v>5.7747770275902388E-2</c:v>
                </c:pt>
                <c:pt idx="5528">
                  <c:v>0.10792142480064459</c:v>
                </c:pt>
                <c:pt idx="5529">
                  <c:v>5.9448195382178826E-2</c:v>
                </c:pt>
                <c:pt idx="5530">
                  <c:v>0.10868828318190671</c:v>
                </c:pt>
                <c:pt idx="5531">
                  <c:v>0.11453974604762318</c:v>
                </c:pt>
                <c:pt idx="5532">
                  <c:v>0.13890139201467044</c:v>
                </c:pt>
                <c:pt idx="5533">
                  <c:v>0.12801533716762536</c:v>
                </c:pt>
                <c:pt idx="5534">
                  <c:v>0.1293990164207719</c:v>
                </c:pt>
                <c:pt idx="5535">
                  <c:v>7.9114223000194661E-2</c:v>
                </c:pt>
                <c:pt idx="5536">
                  <c:v>6.2915728932233073E-2</c:v>
                </c:pt>
                <c:pt idx="5537">
                  <c:v>6.3193576171820753E-2</c:v>
                </c:pt>
                <c:pt idx="5538">
                  <c:v>9.9658247895307195E-2</c:v>
                </c:pt>
                <c:pt idx="5539">
                  <c:v>0.11423967102886845</c:v>
                </c:pt>
                <c:pt idx="5540">
                  <c:v>9.6918674112972836E-2</c:v>
                </c:pt>
                <c:pt idx="5541">
                  <c:v>0.11367286266010934</c:v>
                </c:pt>
                <c:pt idx="5542">
                  <c:v>0.14531410630435393</c:v>
                </c:pt>
                <c:pt idx="5543">
                  <c:v>0.14827040093356669</c:v>
                </c:pt>
                <c:pt idx="5544">
                  <c:v>0.15405518046178224</c:v>
                </c:pt>
                <c:pt idx="5545">
                  <c:v>0.14045177961156963</c:v>
                </c:pt>
                <c:pt idx="5546">
                  <c:v>0.11166680559028652</c:v>
                </c:pt>
                <c:pt idx="5547">
                  <c:v>0.10342585646411617</c:v>
                </c:pt>
                <c:pt idx="5548">
                  <c:v>0.13531160567919764</c:v>
                </c:pt>
                <c:pt idx="5549">
                  <c:v>0.12329193409463479</c:v>
                </c:pt>
                <c:pt idx="5550">
                  <c:v>9.3312216943124637E-2</c:v>
                </c:pt>
                <c:pt idx="5551">
                  <c:v>0.10099747159011985</c:v>
                </c:pt>
                <c:pt idx="5552">
                  <c:v>0.11143341390903272</c:v>
                </c:pt>
                <c:pt idx="5553">
                  <c:v>0.12641493706760021</c:v>
                </c:pt>
                <c:pt idx="5554">
                  <c:v>0.14598093967936432</c:v>
                </c:pt>
                <c:pt idx="5555">
                  <c:v>0.15254369147842506</c:v>
                </c:pt>
                <c:pt idx="5556">
                  <c:v>0.14125197966158187</c:v>
                </c:pt>
                <c:pt idx="5557">
                  <c:v>0.13939040315634466</c:v>
                </c:pt>
                <c:pt idx="5558">
                  <c:v>0.10594315245478048</c:v>
                </c:pt>
                <c:pt idx="5559">
                  <c:v>7.068989469589626E-2</c:v>
                </c:pt>
                <c:pt idx="5560">
                  <c:v>7.73415576116252E-2</c:v>
                </c:pt>
                <c:pt idx="5561">
                  <c:v>0.10248117584951788</c:v>
                </c:pt>
                <c:pt idx="5562">
                  <c:v>0.1142730126976188</c:v>
                </c:pt>
                <c:pt idx="5563">
                  <c:v>9.1495095996221298E-2</c:v>
                </c:pt>
                <c:pt idx="5564">
                  <c:v>0.10040287849740226</c:v>
                </c:pt>
                <c:pt idx="5565">
                  <c:v>7.2929343446972883E-2</c:v>
                </c:pt>
                <c:pt idx="5566">
                  <c:v>4.2455058208996643E-2</c:v>
                </c:pt>
                <c:pt idx="5567">
                  <c:v>6.6038731905198711E-2</c:v>
                </c:pt>
                <c:pt idx="5568">
                  <c:v>8.5643633130504826E-2</c:v>
                </c:pt>
                <c:pt idx="5569">
                  <c:v>0.10561529271206682</c:v>
                </c:pt>
                <c:pt idx="5570">
                  <c:v>9.6618599094218105E-2</c:v>
                </c:pt>
                <c:pt idx="5571">
                  <c:v>0.13403906532188614</c:v>
                </c:pt>
                <c:pt idx="5572">
                  <c:v>0.13467255702814596</c:v>
                </c:pt>
                <c:pt idx="5573">
                  <c:v>0.14596426884498892</c:v>
                </c:pt>
                <c:pt idx="5574">
                  <c:v>0.14265232974910402</c:v>
                </c:pt>
                <c:pt idx="5575">
                  <c:v>0.16250729349003912</c:v>
                </c:pt>
                <c:pt idx="5576">
                  <c:v>0.14002945180739634</c:v>
                </c:pt>
                <c:pt idx="5577">
                  <c:v>0.16330749354005158</c:v>
                </c:pt>
                <c:pt idx="5578">
                  <c:v>0.14877608290961652</c:v>
                </c:pt>
                <c:pt idx="5579">
                  <c:v>0.15403850962740684</c:v>
                </c:pt>
                <c:pt idx="5580">
                  <c:v>0.17577172070795477</c:v>
                </c:pt>
                <c:pt idx="5581">
                  <c:v>0.19092550915506656</c:v>
                </c:pt>
                <c:pt idx="5582">
                  <c:v>0.16705287432969351</c:v>
                </c:pt>
                <c:pt idx="5583">
                  <c:v>0.17936150704342757</c:v>
                </c:pt>
                <c:pt idx="5584">
                  <c:v>0.21987163457531045</c:v>
                </c:pt>
                <c:pt idx="5585">
                  <c:v>0.22037731655136006</c:v>
                </c:pt>
                <c:pt idx="5586">
                  <c:v>0.19019199244255502</c:v>
                </c:pt>
                <c:pt idx="5587">
                  <c:v>0.1569392348087022</c:v>
                </c:pt>
                <c:pt idx="5588">
                  <c:v>0.17568280959128657</c:v>
                </c:pt>
                <c:pt idx="5589">
                  <c:v>0.19800505681976044</c:v>
                </c:pt>
                <c:pt idx="5590">
                  <c:v>0.1904865105165181</c:v>
                </c:pt>
                <c:pt idx="5591">
                  <c:v>0.19807729710205324</c:v>
                </c:pt>
                <c:pt idx="5592">
                  <c:v>0.21286432719290937</c:v>
                </c:pt>
                <c:pt idx="5593">
                  <c:v>0.16846989525159062</c:v>
                </c:pt>
                <c:pt idx="5594">
                  <c:v>0.17870578755800048</c:v>
                </c:pt>
                <c:pt idx="5595">
                  <c:v>0.20167819732710957</c:v>
                </c:pt>
                <c:pt idx="5596">
                  <c:v>0.19034758689672437</c:v>
                </c:pt>
                <c:pt idx="5597">
                  <c:v>0.19629907476869235</c:v>
                </c:pt>
                <c:pt idx="5598">
                  <c:v>0.17676085688088694</c:v>
                </c:pt>
                <c:pt idx="5599">
                  <c:v>0.157011475090995</c:v>
                </c:pt>
                <c:pt idx="5600">
                  <c:v>0.15663360284515582</c:v>
                </c:pt>
                <c:pt idx="5601">
                  <c:v>0.13512266955627794</c:v>
                </c:pt>
                <c:pt idx="5602">
                  <c:v>0.13051040537912262</c:v>
                </c:pt>
                <c:pt idx="5603">
                  <c:v>0.1055763940985246</c:v>
                </c:pt>
                <c:pt idx="5604">
                  <c:v>0.10277569392348096</c:v>
                </c:pt>
                <c:pt idx="5605">
                  <c:v>0.13517268205940369</c:v>
                </c:pt>
                <c:pt idx="5606">
                  <c:v>0.1380956350198661</c:v>
                </c:pt>
                <c:pt idx="5607">
                  <c:v>0.18756355755605569</c:v>
                </c:pt>
                <c:pt idx="5608">
                  <c:v>0.1853352226945626</c:v>
                </c:pt>
                <c:pt idx="5609">
                  <c:v>0.18509627406851714</c:v>
                </c:pt>
                <c:pt idx="5610">
                  <c:v>0.1973437803895417</c:v>
                </c:pt>
                <c:pt idx="5611">
                  <c:v>0.19868856102914623</c:v>
                </c:pt>
                <c:pt idx="5612">
                  <c:v>0.20145036259064786</c:v>
                </c:pt>
                <c:pt idx="5613">
                  <c:v>0.17607735267150115</c:v>
                </c:pt>
                <c:pt idx="5614">
                  <c:v>0.19593787335722834</c:v>
                </c:pt>
                <c:pt idx="5615">
                  <c:v>0.178155650023617</c:v>
                </c:pt>
                <c:pt idx="5616">
                  <c:v>0.16815314939846071</c:v>
                </c:pt>
                <c:pt idx="5617">
                  <c:v>0.15501653191075571</c:v>
                </c:pt>
                <c:pt idx="5618">
                  <c:v>0.15886749465144079</c:v>
                </c:pt>
                <c:pt idx="5619">
                  <c:v>0.16261287544108249</c:v>
                </c:pt>
                <c:pt idx="5620">
                  <c:v>0.14899280375649471</c:v>
                </c:pt>
                <c:pt idx="5621">
                  <c:v>0.18344586146536646</c:v>
                </c:pt>
                <c:pt idx="5622">
                  <c:v>0.18577422133311106</c:v>
                </c:pt>
                <c:pt idx="5623">
                  <c:v>0.19587674696451884</c:v>
                </c:pt>
                <c:pt idx="5624">
                  <c:v>0.20669056152927134</c:v>
                </c:pt>
                <c:pt idx="5625">
                  <c:v>0.20680725736989802</c:v>
                </c:pt>
                <c:pt idx="5626">
                  <c:v>0.19201467033425024</c:v>
                </c:pt>
                <c:pt idx="5627">
                  <c:v>0.20481231418965851</c:v>
                </c:pt>
                <c:pt idx="5628">
                  <c:v>0.19971103887082897</c:v>
                </c:pt>
                <c:pt idx="5629">
                  <c:v>0.21830457614403609</c:v>
                </c:pt>
                <c:pt idx="5630">
                  <c:v>0.21879358728571052</c:v>
                </c:pt>
                <c:pt idx="5631">
                  <c:v>0.22237781667639145</c:v>
                </c:pt>
                <c:pt idx="5632">
                  <c:v>0.21973826790030837</c:v>
                </c:pt>
                <c:pt idx="5633">
                  <c:v>0.2225278541857687</c:v>
                </c:pt>
                <c:pt idx="5634">
                  <c:v>0.23340835208802191</c:v>
                </c:pt>
                <c:pt idx="5635">
                  <c:v>0.23390847711927987</c:v>
                </c:pt>
                <c:pt idx="5636">
                  <c:v>0.23683143007974206</c:v>
                </c:pt>
                <c:pt idx="5637">
                  <c:v>0.23071323386402165</c:v>
                </c:pt>
                <c:pt idx="5638">
                  <c:v>0.23508099247033987</c:v>
                </c:pt>
                <c:pt idx="5639">
                  <c:v>0.24900113917368216</c:v>
                </c:pt>
                <c:pt idx="5640">
                  <c:v>0.25520268956127934</c:v>
                </c:pt>
                <c:pt idx="5641">
                  <c:v>0.25607512989358439</c:v>
                </c:pt>
                <c:pt idx="5642">
                  <c:v>0.25668639382067737</c:v>
                </c:pt>
                <c:pt idx="5643">
                  <c:v>0.2554360812425327</c:v>
                </c:pt>
                <c:pt idx="5644">
                  <c:v>0.26633324997916152</c:v>
                </c:pt>
                <c:pt idx="5645">
                  <c:v>0.2591147786946737</c:v>
                </c:pt>
                <c:pt idx="5646">
                  <c:v>0.25717540496235158</c:v>
                </c:pt>
                <c:pt idx="5647">
                  <c:v>0.25404684504459429</c:v>
                </c:pt>
                <c:pt idx="5648">
                  <c:v>0.25347447973104398</c:v>
                </c:pt>
                <c:pt idx="5649">
                  <c:v>0.26489400127809715</c:v>
                </c:pt>
                <c:pt idx="5650">
                  <c:v>0.26638326248228728</c:v>
                </c:pt>
                <c:pt idx="5651">
                  <c:v>0.28503792614820367</c:v>
                </c:pt>
                <c:pt idx="5652">
                  <c:v>0.2845155733377791</c:v>
                </c:pt>
                <c:pt idx="5653">
                  <c:v>0.28713845127948656</c:v>
                </c:pt>
                <c:pt idx="5654">
                  <c:v>0.29038370703787075</c:v>
                </c:pt>
                <c:pt idx="5655">
                  <c:v>0.29230085299102559</c:v>
                </c:pt>
                <c:pt idx="5656">
                  <c:v>0.28343196910338686</c:v>
                </c:pt>
                <c:pt idx="5657">
                  <c:v>0.29243977661081932</c:v>
                </c:pt>
                <c:pt idx="5658">
                  <c:v>0.29143396960351198</c:v>
                </c:pt>
                <c:pt idx="5659">
                  <c:v>0.28492123030757699</c:v>
                </c:pt>
                <c:pt idx="5660">
                  <c:v>0.29928037564946797</c:v>
                </c:pt>
                <c:pt idx="5661">
                  <c:v>0.30236448000889116</c:v>
                </c:pt>
                <c:pt idx="5662">
                  <c:v>0.30333138840265628</c:v>
                </c:pt>
                <c:pt idx="5663">
                  <c:v>0.29903031313383899</c:v>
                </c:pt>
                <c:pt idx="5664">
                  <c:v>0.30483176349642971</c:v>
                </c:pt>
                <c:pt idx="5665">
                  <c:v>0.30718235114334158</c:v>
                </c:pt>
                <c:pt idx="5666">
                  <c:v>0.3090717123725375</c:v>
                </c:pt>
                <c:pt idx="5667">
                  <c:v>0.31367841960490139</c:v>
                </c:pt>
                <c:pt idx="5668">
                  <c:v>0.30767691922980744</c:v>
                </c:pt>
                <c:pt idx="5669">
                  <c:v>0.31581228640493464</c:v>
                </c:pt>
                <c:pt idx="5670">
                  <c:v>0.3115945653079939</c:v>
                </c:pt>
                <c:pt idx="5671">
                  <c:v>0.30659331499541564</c:v>
                </c:pt>
                <c:pt idx="5672">
                  <c:v>0.28654941513156063</c:v>
                </c:pt>
                <c:pt idx="5673">
                  <c:v>0.29581839904420537</c:v>
                </c:pt>
                <c:pt idx="5674">
                  <c:v>0.30866605540273984</c:v>
                </c:pt>
                <c:pt idx="5675">
                  <c:v>0.31341724319968889</c:v>
                </c:pt>
                <c:pt idx="5676">
                  <c:v>0.3137173182184434</c:v>
                </c:pt>
                <c:pt idx="5677">
                  <c:v>0.33799561001361456</c:v>
                </c:pt>
                <c:pt idx="5678">
                  <c:v>0.33643410852713185</c:v>
                </c:pt>
                <c:pt idx="5679">
                  <c:v>0.34443055208246509</c:v>
                </c:pt>
                <c:pt idx="5680">
                  <c:v>0.34594204106582205</c:v>
                </c:pt>
                <c:pt idx="5681">
                  <c:v>0.35129893584507244</c:v>
                </c:pt>
                <c:pt idx="5682">
                  <c:v>0.34725903698146765</c:v>
                </c:pt>
                <c:pt idx="5683">
                  <c:v>0.3447917534939291</c:v>
                </c:pt>
                <c:pt idx="5684">
                  <c:v>0.33517268205940387</c:v>
                </c:pt>
                <c:pt idx="5685">
                  <c:v>0.33931260592925994</c:v>
                </c:pt>
                <c:pt idx="5686">
                  <c:v>0.3579172570920508</c:v>
                </c:pt>
                <c:pt idx="5687">
                  <c:v>0.35423300269511837</c:v>
                </c:pt>
                <c:pt idx="5688">
                  <c:v>0.34786474396376876</c:v>
                </c:pt>
                <c:pt idx="5689">
                  <c:v>0.34572532021894364</c:v>
                </c:pt>
                <c:pt idx="5690">
                  <c:v>0.3507098996971465</c:v>
                </c:pt>
                <c:pt idx="5691">
                  <c:v>0.36094023505876471</c:v>
                </c:pt>
                <c:pt idx="5692">
                  <c:v>0.35583340279514308</c:v>
                </c:pt>
                <c:pt idx="5693">
                  <c:v>0.34202995193242769</c:v>
                </c:pt>
                <c:pt idx="5694">
                  <c:v>0.34166875052096368</c:v>
                </c:pt>
                <c:pt idx="5695">
                  <c:v>0.32645939262593449</c:v>
                </c:pt>
                <c:pt idx="5696">
                  <c:v>0.30380928565474696</c:v>
                </c:pt>
                <c:pt idx="5697">
                  <c:v>0.31371176127365197</c:v>
                </c:pt>
                <c:pt idx="5698">
                  <c:v>0.33182740129476818</c:v>
                </c:pt>
                <c:pt idx="5699">
                  <c:v>0.3152399210913841</c:v>
                </c:pt>
                <c:pt idx="5700">
                  <c:v>0.31457864466116536</c:v>
                </c:pt>
                <c:pt idx="5701">
                  <c:v>0.33493929037815007</c:v>
                </c:pt>
                <c:pt idx="5702">
                  <c:v>0.3295379400405658</c:v>
                </c:pt>
                <c:pt idx="5703">
                  <c:v>0.32170820482898499</c:v>
                </c:pt>
                <c:pt idx="5704">
                  <c:v>0.3232863771498431</c:v>
                </c:pt>
                <c:pt idx="5705">
                  <c:v>0.31218915840071126</c:v>
                </c:pt>
                <c:pt idx="5706">
                  <c:v>0.31701814342474499</c:v>
                </c:pt>
                <c:pt idx="5707">
                  <c:v>0.33517268205940387</c:v>
                </c:pt>
                <c:pt idx="5708">
                  <c:v>0.34416381873246094</c:v>
                </c:pt>
                <c:pt idx="5709">
                  <c:v>0.34743685921480383</c:v>
                </c:pt>
                <c:pt idx="5710">
                  <c:v>0.34223555888972257</c:v>
                </c:pt>
                <c:pt idx="5711">
                  <c:v>0.34983745936484123</c:v>
                </c:pt>
                <c:pt idx="5712">
                  <c:v>0.34660887444083244</c:v>
                </c:pt>
                <c:pt idx="5713">
                  <c:v>0.33653969047817522</c:v>
                </c:pt>
                <c:pt idx="5714">
                  <c:v>0.31498985857575512</c:v>
                </c:pt>
                <c:pt idx="5715">
                  <c:v>0.31547331277263768</c:v>
                </c:pt>
                <c:pt idx="5716">
                  <c:v>0.31002194993192744</c:v>
                </c:pt>
                <c:pt idx="5717">
                  <c:v>0.30160873551721257</c:v>
                </c:pt>
                <c:pt idx="5718">
                  <c:v>0.30528743296935335</c:v>
                </c:pt>
                <c:pt idx="5719">
                  <c:v>0.30100858547970333</c:v>
                </c:pt>
                <c:pt idx="5720">
                  <c:v>0.2866827818065627</c:v>
                </c:pt>
                <c:pt idx="5721">
                  <c:v>0.2795198799699925</c:v>
                </c:pt>
                <c:pt idx="5722">
                  <c:v>0.27432413658970312</c:v>
                </c:pt>
                <c:pt idx="5723">
                  <c:v>0.25527492984357192</c:v>
                </c:pt>
                <c:pt idx="5724">
                  <c:v>0.24600594593092717</c:v>
                </c:pt>
                <c:pt idx="5725">
                  <c:v>0.26600539023644787</c:v>
                </c:pt>
                <c:pt idx="5726">
                  <c:v>0.26664999583229143</c:v>
                </c:pt>
                <c:pt idx="5727">
                  <c:v>0.26885054596982583</c:v>
                </c:pt>
                <c:pt idx="5728">
                  <c:v>0.27080103359173124</c:v>
                </c:pt>
                <c:pt idx="5729">
                  <c:v>0.26805034591981336</c:v>
                </c:pt>
                <c:pt idx="5730">
                  <c:v>0.28230390931066118</c:v>
                </c:pt>
                <c:pt idx="5731">
                  <c:v>0.26431052207496331</c:v>
                </c:pt>
                <c:pt idx="5732">
                  <c:v>0.26156539134783707</c:v>
                </c:pt>
                <c:pt idx="5733">
                  <c:v>0.23053541163068547</c:v>
                </c:pt>
                <c:pt idx="5734">
                  <c:v>0.23069656302964625</c:v>
                </c:pt>
                <c:pt idx="5735">
                  <c:v>0.237781667639132</c:v>
                </c:pt>
                <c:pt idx="5736">
                  <c:v>0.26666110972187496</c:v>
                </c:pt>
                <c:pt idx="5737">
                  <c:v>0.2665833124947905</c:v>
                </c:pt>
                <c:pt idx="5738">
                  <c:v>0.27688588813870152</c:v>
                </c:pt>
                <c:pt idx="5739">
                  <c:v>0.26083743158011741</c:v>
                </c:pt>
                <c:pt idx="5740">
                  <c:v>0.27554110749909699</c:v>
                </c:pt>
                <c:pt idx="5741">
                  <c:v>0.26705565280208954</c:v>
                </c:pt>
                <c:pt idx="5742">
                  <c:v>0.28078130643772048</c:v>
                </c:pt>
                <c:pt idx="5743">
                  <c:v>0.29402350587646908</c:v>
                </c:pt>
                <c:pt idx="5744">
                  <c:v>0.2959184240504571</c:v>
                </c:pt>
                <c:pt idx="5745">
                  <c:v>0.30866605540273984</c:v>
                </c:pt>
                <c:pt idx="5746">
                  <c:v>0.30651551776833097</c:v>
                </c:pt>
                <c:pt idx="5747">
                  <c:v>0.27763051874079636</c:v>
                </c:pt>
                <c:pt idx="5748">
                  <c:v>0.28679392070239795</c:v>
                </c:pt>
                <c:pt idx="5749">
                  <c:v>0.26641660415103785</c:v>
                </c:pt>
                <c:pt idx="5750">
                  <c:v>0.27246256008446568</c:v>
                </c:pt>
                <c:pt idx="5751">
                  <c:v>0.28419882748464897</c:v>
                </c:pt>
                <c:pt idx="5752">
                  <c:v>0.28155372176377425</c:v>
                </c:pt>
                <c:pt idx="5753">
                  <c:v>0.31354505292989909</c:v>
                </c:pt>
                <c:pt idx="5754">
                  <c:v>0.31685699202578421</c:v>
                </c:pt>
                <c:pt idx="5755">
                  <c:v>0.32536467450195872</c:v>
                </c:pt>
                <c:pt idx="5756">
                  <c:v>0.31916868105915364</c:v>
                </c:pt>
                <c:pt idx="5757">
                  <c:v>0.30718235114334158</c:v>
                </c:pt>
                <c:pt idx="5758">
                  <c:v>0.30505959823289164</c:v>
                </c:pt>
                <c:pt idx="5759">
                  <c:v>0.29446806145980942</c:v>
                </c:pt>
                <c:pt idx="5760">
                  <c:v>0.29460698507960337</c:v>
                </c:pt>
                <c:pt idx="5761">
                  <c:v>0.28814981523158578</c:v>
                </c:pt>
                <c:pt idx="5762">
                  <c:v>0.30943847072879338</c:v>
                </c:pt>
                <c:pt idx="5763">
                  <c:v>0.30640437887249594</c:v>
                </c:pt>
                <c:pt idx="5764">
                  <c:v>0.31608457669973067</c:v>
                </c:pt>
                <c:pt idx="5765">
                  <c:v>0.32507571337278773</c:v>
                </c:pt>
                <c:pt idx="5766">
                  <c:v>0.32881553721763779</c:v>
                </c:pt>
                <c:pt idx="5767">
                  <c:v>0.31547331277263768</c:v>
                </c:pt>
                <c:pt idx="5768">
                  <c:v>0.30378150093078826</c:v>
                </c:pt>
                <c:pt idx="5769">
                  <c:v>0.29200077797227086</c:v>
                </c:pt>
                <c:pt idx="5770">
                  <c:v>0.29161734878163981</c:v>
                </c:pt>
                <c:pt idx="5771">
                  <c:v>0.31302270011947431</c:v>
                </c:pt>
                <c:pt idx="5772">
                  <c:v>0.33815120446778368</c:v>
                </c:pt>
                <c:pt idx="5773">
                  <c:v>0.33755105443027422</c:v>
                </c:pt>
                <c:pt idx="5774">
                  <c:v>0.33178850268122573</c:v>
                </c:pt>
                <c:pt idx="5775">
                  <c:v>0.3279597677197077</c:v>
                </c:pt>
                <c:pt idx="5776">
                  <c:v>0.31827956989247319</c:v>
                </c:pt>
                <c:pt idx="5777">
                  <c:v>0.34354144091578442</c:v>
                </c:pt>
                <c:pt idx="5778">
                  <c:v>0.34670334250229229</c:v>
                </c:pt>
                <c:pt idx="5779">
                  <c:v>0.35360506793365021</c:v>
                </c:pt>
                <c:pt idx="5780">
                  <c:v>0.35487205134616984</c:v>
                </c:pt>
                <c:pt idx="5781">
                  <c:v>0.35602233891806279</c:v>
                </c:pt>
                <c:pt idx="5782">
                  <c:v>0.35902864605040152</c:v>
                </c:pt>
                <c:pt idx="5783">
                  <c:v>0.35758939734933737</c:v>
                </c:pt>
                <c:pt idx="5784">
                  <c:v>0.35765052374204664</c:v>
                </c:pt>
                <c:pt idx="5785">
                  <c:v>0.35968436553582861</c:v>
                </c:pt>
                <c:pt idx="5786">
                  <c:v>0.36944236059014757</c:v>
                </c:pt>
                <c:pt idx="5787">
                  <c:v>0.37200966908393762</c:v>
                </c:pt>
                <c:pt idx="5788">
                  <c:v>0.37200411213914575</c:v>
                </c:pt>
                <c:pt idx="5789">
                  <c:v>0.3672362535078213</c:v>
                </c:pt>
                <c:pt idx="5790">
                  <c:v>0.36763079658803588</c:v>
                </c:pt>
                <c:pt idx="5791">
                  <c:v>0.35661137506598872</c:v>
                </c:pt>
                <c:pt idx="5792">
                  <c:v>0.36556361312550378</c:v>
                </c:pt>
                <c:pt idx="5793">
                  <c:v>0.3649078936400767</c:v>
                </c:pt>
                <c:pt idx="5794">
                  <c:v>0.36389097274318583</c:v>
                </c:pt>
                <c:pt idx="5795">
                  <c:v>0.36536912005779243</c:v>
                </c:pt>
                <c:pt idx="5796">
                  <c:v>0.35489427912533689</c:v>
                </c:pt>
                <c:pt idx="5797">
                  <c:v>0.36178489066711128</c:v>
                </c:pt>
                <c:pt idx="5798">
                  <c:v>0.36022894612542045</c:v>
                </c:pt>
                <c:pt idx="5799">
                  <c:v>0.35912311411186137</c:v>
                </c:pt>
                <c:pt idx="5800">
                  <c:v>0.38708010335917309</c:v>
                </c:pt>
                <c:pt idx="5801">
                  <c:v>0.39277597177072043</c:v>
                </c:pt>
                <c:pt idx="5802">
                  <c:v>0.38429607401850463</c:v>
                </c:pt>
                <c:pt idx="5803">
                  <c:v>0.38865271873523932</c:v>
                </c:pt>
                <c:pt idx="5804">
                  <c:v>0.39192575921758221</c:v>
                </c:pt>
                <c:pt idx="5805">
                  <c:v>0.41481481481481497</c:v>
                </c:pt>
                <c:pt idx="5806">
                  <c:v>0.42042732905448599</c:v>
                </c:pt>
                <c:pt idx="5807">
                  <c:v>0.4160540135033759</c:v>
                </c:pt>
                <c:pt idx="5808">
                  <c:v>0.41427023422522313</c:v>
                </c:pt>
                <c:pt idx="5809">
                  <c:v>0.41597065933149957</c:v>
                </c:pt>
                <c:pt idx="5810">
                  <c:v>0.41541496485232421</c:v>
                </c:pt>
                <c:pt idx="5811">
                  <c:v>0.41530938290128105</c:v>
                </c:pt>
                <c:pt idx="5812">
                  <c:v>0.41214748131477319</c:v>
                </c:pt>
                <c:pt idx="5813">
                  <c:v>0.39747714706454396</c:v>
                </c:pt>
                <c:pt idx="5814">
                  <c:v>0.38974743685921487</c:v>
                </c:pt>
                <c:pt idx="5815">
                  <c:v>0.40325636964796763</c:v>
                </c:pt>
                <c:pt idx="5816">
                  <c:v>0.396977022033286</c:v>
                </c:pt>
                <c:pt idx="5817">
                  <c:v>0.40074463060209498</c:v>
                </c:pt>
                <c:pt idx="5818">
                  <c:v>0.40206162651774058</c:v>
                </c:pt>
                <c:pt idx="5819">
                  <c:v>0.40745741991053319</c:v>
                </c:pt>
                <c:pt idx="5820">
                  <c:v>0.41756550248673285</c:v>
                </c:pt>
                <c:pt idx="5821">
                  <c:v>0.41759328721069178</c:v>
                </c:pt>
                <c:pt idx="5822">
                  <c:v>0.41269206190436503</c:v>
                </c:pt>
                <c:pt idx="5823">
                  <c:v>0.39876080131143898</c:v>
                </c:pt>
                <c:pt idx="5824">
                  <c:v>0.39020866327693038</c:v>
                </c:pt>
                <c:pt idx="5825">
                  <c:v>0.39071434525297977</c:v>
                </c:pt>
                <c:pt idx="5826">
                  <c:v>0.38661331999666593</c:v>
                </c:pt>
                <c:pt idx="5827">
                  <c:v>0.39781612069684091</c:v>
                </c:pt>
                <c:pt idx="5828">
                  <c:v>0.41217526603873211</c:v>
                </c:pt>
                <c:pt idx="5829">
                  <c:v>0.41816009557945066</c:v>
                </c:pt>
                <c:pt idx="5830">
                  <c:v>0.41477035925648065</c:v>
                </c:pt>
                <c:pt idx="5831">
                  <c:v>0.39134783695924003</c:v>
                </c:pt>
                <c:pt idx="5832">
                  <c:v>0.39199244255508336</c:v>
                </c:pt>
                <c:pt idx="5833">
                  <c:v>0.37188741629851929</c:v>
                </c:pt>
                <c:pt idx="5834">
                  <c:v>0.36766413825678645</c:v>
                </c:pt>
                <c:pt idx="5835">
                  <c:v>0.37178739129226757</c:v>
                </c:pt>
                <c:pt idx="5836">
                  <c:v>0.37078714122975209</c:v>
                </c:pt>
                <c:pt idx="5837">
                  <c:v>0.37118168430996645</c:v>
                </c:pt>
                <c:pt idx="5838">
                  <c:v>0.38627434636436897</c:v>
                </c:pt>
                <c:pt idx="5839">
                  <c:v>0.373287766386041</c:v>
                </c:pt>
                <c:pt idx="5840">
                  <c:v>0.37642188324858994</c:v>
                </c:pt>
                <c:pt idx="5841">
                  <c:v>0.38726903948209279</c:v>
                </c:pt>
                <c:pt idx="5842">
                  <c:v>0.35560556805868138</c:v>
                </c:pt>
                <c:pt idx="5843">
                  <c:v>0.33906810035842283</c:v>
                </c:pt>
                <c:pt idx="5844">
                  <c:v>0.34140201717095953</c:v>
                </c:pt>
                <c:pt idx="5845">
                  <c:v>0.34157983940429548</c:v>
                </c:pt>
                <c:pt idx="5846">
                  <c:v>0.33665638631880213</c:v>
                </c:pt>
                <c:pt idx="5847">
                  <c:v>0.31862965741435367</c:v>
                </c:pt>
                <c:pt idx="5848">
                  <c:v>0.31661804339973898</c:v>
                </c:pt>
                <c:pt idx="5849">
                  <c:v>0.32311966880609044</c:v>
                </c:pt>
                <c:pt idx="5850">
                  <c:v>0.34948737184296075</c:v>
                </c:pt>
                <c:pt idx="5851">
                  <c:v>0.35049873579505997</c:v>
                </c:pt>
                <c:pt idx="5852">
                  <c:v>0.35365508043677574</c:v>
                </c:pt>
                <c:pt idx="5853">
                  <c:v>0.37148731627351284</c:v>
                </c:pt>
                <c:pt idx="5854">
                  <c:v>0.3687421855463866</c:v>
                </c:pt>
                <c:pt idx="5855">
                  <c:v>0.36171820732961013</c:v>
                </c:pt>
                <c:pt idx="5856">
                  <c:v>0.37282653996832527</c:v>
                </c:pt>
                <c:pt idx="5857">
                  <c:v>0.37891139451529554</c:v>
                </c:pt>
                <c:pt idx="5858">
                  <c:v>0.37913367230696582</c:v>
                </c:pt>
                <c:pt idx="5859">
                  <c:v>0.37260426217665543</c:v>
                </c:pt>
                <c:pt idx="5860">
                  <c:v>0.37028701619849413</c:v>
                </c:pt>
                <c:pt idx="5861">
                  <c:v>0.37289322330582664</c:v>
                </c:pt>
                <c:pt idx="5862">
                  <c:v>0.37778889166736129</c:v>
                </c:pt>
                <c:pt idx="5863">
                  <c:v>0.38192325859242593</c:v>
                </c:pt>
                <c:pt idx="5864">
                  <c:v>0.38244561140285094</c:v>
                </c:pt>
                <c:pt idx="5865">
                  <c:v>0.39150343141340893</c:v>
                </c:pt>
                <c:pt idx="5866">
                  <c:v>0.3924369981384237</c:v>
                </c:pt>
                <c:pt idx="5867">
                  <c:v>0.38399044205495825</c:v>
                </c:pt>
                <c:pt idx="5868">
                  <c:v>0.37832235836736983</c:v>
                </c:pt>
                <c:pt idx="5869">
                  <c:v>0.39470423161345902</c:v>
                </c:pt>
                <c:pt idx="5870">
                  <c:v>0.41075268817204291</c:v>
                </c:pt>
                <c:pt idx="5871">
                  <c:v>0.40009446806145976</c:v>
                </c:pt>
                <c:pt idx="5872">
                  <c:v>0.40807979772720948</c:v>
                </c:pt>
                <c:pt idx="5873">
                  <c:v>0.39497096496346318</c:v>
                </c:pt>
                <c:pt idx="5874">
                  <c:v>0.39174238003945439</c:v>
                </c:pt>
                <c:pt idx="5875">
                  <c:v>0.38509071712372545</c:v>
                </c:pt>
                <c:pt idx="5876">
                  <c:v>0.38366258231224459</c:v>
                </c:pt>
                <c:pt idx="5877">
                  <c:v>0.36851435080992467</c:v>
                </c:pt>
                <c:pt idx="5878">
                  <c:v>0.39170348142591216</c:v>
                </c:pt>
                <c:pt idx="5879">
                  <c:v>0.42732905448584391</c:v>
                </c:pt>
                <c:pt idx="5880">
                  <c:v>0.42435053207746387</c:v>
                </c:pt>
                <c:pt idx="5881">
                  <c:v>0.43128004223278027</c:v>
                </c:pt>
                <c:pt idx="5882">
                  <c:v>0.42681781556500242</c:v>
                </c:pt>
                <c:pt idx="5883">
                  <c:v>0.42267233475035426</c:v>
                </c:pt>
                <c:pt idx="5884">
                  <c:v>0.42647884193270547</c:v>
                </c:pt>
                <c:pt idx="5885">
                  <c:v>0.43731488427662479</c:v>
                </c:pt>
                <c:pt idx="5886">
                  <c:v>0.43740935233808464</c:v>
                </c:pt>
                <c:pt idx="5887">
                  <c:v>0.43606457169848012</c:v>
                </c:pt>
                <c:pt idx="5888">
                  <c:v>0.43769275652246398</c:v>
                </c:pt>
                <c:pt idx="5889">
                  <c:v>0.43814842599538784</c:v>
                </c:pt>
                <c:pt idx="5890">
                  <c:v>0.44627267928093128</c:v>
                </c:pt>
                <c:pt idx="5891">
                  <c:v>0.45121836014559191</c:v>
                </c:pt>
                <c:pt idx="5892">
                  <c:v>0.45770887166235985</c:v>
                </c:pt>
                <c:pt idx="5893">
                  <c:v>0.45993720652385317</c:v>
                </c:pt>
                <c:pt idx="5894">
                  <c:v>0.4599927759717708</c:v>
                </c:pt>
                <c:pt idx="5895">
                  <c:v>0.46794476396876994</c:v>
                </c:pt>
                <c:pt idx="5896">
                  <c:v>0.46527187352393651</c:v>
                </c:pt>
                <c:pt idx="5897">
                  <c:v>0.47282931844072129</c:v>
                </c:pt>
                <c:pt idx="5898">
                  <c:v>0.46746130977188738</c:v>
                </c:pt>
                <c:pt idx="5899">
                  <c:v>0.46378816926453825</c:v>
                </c:pt>
                <c:pt idx="5900">
                  <c:v>0.47853630074185216</c:v>
                </c:pt>
                <c:pt idx="5901">
                  <c:v>0.46150426495512775</c:v>
                </c:pt>
                <c:pt idx="5902">
                  <c:v>0.47690255897307665</c:v>
                </c:pt>
                <c:pt idx="5903">
                  <c:v>0.47789725209080069</c:v>
                </c:pt>
                <c:pt idx="5904">
                  <c:v>0.47583562557306003</c:v>
                </c:pt>
                <c:pt idx="5905">
                  <c:v>0.48417659970548188</c:v>
                </c:pt>
                <c:pt idx="5906">
                  <c:v>0.48335417187630236</c:v>
                </c:pt>
                <c:pt idx="5907">
                  <c:v>0.48579922758467387</c:v>
                </c:pt>
                <c:pt idx="5908">
                  <c:v>0.4873718429607401</c:v>
                </c:pt>
                <c:pt idx="5909">
                  <c:v>0.48857769998055067</c:v>
                </c:pt>
                <c:pt idx="5910">
                  <c:v>0.48715512211386192</c:v>
                </c:pt>
                <c:pt idx="5911">
                  <c:v>0.49829679642132763</c:v>
                </c:pt>
                <c:pt idx="5912">
                  <c:v>0.47978105637520496</c:v>
                </c:pt>
                <c:pt idx="5913">
                  <c:v>0.47078436275735602</c:v>
                </c:pt>
                <c:pt idx="5914">
                  <c:v>0.48390430941068607</c:v>
                </c:pt>
                <c:pt idx="5915">
                  <c:v>0.45673084937901143</c:v>
                </c:pt>
                <c:pt idx="5916">
                  <c:v>0.46586090967186244</c:v>
                </c:pt>
                <c:pt idx="5917">
                  <c:v>0.48487677474924307</c:v>
                </c:pt>
                <c:pt idx="5918">
                  <c:v>0.48365980383984897</c:v>
                </c:pt>
                <c:pt idx="5919">
                  <c:v>0.48713845127948652</c:v>
                </c:pt>
                <c:pt idx="5920">
                  <c:v>0.49400683504209386</c:v>
                </c:pt>
                <c:pt idx="5921">
                  <c:v>0.50834930954960966</c:v>
                </c:pt>
                <c:pt idx="5922">
                  <c:v>0.51041649301214198</c:v>
                </c:pt>
                <c:pt idx="5923">
                  <c:v>0.51330610430385382</c:v>
                </c:pt>
                <c:pt idx="5924">
                  <c:v>0.52019671584562821</c:v>
                </c:pt>
                <c:pt idx="5925">
                  <c:v>0.52527576338529069</c:v>
                </c:pt>
                <c:pt idx="5926">
                  <c:v>0.52168597704981789</c:v>
                </c:pt>
                <c:pt idx="5927">
                  <c:v>0.52419771609569055</c:v>
                </c:pt>
                <c:pt idx="5928">
                  <c:v>0.53277208190936642</c:v>
                </c:pt>
                <c:pt idx="5929">
                  <c:v>0.53028257064266082</c:v>
                </c:pt>
                <c:pt idx="5930">
                  <c:v>0.52186935622794572</c:v>
                </c:pt>
                <c:pt idx="5931">
                  <c:v>0.51820732961018035</c:v>
                </c:pt>
                <c:pt idx="5932">
                  <c:v>0.52839320941346446</c:v>
                </c:pt>
                <c:pt idx="5933">
                  <c:v>0.51576227390180884</c:v>
                </c:pt>
                <c:pt idx="5934">
                  <c:v>0.52663165791447875</c:v>
                </c:pt>
                <c:pt idx="5935">
                  <c:v>0.52153593954044064</c:v>
                </c:pt>
                <c:pt idx="5936">
                  <c:v>0.53389458475730067</c:v>
                </c:pt>
                <c:pt idx="5937">
                  <c:v>0.53307771387291258</c:v>
                </c:pt>
                <c:pt idx="5938">
                  <c:v>0.53930149203967681</c:v>
                </c:pt>
                <c:pt idx="5939">
                  <c:v>0.53251090550415392</c:v>
                </c:pt>
                <c:pt idx="5940">
                  <c:v>0.54044622266677789</c:v>
                </c:pt>
                <c:pt idx="5941">
                  <c:v>0.5244811202800701</c:v>
                </c:pt>
                <c:pt idx="5942">
                  <c:v>0.53075491094995986</c:v>
                </c:pt>
                <c:pt idx="5943">
                  <c:v>0.5241921591508989</c:v>
                </c:pt>
                <c:pt idx="5944">
                  <c:v>0.53430024172709856</c:v>
                </c:pt>
                <c:pt idx="5945">
                  <c:v>0.53974049067822527</c:v>
                </c:pt>
                <c:pt idx="5946">
                  <c:v>0.55861743213581172</c:v>
                </c:pt>
                <c:pt idx="5947">
                  <c:v>0.56429107276819201</c:v>
                </c:pt>
                <c:pt idx="5948">
                  <c:v>0.55988997249312322</c:v>
                </c:pt>
                <c:pt idx="5949">
                  <c:v>0.52406434942068869</c:v>
                </c:pt>
                <c:pt idx="5950">
                  <c:v>0.54586424383873755</c:v>
                </c:pt>
                <c:pt idx="5951">
                  <c:v>0.52371981884359986</c:v>
                </c:pt>
                <c:pt idx="5952">
                  <c:v>0.51355616681948257</c:v>
                </c:pt>
                <c:pt idx="5953">
                  <c:v>0.52701508710510958</c:v>
                </c:pt>
                <c:pt idx="5954">
                  <c:v>0.53416131810730483</c:v>
                </c:pt>
                <c:pt idx="5955">
                  <c:v>0.55014309132838757</c:v>
                </c:pt>
                <c:pt idx="5956">
                  <c:v>0.55034869828568245</c:v>
                </c:pt>
                <c:pt idx="5957">
                  <c:v>0.556655830624323</c:v>
                </c:pt>
                <c:pt idx="5958">
                  <c:v>0.55385513044927892</c:v>
                </c:pt>
                <c:pt idx="5959">
                  <c:v>0.56505237420466226</c:v>
                </c:pt>
                <c:pt idx="5960">
                  <c:v>0.56895890639326496</c:v>
                </c:pt>
                <c:pt idx="5961">
                  <c:v>0.55443305270762155</c:v>
                </c:pt>
                <c:pt idx="5962">
                  <c:v>0.56918118418493524</c:v>
                </c:pt>
                <c:pt idx="5963">
                  <c:v>0.58588536022894622</c:v>
                </c:pt>
                <c:pt idx="5964">
                  <c:v>0.58891945208524366</c:v>
                </c:pt>
                <c:pt idx="5965">
                  <c:v>0.59732155261037478</c:v>
                </c:pt>
                <c:pt idx="5966">
                  <c:v>0.60462893501153081</c:v>
                </c:pt>
                <c:pt idx="5967">
                  <c:v>0.59945541941040825</c:v>
                </c:pt>
                <c:pt idx="5968">
                  <c:v>0.60638492956572487</c:v>
                </c:pt>
                <c:pt idx="5969">
                  <c:v>0.60660720735739493</c:v>
                </c:pt>
                <c:pt idx="5970">
                  <c:v>0.62325025700869663</c:v>
                </c:pt>
                <c:pt idx="5971">
                  <c:v>0.63206357144841774</c:v>
                </c:pt>
                <c:pt idx="5972">
                  <c:v>0.62396154594204112</c:v>
                </c:pt>
                <c:pt idx="5973">
                  <c:v>0.64072129143396972</c:v>
                </c:pt>
                <c:pt idx="5974">
                  <c:v>0.63959323164124382</c:v>
                </c:pt>
                <c:pt idx="5975">
                  <c:v>0.64246061515378861</c:v>
                </c:pt>
                <c:pt idx="5976">
                  <c:v>0.62906282126087087</c:v>
                </c:pt>
                <c:pt idx="5977">
                  <c:v>0.62453391125559166</c:v>
                </c:pt>
                <c:pt idx="5978">
                  <c:v>0.62367258481286991</c:v>
                </c:pt>
                <c:pt idx="5979">
                  <c:v>0.6339918312911561</c:v>
                </c:pt>
                <c:pt idx="5980">
                  <c:v>0.62272790419827184</c:v>
                </c:pt>
                <c:pt idx="5981">
                  <c:v>0.6289572393098275</c:v>
                </c:pt>
                <c:pt idx="5982">
                  <c:v>0.60565696979800521</c:v>
                </c:pt>
                <c:pt idx="5983">
                  <c:v>0.61535383845961489</c:v>
                </c:pt>
                <c:pt idx="5984">
                  <c:v>0.6065238531855186</c:v>
                </c:pt>
                <c:pt idx="5985">
                  <c:v>0.58477952821538715</c:v>
                </c:pt>
                <c:pt idx="5986">
                  <c:v>0.59845516934789256</c:v>
                </c:pt>
                <c:pt idx="5987">
                  <c:v>0.61899363729821344</c:v>
                </c:pt>
                <c:pt idx="5988">
                  <c:v>0.61853241088049793</c:v>
                </c:pt>
                <c:pt idx="5989">
                  <c:v>0.60210608207607463</c:v>
                </c:pt>
                <c:pt idx="5990">
                  <c:v>0.58907504653941256</c:v>
                </c:pt>
                <c:pt idx="5991">
                  <c:v>0.61280320080020023</c:v>
                </c:pt>
                <c:pt idx="5992">
                  <c:v>0.60331193909588499</c:v>
                </c:pt>
                <c:pt idx="5993">
                  <c:v>0.61547053430024179</c:v>
                </c:pt>
                <c:pt idx="5994">
                  <c:v>0.62807924203273036</c:v>
                </c:pt>
                <c:pt idx="5995">
                  <c:v>0.60554027395737831</c:v>
                </c:pt>
                <c:pt idx="5996">
                  <c:v>0.56563585340779654</c:v>
                </c:pt>
                <c:pt idx="5997">
                  <c:v>0.56982023283598671</c:v>
                </c:pt>
                <c:pt idx="5998">
                  <c:v>0.55075435525548055</c:v>
                </c:pt>
                <c:pt idx="5999">
                  <c:v>0.56563585340779654</c:v>
                </c:pt>
                <c:pt idx="6000">
                  <c:v>0.58097302103303616</c:v>
                </c:pt>
                <c:pt idx="6001">
                  <c:v>0.5909088383206913</c:v>
                </c:pt>
                <c:pt idx="6002">
                  <c:v>0.58409602400600136</c:v>
                </c:pt>
                <c:pt idx="6003">
                  <c:v>0.59284821205301319</c:v>
                </c:pt>
                <c:pt idx="6004">
                  <c:v>0.59233141618738028</c:v>
                </c:pt>
                <c:pt idx="6005">
                  <c:v>0.59364841210302566</c:v>
                </c:pt>
                <c:pt idx="6006">
                  <c:v>0.60991358950848817</c:v>
                </c:pt>
                <c:pt idx="6007">
                  <c:v>0.61884915673362784</c:v>
                </c:pt>
                <c:pt idx="6008">
                  <c:v>0.63057986718901948</c:v>
                </c:pt>
                <c:pt idx="6009">
                  <c:v>0.63094662554527514</c:v>
                </c:pt>
                <c:pt idx="6010">
                  <c:v>0.65322441721541491</c:v>
                </c:pt>
                <c:pt idx="6011">
                  <c:v>0.65832569253424467</c:v>
                </c:pt>
                <c:pt idx="6012">
                  <c:v>0.66060959684365539</c:v>
                </c:pt>
                <c:pt idx="6013">
                  <c:v>0.65444694506960088</c:v>
                </c:pt>
                <c:pt idx="6014">
                  <c:v>0.65922036064571699</c:v>
                </c:pt>
                <c:pt idx="6015">
                  <c:v>0.66775582784585041</c:v>
                </c:pt>
                <c:pt idx="6016">
                  <c:v>0.67048984468339312</c:v>
                </c:pt>
                <c:pt idx="6017">
                  <c:v>0.67391847961990514</c:v>
                </c:pt>
                <c:pt idx="6018">
                  <c:v>0.67081770442610655</c:v>
                </c:pt>
                <c:pt idx="6019">
                  <c:v>0.66447167347392422</c:v>
                </c:pt>
                <c:pt idx="6020">
                  <c:v>0.66875607790836611</c:v>
                </c:pt>
                <c:pt idx="6021">
                  <c:v>0.67014531410630451</c:v>
                </c:pt>
                <c:pt idx="6022">
                  <c:v>0.66399933316662496</c:v>
                </c:pt>
                <c:pt idx="6023">
                  <c:v>0.66468283737601053</c:v>
                </c:pt>
                <c:pt idx="6024">
                  <c:v>0.66470506515517758</c:v>
                </c:pt>
                <c:pt idx="6025">
                  <c:v>0.68574921508154829</c:v>
                </c:pt>
                <c:pt idx="6026">
                  <c:v>0.68854991525659193</c:v>
                </c:pt>
                <c:pt idx="6027">
                  <c:v>0.68621599844405545</c:v>
                </c:pt>
                <c:pt idx="6028">
                  <c:v>0.67661915478869705</c:v>
                </c:pt>
                <c:pt idx="6029">
                  <c:v>0.6707676919229808</c:v>
                </c:pt>
                <c:pt idx="6030">
                  <c:v>0.6776416326303798</c:v>
                </c:pt>
                <c:pt idx="6031">
                  <c:v>0.6719679919979995</c:v>
                </c:pt>
                <c:pt idx="6032">
                  <c:v>0.67009530160317876</c:v>
                </c:pt>
                <c:pt idx="6033">
                  <c:v>0.67510210886054844</c:v>
                </c:pt>
                <c:pt idx="6034">
                  <c:v>0.66676113472812659</c:v>
                </c:pt>
                <c:pt idx="6035">
                  <c:v>0.64323303047984215</c:v>
                </c:pt>
                <c:pt idx="6036">
                  <c:v>0.63788724959017529</c:v>
                </c:pt>
                <c:pt idx="6037">
                  <c:v>0.62833486149315099</c:v>
                </c:pt>
                <c:pt idx="6038">
                  <c:v>0.63461976605262427</c:v>
                </c:pt>
                <c:pt idx="6039">
                  <c:v>0.62525631407851967</c:v>
                </c:pt>
                <c:pt idx="6040">
                  <c:v>0.63927648578811369</c:v>
                </c:pt>
                <c:pt idx="6041">
                  <c:v>0.64600038898613543</c:v>
                </c:pt>
                <c:pt idx="6042">
                  <c:v>0.63937095384957354</c:v>
                </c:pt>
                <c:pt idx="6043">
                  <c:v>0.61334222444500019</c:v>
                </c:pt>
                <c:pt idx="6044">
                  <c:v>0.6180878552971576</c:v>
                </c:pt>
                <c:pt idx="6045">
                  <c:v>0.62149426245450257</c:v>
                </c:pt>
                <c:pt idx="6046">
                  <c:v>0.61649301214192453</c:v>
                </c:pt>
                <c:pt idx="6047">
                  <c:v>0.62331138340140591</c:v>
                </c:pt>
                <c:pt idx="6048">
                  <c:v>0.63686477174849276</c:v>
                </c:pt>
                <c:pt idx="6049">
                  <c:v>0.63889305659748263</c:v>
                </c:pt>
                <c:pt idx="6050">
                  <c:v>0.63918757467144571</c:v>
                </c:pt>
                <c:pt idx="6051">
                  <c:v>0.65566391597899476</c:v>
                </c:pt>
                <c:pt idx="6052">
                  <c:v>0.66783918201772674</c:v>
                </c:pt>
                <c:pt idx="6053">
                  <c:v>0.67316273512822655</c:v>
                </c:pt>
                <c:pt idx="6054">
                  <c:v>0.66798366258231212</c:v>
                </c:pt>
                <c:pt idx="6055">
                  <c:v>0.67252368647717486</c:v>
                </c:pt>
                <c:pt idx="6056">
                  <c:v>0.68205384679503211</c:v>
                </c:pt>
                <c:pt idx="6057">
                  <c:v>0.68917229307326844</c:v>
                </c:pt>
                <c:pt idx="6058">
                  <c:v>0.70976633047150672</c:v>
                </c:pt>
                <c:pt idx="6059">
                  <c:v>0.70687671917979511</c:v>
                </c:pt>
                <c:pt idx="6060">
                  <c:v>0.6945736434108527</c:v>
                </c:pt>
                <c:pt idx="6061">
                  <c:v>0.68658275680031133</c:v>
                </c:pt>
                <c:pt idx="6062">
                  <c:v>0.6823761495929539</c:v>
                </c:pt>
                <c:pt idx="6063">
                  <c:v>0.6778138979189241</c:v>
                </c:pt>
                <c:pt idx="6064">
                  <c:v>0.68398210663777048</c:v>
                </c:pt>
                <c:pt idx="6065">
                  <c:v>0.67721930482620651</c:v>
                </c:pt>
                <c:pt idx="6066">
                  <c:v>0.66718346253229965</c:v>
                </c:pt>
                <c:pt idx="6067">
                  <c:v>0.68063126892834336</c:v>
                </c:pt>
                <c:pt idx="6068">
                  <c:v>0.67983662582312232</c:v>
                </c:pt>
                <c:pt idx="6069">
                  <c:v>0.66475507765830355</c:v>
                </c:pt>
                <c:pt idx="6070">
                  <c:v>0.676558028395988</c:v>
                </c:pt>
                <c:pt idx="6071">
                  <c:v>0.6622989080603483</c:v>
                </c:pt>
                <c:pt idx="6072">
                  <c:v>0.64230502069961926</c:v>
                </c:pt>
                <c:pt idx="6073">
                  <c:v>0.64341085271317833</c:v>
                </c:pt>
                <c:pt idx="6074">
                  <c:v>0.67954766469395111</c:v>
                </c:pt>
                <c:pt idx="6075">
                  <c:v>0.69010585979828276</c:v>
                </c:pt>
                <c:pt idx="6076">
                  <c:v>0.69700202828484903</c:v>
                </c:pt>
                <c:pt idx="6077">
                  <c:v>0.68501569836903675</c:v>
                </c:pt>
                <c:pt idx="6078">
                  <c:v>0.70850490400377875</c:v>
                </c:pt>
                <c:pt idx="6079">
                  <c:v>0.72010780472896019</c:v>
                </c:pt>
                <c:pt idx="6080">
                  <c:v>0.73141618738017833</c:v>
                </c:pt>
                <c:pt idx="6081">
                  <c:v>0.73159400961351451</c:v>
                </c:pt>
                <c:pt idx="6082">
                  <c:v>0.74153538384596152</c:v>
                </c:pt>
                <c:pt idx="6083">
                  <c:v>0.73332221944374987</c:v>
                </c:pt>
                <c:pt idx="6084">
                  <c:v>0.73899586007613016</c:v>
                </c:pt>
                <c:pt idx="6085">
                  <c:v>0.74663665916479127</c:v>
                </c:pt>
                <c:pt idx="6086">
                  <c:v>0.74897057597732775</c:v>
                </c:pt>
                <c:pt idx="6087">
                  <c:v>0.7588341529826903</c:v>
                </c:pt>
                <c:pt idx="6088">
                  <c:v>0.75039871078880838</c:v>
                </c:pt>
                <c:pt idx="6089">
                  <c:v>0.74381928815537224</c:v>
                </c:pt>
                <c:pt idx="6090">
                  <c:v>0.74888722180545142</c:v>
                </c:pt>
                <c:pt idx="6091">
                  <c:v>0.75514434164096578</c:v>
                </c:pt>
                <c:pt idx="6092">
                  <c:v>0.75041538162318355</c:v>
                </c:pt>
                <c:pt idx="6093">
                  <c:v>0.75884526687227383</c:v>
                </c:pt>
                <c:pt idx="6094">
                  <c:v>0.73605623628129258</c:v>
                </c:pt>
                <c:pt idx="6095">
                  <c:v>0.75938984746186566</c:v>
                </c:pt>
                <c:pt idx="6096">
                  <c:v>0.76066794476396882</c:v>
                </c:pt>
                <c:pt idx="6097">
                  <c:v>0.75660581812119698</c:v>
                </c:pt>
                <c:pt idx="6098">
                  <c:v>0.77135394959851067</c:v>
                </c:pt>
                <c:pt idx="6099">
                  <c:v>0.7802506182101081</c:v>
                </c:pt>
                <c:pt idx="6100">
                  <c:v>0.78778027840293396</c:v>
                </c:pt>
                <c:pt idx="6101">
                  <c:v>0.78125642521741545</c:v>
                </c:pt>
                <c:pt idx="6102">
                  <c:v>0.77795004306632221</c:v>
                </c:pt>
                <c:pt idx="6103">
                  <c:v>0.77157622739018095</c:v>
                </c:pt>
                <c:pt idx="6104">
                  <c:v>0.78609096718624105</c:v>
                </c:pt>
                <c:pt idx="6105">
                  <c:v>0.79519324275513315</c:v>
                </c:pt>
                <c:pt idx="6106">
                  <c:v>0.79296490789364027</c:v>
                </c:pt>
                <c:pt idx="6107">
                  <c:v>0.79342613431135578</c:v>
                </c:pt>
                <c:pt idx="6108">
                  <c:v>0.79830513183851526</c:v>
                </c:pt>
                <c:pt idx="6109">
                  <c:v>0.79696035119891073</c:v>
                </c:pt>
                <c:pt idx="6110">
                  <c:v>0.7921480370092524</c:v>
                </c:pt>
                <c:pt idx="6111">
                  <c:v>0.78652996582478951</c:v>
                </c:pt>
                <c:pt idx="6112">
                  <c:v>0.78466283237476042</c:v>
                </c:pt>
                <c:pt idx="6113">
                  <c:v>0.77697757772776543</c:v>
                </c:pt>
                <c:pt idx="6114">
                  <c:v>0.79711038870828821</c:v>
                </c:pt>
                <c:pt idx="6115">
                  <c:v>0.80044455558334016</c:v>
                </c:pt>
                <c:pt idx="6116">
                  <c:v>0.79473757328220929</c:v>
                </c:pt>
                <c:pt idx="6117">
                  <c:v>0.77462143313606191</c:v>
                </c:pt>
                <c:pt idx="6118">
                  <c:v>0.76840321191408956</c:v>
                </c:pt>
                <c:pt idx="6119">
                  <c:v>0.76825873134950418</c:v>
                </c:pt>
                <c:pt idx="6120">
                  <c:v>0.77945597510488729</c:v>
                </c:pt>
                <c:pt idx="6121">
                  <c:v>0.77396015670584317</c:v>
                </c:pt>
                <c:pt idx="6122">
                  <c:v>0.80355644466672227</c:v>
                </c:pt>
                <c:pt idx="6123">
                  <c:v>0.8027562446167098</c:v>
                </c:pt>
                <c:pt idx="6124">
                  <c:v>0.81144730627101214</c:v>
                </c:pt>
                <c:pt idx="6125">
                  <c:v>0.82135533883470857</c:v>
                </c:pt>
                <c:pt idx="6126">
                  <c:v>0.82687338501291996</c:v>
                </c:pt>
                <c:pt idx="6127">
                  <c:v>0.83554221888805547</c:v>
                </c:pt>
                <c:pt idx="6128">
                  <c:v>0.83526992859325944</c:v>
                </c:pt>
                <c:pt idx="6129">
                  <c:v>0.83506987858075643</c:v>
                </c:pt>
                <c:pt idx="6130">
                  <c:v>0.84245505820899691</c:v>
                </c:pt>
                <c:pt idx="6131">
                  <c:v>0.82639548776082927</c:v>
                </c:pt>
                <c:pt idx="6132">
                  <c:v>0.82583423633686204</c:v>
                </c:pt>
                <c:pt idx="6133">
                  <c:v>0.82127754160762412</c:v>
                </c:pt>
                <c:pt idx="6134">
                  <c:v>0.83237476035675573</c:v>
                </c:pt>
                <c:pt idx="6135">
                  <c:v>0.83253591175571673</c:v>
                </c:pt>
                <c:pt idx="6136">
                  <c:v>0.83316384651718489</c:v>
                </c:pt>
                <c:pt idx="6137">
                  <c:v>0.83739823844850103</c:v>
                </c:pt>
                <c:pt idx="6138">
                  <c:v>0.8144925120168931</c:v>
                </c:pt>
                <c:pt idx="6139">
                  <c:v>0.83413075491095001</c:v>
                </c:pt>
                <c:pt idx="6140">
                  <c:v>0.84365535828401539</c:v>
                </c:pt>
                <c:pt idx="6141">
                  <c:v>0.84121585952043576</c:v>
                </c:pt>
                <c:pt idx="6142">
                  <c:v>0.83407518546303261</c:v>
                </c:pt>
                <c:pt idx="6143">
                  <c:v>0.83920424550582084</c:v>
                </c:pt>
                <c:pt idx="6144">
                  <c:v>0.84048234280792422</c:v>
                </c:pt>
                <c:pt idx="6145">
                  <c:v>0.8241449251201689</c:v>
                </c:pt>
                <c:pt idx="6146">
                  <c:v>0.78607429635186588</c:v>
                </c:pt>
                <c:pt idx="6147">
                  <c:v>0.77742769025589742</c:v>
                </c:pt>
                <c:pt idx="6148">
                  <c:v>0.7883415298269012</c:v>
                </c:pt>
                <c:pt idx="6149">
                  <c:v>0.77027590230891052</c:v>
                </c:pt>
                <c:pt idx="6150">
                  <c:v>0.79032535911755741</c:v>
                </c:pt>
                <c:pt idx="6151">
                  <c:v>0.77875024311633467</c:v>
                </c:pt>
                <c:pt idx="6152">
                  <c:v>0.73814009057820007</c:v>
                </c:pt>
                <c:pt idx="6153">
                  <c:v>0.75151565669195075</c:v>
                </c:pt>
                <c:pt idx="6154">
                  <c:v>0.74848712178044496</c:v>
                </c:pt>
                <c:pt idx="6155">
                  <c:v>0.77113722875163249</c:v>
                </c:pt>
                <c:pt idx="6156">
                  <c:v>0.79469311772387541</c:v>
                </c:pt>
                <c:pt idx="6157">
                  <c:v>0.79755494429162854</c:v>
                </c:pt>
                <c:pt idx="6158">
                  <c:v>0.81753216081798219</c:v>
                </c:pt>
                <c:pt idx="6159">
                  <c:v>0.8179378177877803</c:v>
                </c:pt>
                <c:pt idx="6160">
                  <c:v>0.82869050595982352</c:v>
                </c:pt>
                <c:pt idx="6161">
                  <c:v>0.83763718707454649</c:v>
                </c:pt>
                <c:pt idx="6162">
                  <c:v>0.84005445805895929</c:v>
                </c:pt>
                <c:pt idx="6163">
                  <c:v>0.82814036842543981</c:v>
                </c:pt>
                <c:pt idx="6164">
                  <c:v>0.83949876357978392</c:v>
                </c:pt>
                <c:pt idx="6165">
                  <c:v>0.83621460920785773</c:v>
                </c:pt>
                <c:pt idx="6166">
                  <c:v>0.84759523214136889</c:v>
                </c:pt>
                <c:pt idx="6167">
                  <c:v>0.8451446194882053</c:v>
                </c:pt>
                <c:pt idx="6168">
                  <c:v>0.84554471951321175</c:v>
                </c:pt>
                <c:pt idx="6169">
                  <c:v>0.85493595621127527</c:v>
                </c:pt>
                <c:pt idx="6170">
                  <c:v>0.86012058570198113</c:v>
                </c:pt>
                <c:pt idx="6171">
                  <c:v>0.84648940012780982</c:v>
                </c:pt>
                <c:pt idx="6172">
                  <c:v>0.87471312272512569</c:v>
                </c:pt>
                <c:pt idx="6173">
                  <c:v>0.87496874218554632</c:v>
                </c:pt>
                <c:pt idx="6174">
                  <c:v>0.8785196299074769</c:v>
                </c:pt>
                <c:pt idx="6175">
                  <c:v>0.87967547442416172</c:v>
                </c:pt>
                <c:pt idx="6176">
                  <c:v>0.87892528687727478</c:v>
                </c:pt>
                <c:pt idx="6177">
                  <c:v>0.86945069600733516</c:v>
                </c:pt>
                <c:pt idx="6178">
                  <c:v>0.87050651551776848</c:v>
                </c:pt>
                <c:pt idx="6179">
                  <c:v>0.84885665860909687</c:v>
                </c:pt>
                <c:pt idx="6180">
                  <c:v>0.84368869995276596</c:v>
                </c:pt>
                <c:pt idx="6181">
                  <c:v>0.86141535383845969</c:v>
                </c:pt>
                <c:pt idx="6182">
                  <c:v>0.87490205884804539</c:v>
                </c:pt>
                <c:pt idx="6183">
                  <c:v>0.86340474007390733</c:v>
                </c:pt>
                <c:pt idx="6184">
                  <c:v>0.87469089494595864</c:v>
                </c:pt>
                <c:pt idx="6185">
                  <c:v>0.86920063349170618</c:v>
                </c:pt>
                <c:pt idx="6186">
                  <c:v>0.86010947181239761</c:v>
                </c:pt>
                <c:pt idx="6187">
                  <c:v>0.86848934455836191</c:v>
                </c:pt>
                <c:pt idx="6188">
                  <c:v>0.85546386596649171</c:v>
                </c:pt>
                <c:pt idx="6189">
                  <c:v>0.85225750882164997</c:v>
                </c:pt>
                <c:pt idx="6190">
                  <c:v>0.86092634269678525</c:v>
                </c:pt>
                <c:pt idx="6191">
                  <c:v>0.87575227140118383</c:v>
                </c:pt>
                <c:pt idx="6192">
                  <c:v>0.88908893890139229</c:v>
                </c:pt>
                <c:pt idx="6193">
                  <c:v>0.89480703509210646</c:v>
                </c:pt>
                <c:pt idx="6194">
                  <c:v>0.89269539607124004</c:v>
                </c:pt>
                <c:pt idx="6195">
                  <c:v>0.86902836820316187</c:v>
                </c:pt>
                <c:pt idx="6196">
                  <c:v>0.84894556972576485</c:v>
                </c:pt>
                <c:pt idx="6197">
                  <c:v>0.85648634380817446</c:v>
                </c:pt>
                <c:pt idx="6198">
                  <c:v>0.87691922980745196</c:v>
                </c:pt>
                <c:pt idx="6199">
                  <c:v>0.83772609819121446</c:v>
                </c:pt>
                <c:pt idx="6200">
                  <c:v>0.82047734155761165</c:v>
                </c:pt>
                <c:pt idx="6201">
                  <c:v>0.83544775082659561</c:v>
                </c:pt>
                <c:pt idx="6202">
                  <c:v>0.84785085160178952</c:v>
                </c:pt>
                <c:pt idx="6203">
                  <c:v>0.86728348753855133</c:v>
                </c:pt>
                <c:pt idx="6204">
                  <c:v>0.86991192242505067</c:v>
                </c:pt>
                <c:pt idx="6205">
                  <c:v>0.87699702703453641</c:v>
                </c:pt>
                <c:pt idx="6206">
                  <c:v>0.8846822816815314</c:v>
                </c:pt>
                <c:pt idx="6207">
                  <c:v>0.88074796476896999</c:v>
                </c:pt>
                <c:pt idx="6208">
                  <c:v>0.88402100525131289</c:v>
                </c:pt>
                <c:pt idx="6209">
                  <c:v>0.86877274874274124</c:v>
                </c:pt>
                <c:pt idx="6210">
                  <c:v>0.87493540051679597</c:v>
                </c:pt>
                <c:pt idx="6211">
                  <c:v>0.88389319552110246</c:v>
                </c:pt>
                <c:pt idx="6212">
                  <c:v>0.88961684865660873</c:v>
                </c:pt>
                <c:pt idx="6213">
                  <c:v>0.8894723680920229</c:v>
                </c:pt>
                <c:pt idx="6214">
                  <c:v>0.88692173043260825</c:v>
                </c:pt>
                <c:pt idx="6215">
                  <c:v>0.89060042788474902</c:v>
                </c:pt>
                <c:pt idx="6216">
                  <c:v>0.87364618932510907</c:v>
                </c:pt>
                <c:pt idx="6217">
                  <c:v>0.88497124281070261</c:v>
                </c:pt>
                <c:pt idx="6218">
                  <c:v>0.88285404684504454</c:v>
                </c:pt>
                <c:pt idx="6219">
                  <c:v>0.88605484704509485</c:v>
                </c:pt>
                <c:pt idx="6220">
                  <c:v>0.90437053707871429</c:v>
                </c:pt>
                <c:pt idx="6221">
                  <c:v>0.90564307743602579</c:v>
                </c:pt>
                <c:pt idx="6222">
                  <c:v>0.89705204078797496</c:v>
                </c:pt>
                <c:pt idx="6223">
                  <c:v>0.8796476897002028</c:v>
                </c:pt>
                <c:pt idx="6224">
                  <c:v>0.88669945264093819</c:v>
                </c:pt>
                <c:pt idx="6225">
                  <c:v>0.89409574615876197</c:v>
                </c:pt>
                <c:pt idx="6226">
                  <c:v>0.88184823983773719</c:v>
                </c:pt>
                <c:pt idx="6227">
                  <c:v>0.89739101442027169</c:v>
                </c:pt>
                <c:pt idx="6228">
                  <c:v>0.90213664527242909</c:v>
                </c:pt>
                <c:pt idx="6229">
                  <c:v>0.91024422772359759</c:v>
                </c:pt>
                <c:pt idx="6230">
                  <c:v>0.92169709093940155</c:v>
                </c:pt>
                <c:pt idx="6231">
                  <c:v>0.91985774221333116</c:v>
                </c:pt>
                <c:pt idx="6232">
                  <c:v>0.93040482342807929</c:v>
                </c:pt>
                <c:pt idx="6233">
                  <c:v>0.93397793892917669</c:v>
                </c:pt>
                <c:pt idx="6234">
                  <c:v>0.93556166819482645</c:v>
                </c:pt>
                <c:pt idx="6235">
                  <c:v>0.93492817648856663</c:v>
                </c:pt>
                <c:pt idx="6236">
                  <c:v>0.93893473368342084</c:v>
                </c:pt>
                <c:pt idx="6237">
                  <c:v>0.95171570670445393</c:v>
                </c:pt>
                <c:pt idx="6238">
                  <c:v>0.96103470312022465</c:v>
                </c:pt>
                <c:pt idx="6239">
                  <c:v>0.96297407685254632</c:v>
                </c:pt>
                <c:pt idx="6240">
                  <c:v>0.96250173654524751</c:v>
                </c:pt>
                <c:pt idx="6241">
                  <c:v>0.95577783334722577</c:v>
                </c:pt>
                <c:pt idx="6242">
                  <c:v>0.94246895057097624</c:v>
                </c:pt>
                <c:pt idx="6243">
                  <c:v>0.94858714678669664</c:v>
                </c:pt>
                <c:pt idx="6244">
                  <c:v>0.95023200244505568</c:v>
                </c:pt>
                <c:pt idx="6245">
                  <c:v>0.95450529298991427</c:v>
                </c:pt>
                <c:pt idx="6246">
                  <c:v>0.96961462587869196</c:v>
                </c:pt>
                <c:pt idx="6247">
                  <c:v>0.97240421216415229</c:v>
                </c:pt>
                <c:pt idx="6248">
                  <c:v>0.97582729015587222</c:v>
                </c:pt>
                <c:pt idx="6249">
                  <c:v>0.97557167069545159</c:v>
                </c:pt>
                <c:pt idx="6250">
                  <c:v>0.96302964630046417</c:v>
                </c:pt>
                <c:pt idx="6251">
                  <c:v>0.9726931732933235</c:v>
                </c:pt>
                <c:pt idx="6252">
                  <c:v>0.97070378705787563</c:v>
                </c:pt>
                <c:pt idx="6253">
                  <c:v>0.97457697757772777</c:v>
                </c:pt>
                <c:pt idx="6254">
                  <c:v>0.97392681503709255</c:v>
                </c:pt>
                <c:pt idx="6255">
                  <c:v>0.98746908949459611</c:v>
                </c:pt>
                <c:pt idx="6256">
                  <c:v>0.98889166736128487</c:v>
                </c:pt>
                <c:pt idx="6257">
                  <c:v>0.99979439304270512</c:v>
                </c:pt>
                <c:pt idx="6258">
                  <c:v>0.99202578422383381</c:v>
                </c:pt>
                <c:pt idx="6259">
                  <c:v>0.97856686393820702</c:v>
                </c:pt>
                <c:pt idx="6260">
                  <c:v>0.98787474646439399</c:v>
                </c:pt>
                <c:pt idx="6261">
                  <c:v>0.97965602511739047</c:v>
                </c:pt>
                <c:pt idx="6262">
                  <c:v>0.98276235725598071</c:v>
                </c:pt>
                <c:pt idx="6263">
                  <c:v>0.99237031480092242</c:v>
                </c:pt>
                <c:pt idx="6264">
                  <c:v>0.98853046594982086</c:v>
                </c:pt>
                <c:pt idx="6265">
                  <c:v>0.99711594565307982</c:v>
                </c:pt>
                <c:pt idx="6266">
                  <c:v>0.9736767525214638</c:v>
                </c:pt>
                <c:pt idx="6267">
                  <c:v>0.99394848712178052</c:v>
                </c:pt>
                <c:pt idx="6268">
                  <c:v>0.98938067850295908</c:v>
                </c:pt>
                <c:pt idx="6269">
                  <c:v>0.99936095134894831</c:v>
                </c:pt>
                <c:pt idx="6270">
                  <c:v>1.0028896112917121</c:v>
                </c:pt>
                <c:pt idx="6271">
                  <c:v>1.0038898613542275</c:v>
                </c:pt>
                <c:pt idx="6272">
                  <c:v>0.9942096635269928</c:v>
                </c:pt>
                <c:pt idx="6273">
                  <c:v>0.99479314273012709</c:v>
                </c:pt>
                <c:pt idx="6274">
                  <c:v>0.98585757550498743</c:v>
                </c:pt>
                <c:pt idx="6275">
                  <c:v>0.98630213108832754</c:v>
                </c:pt>
                <c:pt idx="6276">
                  <c:v>0.94670334250229238</c:v>
                </c:pt>
                <c:pt idx="6277">
                  <c:v>0.94114084076574689</c:v>
                </c:pt>
                <c:pt idx="6278">
                  <c:v>0.95510544302742351</c:v>
                </c:pt>
                <c:pt idx="6279">
                  <c:v>0.93635075435525561</c:v>
                </c:pt>
                <c:pt idx="6280">
                  <c:v>0.93696757522714025</c:v>
                </c:pt>
                <c:pt idx="6281">
                  <c:v>0.92667055652802088</c:v>
                </c:pt>
                <c:pt idx="6282">
                  <c:v>0.94893723430857713</c:v>
                </c:pt>
                <c:pt idx="6283">
                  <c:v>0.95467200133366692</c:v>
                </c:pt>
                <c:pt idx="6284">
                  <c:v>0.9515767830846602</c:v>
                </c:pt>
                <c:pt idx="6285">
                  <c:v>0.96516907004528929</c:v>
                </c:pt>
                <c:pt idx="6286">
                  <c:v>0.97381011919646565</c:v>
                </c:pt>
                <c:pt idx="6287">
                  <c:v>0.9739212580923009</c:v>
                </c:pt>
                <c:pt idx="6288">
                  <c:v>0.99088661054152416</c:v>
                </c:pt>
                <c:pt idx="6289">
                  <c:v>1.0012391986885611</c:v>
                </c:pt>
                <c:pt idx="6290">
                  <c:v>1.0063293601178072</c:v>
                </c:pt>
                <c:pt idx="6291">
                  <c:v>1.0122975188241505</c:v>
                </c:pt>
                <c:pt idx="6292">
                  <c:v>1.0085576949793005</c:v>
                </c:pt>
                <c:pt idx="6293">
                  <c:v>1.0182045511377846</c:v>
                </c:pt>
                <c:pt idx="6294">
                  <c:v>1.0203439748826097</c:v>
                </c:pt>
                <c:pt idx="6295">
                  <c:v>1.0208607707482424</c:v>
                </c:pt>
                <c:pt idx="6296">
                  <c:v>1.0177155399961104</c:v>
                </c:pt>
                <c:pt idx="6297">
                  <c:v>1.0245839237587178</c:v>
                </c:pt>
                <c:pt idx="6298">
                  <c:v>1.0235725598066185</c:v>
                </c:pt>
                <c:pt idx="6299">
                  <c:v>1.0223667027868077</c:v>
                </c:pt>
                <c:pt idx="6300">
                  <c:v>1.0193214970409268</c:v>
                </c:pt>
                <c:pt idx="6301">
                  <c:v>1.0295407185129619</c:v>
                </c:pt>
                <c:pt idx="6302">
                  <c:v>1.023650357033703</c:v>
                </c:pt>
                <c:pt idx="6303">
                  <c:v>1.0104414992637047</c:v>
                </c:pt>
                <c:pt idx="6304">
                  <c:v>1.0179767164013227</c:v>
                </c:pt>
                <c:pt idx="6305">
                  <c:v>1.0203161901586508</c:v>
                </c:pt>
                <c:pt idx="6306">
                  <c:v>1.0083131894084634</c:v>
                </c:pt>
                <c:pt idx="6307">
                  <c:v>1.0069017254313577</c:v>
                </c:pt>
                <c:pt idx="6308">
                  <c:v>1.0219499319274261</c:v>
                </c:pt>
                <c:pt idx="6309">
                  <c:v>1.0246172654274681</c:v>
                </c:pt>
                <c:pt idx="6310">
                  <c:v>1.034803145230752</c:v>
                </c:pt>
                <c:pt idx="6311">
                  <c:v>1.0338584646161544</c:v>
                </c:pt>
                <c:pt idx="6312">
                  <c:v>1.0175599455419411</c:v>
                </c:pt>
                <c:pt idx="6313">
                  <c:v>1.006112639270929</c:v>
                </c:pt>
                <c:pt idx="6314">
                  <c:v>1.0218610208107584</c:v>
                </c:pt>
                <c:pt idx="6315">
                  <c:v>0.98916951460087255</c:v>
                </c:pt>
                <c:pt idx="6316">
                  <c:v>1.0066016504126032</c:v>
                </c:pt>
                <c:pt idx="6317">
                  <c:v>1.0016615264927342</c:v>
                </c:pt>
                <c:pt idx="6318">
                  <c:v>0.99619349281764902</c:v>
                </c:pt>
                <c:pt idx="6319">
                  <c:v>0.96992581478703022</c:v>
                </c:pt>
                <c:pt idx="6320">
                  <c:v>0.97010363702036639</c:v>
                </c:pt>
                <c:pt idx="6321">
                  <c:v>0.99213136617487718</c:v>
                </c:pt>
                <c:pt idx="6322">
                  <c:v>0.98906393264982917</c:v>
                </c:pt>
                <c:pt idx="6323">
                  <c:v>0.95898419049206751</c:v>
                </c:pt>
                <c:pt idx="6324">
                  <c:v>0.99387068989469607</c:v>
                </c:pt>
                <c:pt idx="6325">
                  <c:v>0.95277708315967891</c:v>
                </c:pt>
                <c:pt idx="6326">
                  <c:v>0.93061043038537417</c:v>
                </c:pt>
                <c:pt idx="6327">
                  <c:v>0.89881359228696089</c:v>
                </c:pt>
                <c:pt idx="6328">
                  <c:v>0.90182545636409106</c:v>
                </c:pt>
                <c:pt idx="6329">
                  <c:v>0.88659942763468669</c:v>
                </c:pt>
                <c:pt idx="6330">
                  <c:v>0.88693840126698342</c:v>
                </c:pt>
                <c:pt idx="6331">
                  <c:v>0.91125003473090493</c:v>
                </c:pt>
                <c:pt idx="6332">
                  <c:v>0.92875441082492838</c:v>
                </c:pt>
                <c:pt idx="6333">
                  <c:v>0.96654719235364417</c:v>
                </c:pt>
                <c:pt idx="6334">
                  <c:v>0.95241588174821468</c:v>
                </c:pt>
                <c:pt idx="6335">
                  <c:v>0.9764385540829652</c:v>
                </c:pt>
                <c:pt idx="6336">
                  <c:v>0.99039759939985017</c:v>
                </c:pt>
                <c:pt idx="6337">
                  <c:v>0.98742463393626179</c:v>
                </c:pt>
                <c:pt idx="6338">
                  <c:v>1.0111472312522576</c:v>
                </c:pt>
                <c:pt idx="6339">
                  <c:v>1.0085743658136757</c:v>
                </c:pt>
                <c:pt idx="6340">
                  <c:v>1.0212275291044985</c:v>
                </c:pt>
                <c:pt idx="6341">
                  <c:v>1.0449501264204941</c:v>
                </c:pt>
                <c:pt idx="6342">
                  <c:v>1.0447222916840322</c:v>
                </c:pt>
                <c:pt idx="6343">
                  <c:v>1.0389430691006085</c:v>
                </c:pt>
                <c:pt idx="6344">
                  <c:v>1.0512794865383013</c:v>
                </c:pt>
                <c:pt idx="6345">
                  <c:v>1.0596538023394739</c:v>
                </c:pt>
                <c:pt idx="6346">
                  <c:v>1.0607707482426161</c:v>
                </c:pt>
                <c:pt idx="6347">
                  <c:v>1.0673223861520937</c:v>
                </c:pt>
                <c:pt idx="6348">
                  <c:v>1.0687616348531579</c:v>
                </c:pt>
                <c:pt idx="6349">
                  <c:v>1.067905865355228</c:v>
                </c:pt>
                <c:pt idx="6350">
                  <c:v>1.0691728487677477</c:v>
                </c:pt>
                <c:pt idx="6351">
                  <c:v>1.0699174793698427</c:v>
                </c:pt>
                <c:pt idx="6352">
                  <c:v>1.071551221138618</c:v>
                </c:pt>
                <c:pt idx="6353">
                  <c:v>1.0825984273846241</c:v>
                </c:pt>
                <c:pt idx="6354">
                  <c:v>1.0796032341418687</c:v>
                </c:pt>
                <c:pt idx="6355">
                  <c:v>1.0837820566252674</c:v>
                </c:pt>
                <c:pt idx="6356">
                  <c:v>1.0949848573254428</c:v>
                </c:pt>
                <c:pt idx="6357">
                  <c:v>1.101014142424495</c:v>
                </c:pt>
                <c:pt idx="6358">
                  <c:v>1.0988247061765444</c:v>
                </c:pt>
                <c:pt idx="6359">
                  <c:v>1.1052040787974771</c:v>
                </c:pt>
                <c:pt idx="6360">
                  <c:v>1.0999472090244784</c:v>
                </c:pt>
                <c:pt idx="6361">
                  <c:v>1.0856936456336306</c:v>
                </c:pt>
                <c:pt idx="6362">
                  <c:v>1.099119224250507</c:v>
                </c:pt>
                <c:pt idx="6363">
                  <c:v>1.107576894223556</c:v>
                </c:pt>
                <c:pt idx="6364">
                  <c:v>1.1051596232391434</c:v>
                </c:pt>
                <c:pt idx="6365">
                  <c:v>1.1086827262371148</c:v>
                </c:pt>
                <c:pt idx="6366">
                  <c:v>1.0936900891889638</c:v>
                </c:pt>
                <c:pt idx="6367">
                  <c:v>1.0932066349920815</c:v>
                </c:pt>
                <c:pt idx="6368">
                  <c:v>1.0591314495290489</c:v>
                </c:pt>
                <c:pt idx="6369">
                  <c:v>1.069028368203162</c:v>
                </c:pt>
                <c:pt idx="6370">
                  <c:v>1.0355644466672222</c:v>
                </c:pt>
                <c:pt idx="6371">
                  <c:v>1.0227112333638964</c:v>
                </c:pt>
                <c:pt idx="6372">
                  <c:v>1.0055347170125866</c:v>
                </c:pt>
                <c:pt idx="6373">
                  <c:v>1.046456058459059</c:v>
                </c:pt>
                <c:pt idx="6374">
                  <c:v>1.0959239809952486</c:v>
                </c:pt>
                <c:pt idx="6375">
                  <c:v>1.1055097107610234</c:v>
                </c:pt>
                <c:pt idx="6376">
                  <c:v>1.1138284571142787</c:v>
                </c:pt>
                <c:pt idx="6377">
                  <c:v>1.117629407351838</c:v>
                </c:pt>
                <c:pt idx="6378">
                  <c:v>1.1174126865049594</c:v>
                </c:pt>
                <c:pt idx="6379">
                  <c:v>1.1244199938873609</c:v>
                </c:pt>
                <c:pt idx="6380">
                  <c:v>1.1266149870801034</c:v>
                </c:pt>
                <c:pt idx="6381">
                  <c:v>1.1164680058903618</c:v>
                </c:pt>
                <c:pt idx="6382">
                  <c:v>1.0946569975827289</c:v>
                </c:pt>
                <c:pt idx="6383">
                  <c:v>1.0942346697785559</c:v>
                </c:pt>
                <c:pt idx="6384">
                  <c:v>1.0560862437831684</c:v>
                </c:pt>
                <c:pt idx="6385">
                  <c:v>1.0378094523630907</c:v>
                </c:pt>
                <c:pt idx="6386">
                  <c:v>1.062148870550971</c:v>
                </c:pt>
                <c:pt idx="6387">
                  <c:v>1.0990803256369648</c:v>
                </c:pt>
                <c:pt idx="6388">
                  <c:v>1.0814481398127311</c:v>
                </c:pt>
                <c:pt idx="6389">
                  <c:v>1.0646050401489262</c:v>
                </c:pt>
                <c:pt idx="6390">
                  <c:v>1.0594870939957213</c:v>
                </c:pt>
                <c:pt idx="6391">
                  <c:v>1.0475785613069934</c:v>
                </c:pt>
                <c:pt idx="6392">
                  <c:v>1.0286960629046149</c:v>
                </c:pt>
                <c:pt idx="6393">
                  <c:v>1.0559528771081661</c:v>
                </c:pt>
                <c:pt idx="6394">
                  <c:v>1.0592036898113415</c:v>
                </c:pt>
                <c:pt idx="6395">
                  <c:v>1.0691950765469147</c:v>
                </c:pt>
                <c:pt idx="6396">
                  <c:v>1.1008085354672001</c:v>
                </c:pt>
                <c:pt idx="6397">
                  <c:v>1.0892778750243117</c:v>
                </c:pt>
                <c:pt idx="6398">
                  <c:v>1.0946625545275208</c:v>
                </c:pt>
                <c:pt idx="6399">
                  <c:v>1.0666222111083328</c:v>
                </c:pt>
                <c:pt idx="6400">
                  <c:v>1.0388986135422744</c:v>
                </c:pt>
                <c:pt idx="6401">
                  <c:v>1.0584868439332054</c:v>
                </c:pt>
                <c:pt idx="6402">
                  <c:v>1.0317746103192467</c:v>
                </c:pt>
                <c:pt idx="6403">
                  <c:v>1.0581645411352838</c:v>
                </c:pt>
                <c:pt idx="6404">
                  <c:v>1.0879330943847072</c:v>
                </c:pt>
                <c:pt idx="6405">
                  <c:v>1.0798755244366647</c:v>
                </c:pt>
                <c:pt idx="6406">
                  <c:v>1.1016976466338808</c:v>
                </c:pt>
                <c:pt idx="6407">
                  <c:v>1.0950793253869024</c:v>
                </c:pt>
                <c:pt idx="6408">
                  <c:v>1.0862771248367649</c:v>
                </c:pt>
                <c:pt idx="6409">
                  <c:v>1.1086493845683645</c:v>
                </c:pt>
                <c:pt idx="6410">
                  <c:v>1.1093162179433751</c:v>
                </c:pt>
                <c:pt idx="6411">
                  <c:v>1.1301714317468257</c:v>
                </c:pt>
                <c:pt idx="6412">
                  <c:v>1.1390292017448806</c:v>
                </c:pt>
                <c:pt idx="6413">
                  <c:v>1.1427801394793144</c:v>
                </c:pt>
                <c:pt idx="6414">
                  <c:v>1.142202217220972</c:v>
                </c:pt>
                <c:pt idx="6415">
                  <c:v>1.1402739573782337</c:v>
                </c:pt>
                <c:pt idx="6416">
                  <c:v>1.1536495234919841</c:v>
                </c:pt>
                <c:pt idx="6417">
                  <c:v>1.1530160317857243</c:v>
                </c:pt>
                <c:pt idx="6418">
                  <c:v>1.1590230891056099</c:v>
                </c:pt>
                <c:pt idx="6419">
                  <c:v>1.1577338779139228</c:v>
                </c:pt>
                <c:pt idx="6420">
                  <c:v>1.1548998360701286</c:v>
                </c:pt>
                <c:pt idx="6421">
                  <c:v>1.1485482481731544</c:v>
                </c:pt>
                <c:pt idx="6422">
                  <c:v>1.1618293462254452</c:v>
                </c:pt>
                <c:pt idx="6423">
                  <c:v>1.1520435664471673</c:v>
                </c:pt>
                <c:pt idx="6424">
                  <c:v>1.1430413158845267</c:v>
                </c:pt>
                <c:pt idx="6425">
                  <c:v>1.145697535494985</c:v>
                </c:pt>
                <c:pt idx="6426">
                  <c:v>1.1155511099997222</c:v>
                </c:pt>
                <c:pt idx="6427">
                  <c:v>1.1240976910894389</c:v>
                </c:pt>
                <c:pt idx="6428">
                  <c:v>1.0882053846795032</c:v>
                </c:pt>
                <c:pt idx="6429">
                  <c:v>1.0845211302825706</c:v>
                </c:pt>
                <c:pt idx="6430">
                  <c:v>1.1113222750131979</c:v>
                </c:pt>
                <c:pt idx="6431">
                  <c:v>1.0985468589369565</c:v>
                </c:pt>
                <c:pt idx="6432">
                  <c:v>1.126987302381151</c:v>
                </c:pt>
                <c:pt idx="6433">
                  <c:v>1.119924425550832</c:v>
                </c:pt>
                <c:pt idx="6434">
                  <c:v>1.1457531049429024</c:v>
                </c:pt>
                <c:pt idx="6435">
                  <c:v>1.1353227195687809</c:v>
                </c:pt>
                <c:pt idx="6436">
                  <c:v>1.1545719763274152</c:v>
                </c:pt>
                <c:pt idx="6437">
                  <c:v>1.150809924703398</c:v>
                </c:pt>
                <c:pt idx="6438">
                  <c:v>1.1377844461115281</c:v>
                </c:pt>
                <c:pt idx="6439">
                  <c:v>1.1067100108360424</c:v>
                </c:pt>
                <c:pt idx="6440">
                  <c:v>1.1017532160817982</c:v>
                </c:pt>
                <c:pt idx="6441">
                  <c:v>1.1071378955850073</c:v>
                </c:pt>
                <c:pt idx="6442">
                  <c:v>1.1331166124864551</c:v>
                </c:pt>
                <c:pt idx="6443">
                  <c:v>1.1145675307715819</c:v>
                </c:pt>
                <c:pt idx="6444">
                  <c:v>1.1064488344308301</c:v>
                </c:pt>
                <c:pt idx="6445">
                  <c:v>1.1139395960101135</c:v>
                </c:pt>
                <c:pt idx="6446">
                  <c:v>1.1279264260509572</c:v>
                </c:pt>
                <c:pt idx="6447">
                  <c:v>1.1235808952238058</c:v>
                </c:pt>
                <c:pt idx="6448">
                  <c:v>1.1300880775749493</c:v>
                </c:pt>
                <c:pt idx="6449">
                  <c:v>1.139584896224056</c:v>
                </c:pt>
                <c:pt idx="6450">
                  <c:v>1.1507098996971465</c:v>
                </c:pt>
                <c:pt idx="6451">
                  <c:v>1.1410519296490791</c:v>
                </c:pt>
                <c:pt idx="6452">
                  <c:v>1.144547247923092</c:v>
                </c:pt>
                <c:pt idx="6453">
                  <c:v>1.1555944541690977</c:v>
                </c:pt>
                <c:pt idx="6454">
                  <c:v>1.1539662693451143</c:v>
                </c:pt>
                <c:pt idx="6455">
                  <c:v>1.1296046233780666</c:v>
                </c:pt>
                <c:pt idx="6456">
                  <c:v>1.1493262204440002</c:v>
                </c:pt>
                <c:pt idx="6457">
                  <c:v>1.1461754327470759</c:v>
                </c:pt>
                <c:pt idx="6458">
                  <c:v>1.1571670695451641</c:v>
                </c:pt>
                <c:pt idx="6459">
                  <c:v>1.162462837931705</c:v>
                </c:pt>
                <c:pt idx="6460">
                  <c:v>1.1673418354588647</c:v>
                </c:pt>
                <c:pt idx="6461">
                  <c:v>1.1583729265649745</c:v>
                </c:pt>
                <c:pt idx="6462">
                  <c:v>1.1645466922286127</c:v>
                </c:pt>
                <c:pt idx="6463">
                  <c:v>1.1565947042316136</c:v>
                </c:pt>
                <c:pt idx="6464">
                  <c:v>1.1348559362062738</c:v>
                </c:pt>
                <c:pt idx="6465">
                  <c:v>1.1581784334972633</c:v>
                </c:pt>
                <c:pt idx="6466">
                  <c:v>1.1645189075046538</c:v>
                </c:pt>
                <c:pt idx="6467">
                  <c:v>1.1390958850823818</c:v>
                </c:pt>
                <c:pt idx="6468">
                  <c:v>1.1303659248145368</c:v>
                </c:pt>
                <c:pt idx="6469">
                  <c:v>1.1389402906282129</c:v>
                </c:pt>
                <c:pt idx="6470">
                  <c:v>1.1677697202078301</c:v>
                </c:pt>
                <c:pt idx="6471">
                  <c:v>1.1571670695451641</c:v>
                </c:pt>
                <c:pt idx="6472">
                  <c:v>1.1509210635992333</c:v>
                </c:pt>
                <c:pt idx="6473">
                  <c:v>1.1507376844211055</c:v>
                </c:pt>
                <c:pt idx="6474">
                  <c:v>1.174165763663138</c:v>
                </c:pt>
                <c:pt idx="6475">
                  <c:v>1.1760940235058763</c:v>
                </c:pt>
                <c:pt idx="6476">
                  <c:v>1.1828512683726489</c:v>
                </c:pt>
                <c:pt idx="6477">
                  <c:v>1.1818843599788837</c:v>
                </c:pt>
                <c:pt idx="6478">
                  <c:v>1.1800894668111472</c:v>
                </c:pt>
                <c:pt idx="6479">
                  <c:v>1.1854908171487319</c:v>
                </c:pt>
                <c:pt idx="6480">
                  <c:v>1.1806340474007389</c:v>
                </c:pt>
                <c:pt idx="6481">
                  <c:v>1.1582506737795559</c:v>
                </c:pt>
                <c:pt idx="6482">
                  <c:v>1.1783834847600789</c:v>
                </c:pt>
                <c:pt idx="6483">
                  <c:v>1.1759995554444167</c:v>
                </c:pt>
                <c:pt idx="6484">
                  <c:v>1.1623072434775361</c:v>
                </c:pt>
                <c:pt idx="6485">
                  <c:v>1.1669806340474009</c:v>
                </c:pt>
                <c:pt idx="6486">
                  <c:v>1.1649023366952851</c:v>
                </c:pt>
                <c:pt idx="6487">
                  <c:v>1.1698924731182796</c:v>
                </c:pt>
                <c:pt idx="6488">
                  <c:v>1.1512211386179878</c:v>
                </c:pt>
                <c:pt idx="6489">
                  <c:v>1.1482203884304409</c:v>
                </c:pt>
                <c:pt idx="6490">
                  <c:v>1.134672557028146</c:v>
                </c:pt>
                <c:pt idx="6491">
                  <c:v>1.1356227945875359</c:v>
                </c:pt>
                <c:pt idx="6492">
                  <c:v>1.1614848156483566</c:v>
                </c:pt>
                <c:pt idx="6493">
                  <c:v>1.1658692450890502</c:v>
                </c:pt>
                <c:pt idx="6494">
                  <c:v>1.1508488233169403</c:v>
                </c:pt>
                <c:pt idx="6495">
                  <c:v>1.1409519046428276</c:v>
                </c:pt>
                <c:pt idx="6496">
                  <c:v>1.1531660692951018</c:v>
                </c:pt>
                <c:pt idx="6497">
                  <c:v>1.1574782584535024</c:v>
                </c:pt>
                <c:pt idx="6498">
                  <c:v>1.1791170014725902</c:v>
                </c:pt>
                <c:pt idx="6499">
                  <c:v>1.1675641132505348</c:v>
                </c:pt>
                <c:pt idx="6500">
                  <c:v>1.180772971020533</c:v>
                </c:pt>
                <c:pt idx="6501">
                  <c:v>1.1823400294518076</c:v>
                </c:pt>
                <c:pt idx="6502">
                  <c:v>1.1663582562307244</c:v>
                </c:pt>
                <c:pt idx="6503">
                  <c:v>1.1600066683337502</c:v>
                </c:pt>
                <c:pt idx="6504">
                  <c:v>1.1595454419160345</c:v>
                </c:pt>
                <c:pt idx="6505">
                  <c:v>1.1146953405017923</c:v>
                </c:pt>
                <c:pt idx="6506">
                  <c:v>1.1204467783612571</c:v>
                </c:pt>
                <c:pt idx="6507">
                  <c:v>1.1356783640354533</c:v>
                </c:pt>
                <c:pt idx="6508">
                  <c:v>1.1350115306604427</c:v>
                </c:pt>
                <c:pt idx="6509">
                  <c:v>1.1268372648717735</c:v>
                </c:pt>
                <c:pt idx="6510">
                  <c:v>1.1397905031813509</c:v>
                </c:pt>
                <c:pt idx="6511">
                  <c:v>1.1047873079380959</c:v>
                </c:pt>
                <c:pt idx="6512">
                  <c:v>1.1095607235142122</c:v>
                </c:pt>
                <c:pt idx="6513">
                  <c:v>1.1355894529187851</c:v>
                </c:pt>
                <c:pt idx="6514">
                  <c:v>1.1594120752410326</c:v>
                </c:pt>
                <c:pt idx="6515">
                  <c:v>1.169047817509933</c:v>
                </c:pt>
                <c:pt idx="6516">
                  <c:v>1.1674863160234503</c:v>
                </c:pt>
                <c:pt idx="6517">
                  <c:v>1.1849073379455977</c:v>
                </c:pt>
                <c:pt idx="6518">
                  <c:v>1.1873357228195935</c:v>
                </c:pt>
                <c:pt idx="6519">
                  <c:v>1.1890750465394127</c:v>
                </c:pt>
                <c:pt idx="6520">
                  <c:v>1.1798227334611431</c:v>
                </c:pt>
                <c:pt idx="6521">
                  <c:v>1.1748492678725238</c:v>
                </c:pt>
                <c:pt idx="6522">
                  <c:v>1.1626462171098328</c:v>
                </c:pt>
                <c:pt idx="6523">
                  <c:v>1.1395070989969716</c:v>
                </c:pt>
                <c:pt idx="6524">
                  <c:v>1.1271595676696951</c:v>
                </c:pt>
                <c:pt idx="6525">
                  <c:v>1.1535217137617737</c:v>
                </c:pt>
                <c:pt idx="6526">
                  <c:v>1.169547942541191</c:v>
                </c:pt>
                <c:pt idx="6527">
                  <c:v>1.1697868911672362</c:v>
                </c:pt>
                <c:pt idx="6528">
                  <c:v>1.1648745519713262</c:v>
                </c:pt>
                <c:pt idx="6529">
                  <c:v>1.1589119502097747</c:v>
                </c:pt>
                <c:pt idx="6530">
                  <c:v>1.1541163068544913</c:v>
                </c:pt>
                <c:pt idx="6531">
                  <c:v>1.1616459670473174</c:v>
                </c:pt>
                <c:pt idx="6532">
                  <c:v>1.1454919285376901</c:v>
                </c:pt>
                <c:pt idx="6533">
                  <c:v>1.1394015170459282</c:v>
                </c:pt>
                <c:pt idx="6534">
                  <c:v>1.1668528243171905</c:v>
                </c:pt>
                <c:pt idx="6535">
                  <c:v>1.1465421911033316</c:v>
                </c:pt>
                <c:pt idx="6536">
                  <c:v>1.1490761579283708</c:v>
                </c:pt>
                <c:pt idx="6537">
                  <c:v>1.1466644438887501</c:v>
                </c:pt>
                <c:pt idx="6538">
                  <c:v>1.1550721013586731</c:v>
                </c:pt>
                <c:pt idx="6539">
                  <c:v>1.1667083437526049</c:v>
                </c:pt>
                <c:pt idx="6540">
                  <c:v>1.1614292462004392</c:v>
                </c:pt>
                <c:pt idx="6541">
                  <c:v>1.1437248200939125</c:v>
                </c:pt>
                <c:pt idx="6542">
                  <c:v>1.0985024033786224</c:v>
                </c:pt>
                <c:pt idx="6543">
                  <c:v>1.0319913311661248</c:v>
                </c:pt>
                <c:pt idx="6544">
                  <c:v>0.95196021227529104</c:v>
                </c:pt>
                <c:pt idx="6545">
                  <c:v>0.92558695229362908</c:v>
                </c:pt>
                <c:pt idx="6546">
                  <c:v>1.0009057820010558</c:v>
                </c:pt>
                <c:pt idx="6547">
                  <c:v>1.0497346558861937</c:v>
                </c:pt>
                <c:pt idx="6548">
                  <c:v>1.0512350309799672</c:v>
                </c:pt>
                <c:pt idx="6549">
                  <c:v>1.0342585646411604</c:v>
                </c:pt>
                <c:pt idx="6550">
                  <c:v>0.97418799144230506</c:v>
                </c:pt>
                <c:pt idx="6551">
                  <c:v>1.0106415492762082</c:v>
                </c:pt>
                <c:pt idx="6552">
                  <c:v>1.0130921619293711</c:v>
                </c:pt>
                <c:pt idx="6553">
                  <c:v>0.98239004195493318</c:v>
                </c:pt>
                <c:pt idx="6554">
                  <c:v>1.0323525325775891</c:v>
                </c:pt>
                <c:pt idx="6555">
                  <c:v>1.0042788474896502</c:v>
                </c:pt>
                <c:pt idx="6556">
                  <c:v>1.0150259787169014</c:v>
                </c:pt>
                <c:pt idx="6557">
                  <c:v>1.0246950626545526</c:v>
                </c:pt>
                <c:pt idx="6558">
                  <c:v>1.01654302464505</c:v>
                </c:pt>
                <c:pt idx="6559">
                  <c:v>1.0424439443194133</c:v>
                </c:pt>
                <c:pt idx="6560">
                  <c:v>1.0603039648801089</c:v>
                </c:pt>
                <c:pt idx="6561">
                  <c:v>1.0553693979050318</c:v>
                </c:pt>
                <c:pt idx="6562">
                  <c:v>1.0221666527743047</c:v>
                </c:pt>
                <c:pt idx="6563">
                  <c:v>1.0314189658525743</c:v>
                </c:pt>
                <c:pt idx="6564">
                  <c:v>1.0064460559584338</c:v>
                </c:pt>
                <c:pt idx="6565">
                  <c:v>1.0024394987635796</c:v>
                </c:pt>
                <c:pt idx="6566">
                  <c:v>0.99570448167597458</c:v>
                </c:pt>
                <c:pt idx="6567">
                  <c:v>0.99478202884054356</c:v>
                </c:pt>
                <c:pt idx="6568">
                  <c:v>0.94415826178766915</c:v>
                </c:pt>
                <c:pt idx="6569">
                  <c:v>0.9466700008335418</c:v>
                </c:pt>
                <c:pt idx="6570">
                  <c:v>0.98392375871745719</c:v>
                </c:pt>
                <c:pt idx="6571">
                  <c:v>0.98798032841543715</c:v>
                </c:pt>
                <c:pt idx="6572">
                  <c:v>1.01663749270651</c:v>
                </c:pt>
                <c:pt idx="6573">
                  <c:v>1.0536300741852132</c:v>
                </c:pt>
                <c:pt idx="6574">
                  <c:v>1.0462504515017645</c:v>
                </c:pt>
                <c:pt idx="6575">
                  <c:v>1.0634936511905755</c:v>
                </c:pt>
                <c:pt idx="6576">
                  <c:v>1.0816982023283597</c:v>
                </c:pt>
                <c:pt idx="6577">
                  <c:v>1.083276374649218</c:v>
                </c:pt>
                <c:pt idx="6578">
                  <c:v>1.0859270373148844</c:v>
                </c:pt>
                <c:pt idx="6579">
                  <c:v>1.0718957517157066</c:v>
                </c:pt>
                <c:pt idx="6580">
                  <c:v>1.062243338612431</c:v>
                </c:pt>
                <c:pt idx="6581">
                  <c:v>1.092984357200411</c:v>
                </c:pt>
                <c:pt idx="6582">
                  <c:v>1.1025478591870188</c:v>
                </c:pt>
                <c:pt idx="6583">
                  <c:v>1.1031480092245283</c:v>
                </c:pt>
                <c:pt idx="6584">
                  <c:v>1.1002139423744826</c:v>
                </c:pt>
                <c:pt idx="6585">
                  <c:v>1.0882498402378373</c:v>
                </c:pt>
                <c:pt idx="6586">
                  <c:v>1.1230252007446304</c:v>
                </c:pt>
                <c:pt idx="6587">
                  <c:v>1.1464532799866634</c:v>
                </c:pt>
                <c:pt idx="6588">
                  <c:v>1.1423633686199328</c:v>
                </c:pt>
                <c:pt idx="6589">
                  <c:v>1.1368953349448474</c:v>
                </c:pt>
                <c:pt idx="6590">
                  <c:v>1.1624017115389957</c:v>
                </c:pt>
                <c:pt idx="6591">
                  <c:v>1.1616737517712763</c:v>
                </c:pt>
                <c:pt idx="6592">
                  <c:v>1.1512767080659052</c:v>
                </c:pt>
                <c:pt idx="6593">
                  <c:v>1.1768219832735962</c:v>
                </c:pt>
                <c:pt idx="6594">
                  <c:v>1.1827956989247315</c:v>
                </c:pt>
                <c:pt idx="6595">
                  <c:v>1.175832847100664</c:v>
                </c:pt>
                <c:pt idx="6596">
                  <c:v>1.1738156761412575</c:v>
                </c:pt>
                <c:pt idx="6597">
                  <c:v>1.1733099941652081</c:v>
                </c:pt>
                <c:pt idx="6598">
                  <c:v>1.152410324803423</c:v>
                </c:pt>
                <c:pt idx="6599">
                  <c:v>1.1562223889305661</c:v>
                </c:pt>
                <c:pt idx="6600">
                  <c:v>1.1492650940512905</c:v>
                </c:pt>
                <c:pt idx="6601">
                  <c:v>1.1195798949737434</c:v>
                </c:pt>
                <c:pt idx="6602">
                  <c:v>1.095851740712956</c:v>
                </c:pt>
                <c:pt idx="6603">
                  <c:v>1.1274540857436581</c:v>
                </c:pt>
                <c:pt idx="6604">
                  <c:v>1.1250534855936207</c:v>
                </c:pt>
                <c:pt idx="6605">
                  <c:v>1.1595732266399934</c:v>
                </c:pt>
                <c:pt idx="6606">
                  <c:v>1.1572393098274567</c:v>
                </c:pt>
                <c:pt idx="6607">
                  <c:v>1.1657914478619653</c:v>
                </c:pt>
                <c:pt idx="6608">
                  <c:v>1.1632074685338001</c:v>
                </c:pt>
                <c:pt idx="6609">
                  <c:v>1.1659137006473843</c:v>
                </c:pt>
                <c:pt idx="6610">
                  <c:v>1.1658581311994665</c:v>
                </c:pt>
                <c:pt idx="6611">
                  <c:v>1.1676196826984522</c:v>
                </c:pt>
                <c:pt idx="6612">
                  <c:v>1.157672751521214</c:v>
                </c:pt>
                <c:pt idx="6613">
                  <c:v>1.1808952238059516</c:v>
                </c:pt>
                <c:pt idx="6614">
                  <c:v>1.1574171320607931</c:v>
                </c:pt>
                <c:pt idx="6615">
                  <c:v>1.1264982912394763</c:v>
                </c:pt>
                <c:pt idx="6616">
                  <c:v>1.1701592064682838</c:v>
                </c:pt>
                <c:pt idx="6617">
                  <c:v>1.1551554555305494</c:v>
                </c:pt>
                <c:pt idx="6618">
                  <c:v>1.1413575616126255</c:v>
                </c:pt>
                <c:pt idx="6619">
                  <c:v>1.1249201189186184</c:v>
                </c:pt>
                <c:pt idx="6620">
                  <c:v>1.1299380400655719</c:v>
                </c:pt>
                <c:pt idx="6621">
                  <c:v>1.0889055597232642</c:v>
                </c:pt>
                <c:pt idx="6622">
                  <c:v>1.0989803006307133</c:v>
                </c:pt>
                <c:pt idx="6623">
                  <c:v>1.1212858770248118</c:v>
                </c:pt>
                <c:pt idx="6624">
                  <c:v>1.1522714011836293</c:v>
                </c:pt>
                <c:pt idx="6625">
                  <c:v>1.1202300575143789</c:v>
                </c:pt>
                <c:pt idx="6626">
                  <c:v>1.0824984023783726</c:v>
                </c:pt>
                <c:pt idx="6627">
                  <c:v>1.0989414020171711</c:v>
                </c:pt>
                <c:pt idx="6628">
                  <c:v>1.1176683059653802</c:v>
                </c:pt>
                <c:pt idx="6629">
                  <c:v>1.1441304770637104</c:v>
                </c:pt>
                <c:pt idx="6630">
                  <c:v>1.14070739907199</c:v>
                </c:pt>
                <c:pt idx="6631">
                  <c:v>1.1360562362812927</c:v>
                </c:pt>
                <c:pt idx="6632">
                  <c:v>1.1591786835597788</c:v>
                </c:pt>
                <c:pt idx="6633">
                  <c:v>1.1438137312105807</c:v>
                </c:pt>
                <c:pt idx="6634">
                  <c:v>1.1236420216165151</c:v>
                </c:pt>
                <c:pt idx="6635">
                  <c:v>1.0916284626712232</c:v>
                </c:pt>
                <c:pt idx="6636">
                  <c:v>1.0958406268233727</c:v>
                </c:pt>
                <c:pt idx="6637">
                  <c:v>1.0690950515406632</c:v>
                </c:pt>
                <c:pt idx="6638">
                  <c:v>1.0201105832013559</c:v>
                </c:pt>
                <c:pt idx="6639">
                  <c:v>0.99822733461143054</c:v>
                </c:pt>
                <c:pt idx="6640">
                  <c:v>0.9999277597177072</c:v>
                </c:pt>
                <c:pt idx="6641">
                  <c:v>1.0155372176377426</c:v>
                </c:pt>
                <c:pt idx="6642">
                  <c:v>0.96544691728487697</c:v>
                </c:pt>
                <c:pt idx="6643">
                  <c:v>0.99829401794893191</c:v>
                </c:pt>
                <c:pt idx="6644">
                  <c:v>0.95521658192325876</c:v>
                </c:pt>
                <c:pt idx="6645">
                  <c:v>0.9562668444889002</c:v>
                </c:pt>
                <c:pt idx="6646">
                  <c:v>0.93367786391042218</c:v>
                </c:pt>
                <c:pt idx="6647">
                  <c:v>0.94378594648662184</c:v>
                </c:pt>
                <c:pt idx="6648">
                  <c:v>0.98321802672890457</c:v>
                </c:pt>
                <c:pt idx="6649">
                  <c:v>0.95221583173571189</c:v>
                </c:pt>
                <c:pt idx="6650">
                  <c:v>0.97983384735072665</c:v>
                </c:pt>
                <c:pt idx="6651">
                  <c:v>0.9584507237920592</c:v>
                </c:pt>
                <c:pt idx="6652">
                  <c:v>0.96945347447973118</c:v>
                </c:pt>
                <c:pt idx="6653">
                  <c:v>1.018260120585702</c:v>
                </c:pt>
                <c:pt idx="6654">
                  <c:v>1.0174265788669392</c:v>
                </c:pt>
                <c:pt idx="6655">
                  <c:v>0.97967269595176565</c:v>
                </c:pt>
                <c:pt idx="6656">
                  <c:v>0.99023644800088917</c:v>
                </c:pt>
                <c:pt idx="6657">
                  <c:v>0.99367063988219284</c:v>
                </c:pt>
                <c:pt idx="6658">
                  <c:v>0.95693367786391037</c:v>
                </c:pt>
                <c:pt idx="6659">
                  <c:v>0.92941568725514712</c:v>
                </c:pt>
                <c:pt idx="6660">
                  <c:v>0.9285376899780502</c:v>
                </c:pt>
                <c:pt idx="6661">
                  <c:v>0.9288377649968047</c:v>
                </c:pt>
                <c:pt idx="6662">
                  <c:v>0.90547081214748126</c:v>
                </c:pt>
                <c:pt idx="6663">
                  <c:v>0.94286349365119082</c:v>
                </c:pt>
                <c:pt idx="6664">
                  <c:v>0.97560501236420216</c:v>
                </c:pt>
                <c:pt idx="6665">
                  <c:v>1.0083687588563808</c:v>
                </c:pt>
                <c:pt idx="6666">
                  <c:v>0.99910533188852768</c:v>
                </c:pt>
                <c:pt idx="6667">
                  <c:v>0.99934428051457314</c:v>
                </c:pt>
                <c:pt idx="6668">
                  <c:v>1.0282403934316915</c:v>
                </c:pt>
                <c:pt idx="6669">
                  <c:v>1.0031007751937984</c:v>
                </c:pt>
                <c:pt idx="6670">
                  <c:v>1.0120974688116475</c:v>
                </c:pt>
                <c:pt idx="6671">
                  <c:v>1.0354199661026371</c:v>
                </c:pt>
                <c:pt idx="6672">
                  <c:v>1.0318524075463311</c:v>
                </c:pt>
                <c:pt idx="6673">
                  <c:v>1.0155372176377426</c:v>
                </c:pt>
                <c:pt idx="6674">
                  <c:v>1.0636825873134952</c:v>
                </c:pt>
                <c:pt idx="6675">
                  <c:v>1.0725125725875917</c:v>
                </c:pt>
                <c:pt idx="6676">
                  <c:v>1.0799755494429162</c:v>
                </c:pt>
                <c:pt idx="6677">
                  <c:v>1.0868939457086495</c:v>
                </c:pt>
                <c:pt idx="6678">
                  <c:v>1.0888833319440971</c:v>
                </c:pt>
                <c:pt idx="6679">
                  <c:v>1.0657886693895695</c:v>
                </c:pt>
                <c:pt idx="6680">
                  <c:v>1.0765858131199466</c:v>
                </c:pt>
                <c:pt idx="6681">
                  <c:v>1.0770414825928705</c:v>
                </c:pt>
                <c:pt idx="6682">
                  <c:v>1.1116779194798703</c:v>
                </c:pt>
                <c:pt idx="6683">
                  <c:v>1.1091550665444139</c:v>
                </c:pt>
                <c:pt idx="6684">
                  <c:v>1.1053152176933123</c:v>
                </c:pt>
                <c:pt idx="6685">
                  <c:v>1.1172459781612072</c:v>
                </c:pt>
                <c:pt idx="6686">
                  <c:v>1.1312328082020509</c:v>
                </c:pt>
                <c:pt idx="6687">
                  <c:v>1.1406184879553223</c:v>
                </c:pt>
                <c:pt idx="6688">
                  <c:v>1.1427412408657718</c:v>
                </c:pt>
                <c:pt idx="6689">
                  <c:v>1.1411908532688728</c:v>
                </c:pt>
                <c:pt idx="6690">
                  <c:v>1.1275207690811593</c:v>
                </c:pt>
                <c:pt idx="6691">
                  <c:v>1.1267205690311468</c:v>
                </c:pt>
                <c:pt idx="6692">
                  <c:v>1.1278986413269987</c:v>
                </c:pt>
                <c:pt idx="6693">
                  <c:v>1.147092328637715</c:v>
                </c:pt>
                <c:pt idx="6694">
                  <c:v>1.1566558306243229</c:v>
                </c:pt>
                <c:pt idx="6695">
                  <c:v>1.1522658442388378</c:v>
                </c:pt>
                <c:pt idx="6696">
                  <c:v>1.1659081437025924</c:v>
                </c:pt>
                <c:pt idx="6697">
                  <c:v>1.1594287460754078</c:v>
                </c:pt>
                <c:pt idx="6698">
                  <c:v>1.1375288266511072</c:v>
                </c:pt>
                <c:pt idx="6699">
                  <c:v>1.1607679697702205</c:v>
                </c:pt>
                <c:pt idx="6700">
                  <c:v>1.134967075102109</c:v>
                </c:pt>
                <c:pt idx="6701">
                  <c:v>1.140935233808452</c:v>
                </c:pt>
                <c:pt idx="6702">
                  <c:v>1.1350726570531524</c:v>
                </c:pt>
                <c:pt idx="6703">
                  <c:v>1.1557722764024341</c:v>
                </c:pt>
                <c:pt idx="6704">
                  <c:v>1.1777388791642354</c:v>
                </c:pt>
                <c:pt idx="6705">
                  <c:v>1.1783390292017448</c:v>
                </c:pt>
                <c:pt idx="6706">
                  <c:v>1.1761940485121283</c:v>
                </c:pt>
                <c:pt idx="6707">
                  <c:v>1.1904698396821427</c:v>
                </c:pt>
                <c:pt idx="6708">
                  <c:v>1.1972215276041234</c:v>
                </c:pt>
                <c:pt idx="6709">
                  <c:v>1.1990219777166513</c:v>
                </c:pt>
                <c:pt idx="6710">
                  <c:v>1.1876580256175155</c:v>
                </c:pt>
                <c:pt idx="6711">
                  <c:v>1.1877691645133508</c:v>
                </c:pt>
                <c:pt idx="6712">
                  <c:v>1.1838126198216221</c:v>
                </c:pt>
                <c:pt idx="6713">
                  <c:v>1.1878969742435608</c:v>
                </c:pt>
                <c:pt idx="6714">
                  <c:v>1.1916701397571616</c:v>
                </c:pt>
                <c:pt idx="6715">
                  <c:v>1.1715873412797646</c:v>
                </c:pt>
                <c:pt idx="6716">
                  <c:v>1.1606123753160515</c:v>
                </c:pt>
                <c:pt idx="6717">
                  <c:v>1.177505487482982</c:v>
                </c:pt>
                <c:pt idx="6718">
                  <c:v>1.1586674446389376</c:v>
                </c:pt>
                <c:pt idx="6719">
                  <c:v>1.1463143563668696</c:v>
                </c:pt>
                <c:pt idx="6720">
                  <c:v>1.1463143563668696</c:v>
                </c:pt>
                <c:pt idx="6721">
                  <c:v>1.1534161318107303</c:v>
                </c:pt>
                <c:pt idx="6722">
                  <c:v>1.1550609874690894</c:v>
                </c:pt>
                <c:pt idx="6723">
                  <c:v>1.1820066127643023</c:v>
                </c:pt>
                <c:pt idx="6724">
                  <c:v>1.1622794587535772</c:v>
                </c:pt>
                <c:pt idx="6725">
                  <c:v>1.1621238642994083</c:v>
                </c:pt>
                <c:pt idx="6726">
                  <c:v>1.1439637687199578</c:v>
                </c:pt>
                <c:pt idx="6727">
                  <c:v>1.1651857408796644</c:v>
                </c:pt>
                <c:pt idx="6728">
                  <c:v>1.1454697007585231</c:v>
                </c:pt>
                <c:pt idx="6729">
                  <c:v>1.1462310021949933</c:v>
                </c:pt>
                <c:pt idx="6730">
                  <c:v>1.1382956850323693</c:v>
                </c:pt>
                <c:pt idx="6731">
                  <c:v>1.151510099747159</c:v>
                </c:pt>
                <c:pt idx="6732">
                  <c:v>1.1471034425272988</c:v>
                </c:pt>
                <c:pt idx="6733">
                  <c:v>1.1765274651996331</c:v>
                </c:pt>
                <c:pt idx="6734">
                  <c:v>1.1918424050457057</c:v>
                </c:pt>
                <c:pt idx="6735">
                  <c:v>1.1916868105915368</c:v>
                </c:pt>
                <c:pt idx="6736">
                  <c:v>1.2014781473146066</c:v>
                </c:pt>
                <c:pt idx="6737">
                  <c:v>1.199410963852074</c:v>
                </c:pt>
                <c:pt idx="6738">
                  <c:v>1.2022727904198272</c:v>
                </c:pt>
                <c:pt idx="6739">
                  <c:v>1.2087521880470118</c:v>
                </c:pt>
                <c:pt idx="6740">
                  <c:v>1.2023450307021202</c:v>
                </c:pt>
                <c:pt idx="6741">
                  <c:v>1.2131866299908309</c:v>
                </c:pt>
                <c:pt idx="6742">
                  <c:v>1.2160873551721263</c:v>
                </c:pt>
                <c:pt idx="6743">
                  <c:v>1.2238781917701647</c:v>
                </c:pt>
                <c:pt idx="6744">
                  <c:v>1.2201550387596902</c:v>
                </c:pt>
                <c:pt idx="6745">
                  <c:v>1.1998166208218719</c:v>
                </c:pt>
                <c:pt idx="6746">
                  <c:v>1.1826178766913951</c:v>
                </c:pt>
                <c:pt idx="6747">
                  <c:v>1.1788391542330028</c:v>
                </c:pt>
                <c:pt idx="6748">
                  <c:v>1.1749993053819012</c:v>
                </c:pt>
                <c:pt idx="6749">
                  <c:v>1.182173321108055</c:v>
                </c:pt>
                <c:pt idx="6750">
                  <c:v>1.1750715456641938</c:v>
                </c:pt>
                <c:pt idx="6751">
                  <c:v>1.1877191520102248</c:v>
                </c:pt>
                <c:pt idx="6752">
                  <c:v>1.193848462115529</c:v>
                </c:pt>
                <c:pt idx="6753">
                  <c:v>1.1902420049456808</c:v>
                </c:pt>
                <c:pt idx="6754">
                  <c:v>1.219543774832597</c:v>
                </c:pt>
                <c:pt idx="6755">
                  <c:v>1.1398127309605179</c:v>
                </c:pt>
                <c:pt idx="6756">
                  <c:v>1.1010919396515795</c:v>
                </c:pt>
                <c:pt idx="6757">
                  <c:v>1.1388958350698788</c:v>
                </c:pt>
                <c:pt idx="6758">
                  <c:v>1.1755994554194102</c:v>
                </c:pt>
                <c:pt idx="6759">
                  <c:v>1.2051123892084132</c:v>
                </c:pt>
                <c:pt idx="6760">
                  <c:v>1.2098191214470284</c:v>
                </c:pt>
                <c:pt idx="6761">
                  <c:v>1.1948375982884611</c:v>
                </c:pt>
                <c:pt idx="6762">
                  <c:v>1.2073629518490736</c:v>
                </c:pt>
                <c:pt idx="6763">
                  <c:v>1.2056569697980053</c:v>
                </c:pt>
                <c:pt idx="6764">
                  <c:v>1.2393098274568644</c:v>
                </c:pt>
                <c:pt idx="6765">
                  <c:v>1.2469450696007334</c:v>
                </c:pt>
                <c:pt idx="6766">
                  <c:v>1.2627045650301465</c:v>
                </c:pt>
                <c:pt idx="6767">
                  <c:v>1.2632158039509878</c:v>
                </c:pt>
                <c:pt idx="6768">
                  <c:v>1.2751687921980497</c:v>
                </c:pt>
                <c:pt idx="6769">
                  <c:v>1.2730627101219749</c:v>
                </c:pt>
                <c:pt idx="6770">
                  <c:v>1.2785696424106026</c:v>
                </c:pt>
                <c:pt idx="6771">
                  <c:v>1.2753521713761775</c:v>
                </c:pt>
                <c:pt idx="6772">
                  <c:v>1.2853546720013336</c:v>
                </c:pt>
                <c:pt idx="6773">
                  <c:v>1.2771359506543303</c:v>
                </c:pt>
                <c:pt idx="6774">
                  <c:v>1.2875163235253257</c:v>
                </c:pt>
                <c:pt idx="6775">
                  <c:v>1.280642382817927</c:v>
                </c:pt>
                <c:pt idx="6776">
                  <c:v>1.281442582867939</c:v>
                </c:pt>
                <c:pt idx="6777">
                  <c:v>1.2787974771470649</c:v>
                </c:pt>
                <c:pt idx="6778">
                  <c:v>1.2826539968325417</c:v>
                </c:pt>
                <c:pt idx="6779">
                  <c:v>1.2864104915117669</c:v>
                </c:pt>
                <c:pt idx="6780">
                  <c:v>1.2835042093856797</c:v>
                </c:pt>
                <c:pt idx="6781">
                  <c:v>1.2690394820927455</c:v>
                </c:pt>
                <c:pt idx="6782">
                  <c:v>1.2768469895251591</c:v>
                </c:pt>
                <c:pt idx="6783">
                  <c:v>1.2779083659803843</c:v>
                </c:pt>
                <c:pt idx="6784">
                  <c:v>1.297552165819233</c:v>
                </c:pt>
                <c:pt idx="6785">
                  <c:v>1.2956794754244116</c:v>
                </c:pt>
                <c:pt idx="6786">
                  <c:v>1.2966630546525519</c:v>
                </c:pt>
                <c:pt idx="6787">
                  <c:v>1.2909338445722542</c:v>
                </c:pt>
                <c:pt idx="6788">
                  <c:v>1.3020866327693037</c:v>
                </c:pt>
                <c:pt idx="6789">
                  <c:v>1.3003695368286516</c:v>
                </c:pt>
                <c:pt idx="6790">
                  <c:v>1.3070712122475063</c:v>
                </c:pt>
                <c:pt idx="6791">
                  <c:v>1.2948403767608569</c:v>
                </c:pt>
                <c:pt idx="6792">
                  <c:v>1.2996971465088496</c:v>
                </c:pt>
                <c:pt idx="6793">
                  <c:v>1.3048206496068464</c:v>
                </c:pt>
                <c:pt idx="6794">
                  <c:v>1.3018143424745072</c:v>
                </c:pt>
                <c:pt idx="6795">
                  <c:v>1.3005584729515713</c:v>
                </c:pt>
                <c:pt idx="6796">
                  <c:v>1.3051096107360172</c:v>
                </c:pt>
                <c:pt idx="6797">
                  <c:v>1.2931566224889552</c:v>
                </c:pt>
                <c:pt idx="6798">
                  <c:v>1.2900669611847406</c:v>
                </c:pt>
                <c:pt idx="6799">
                  <c:v>1.286504959573227</c:v>
                </c:pt>
                <c:pt idx="6800">
                  <c:v>1.2987691367286267</c:v>
                </c:pt>
                <c:pt idx="6801">
                  <c:v>1.2946514406379372</c:v>
                </c:pt>
                <c:pt idx="6802">
                  <c:v>1.2896224056014005</c:v>
                </c:pt>
                <c:pt idx="6803">
                  <c:v>1.2895557222638994</c:v>
                </c:pt>
                <c:pt idx="6804">
                  <c:v>1.2992970464838431</c:v>
                </c:pt>
                <c:pt idx="6805">
                  <c:v>1.306193214970409</c:v>
                </c:pt>
                <c:pt idx="6806">
                  <c:v>1.3064154927620795</c:v>
                </c:pt>
                <c:pt idx="6807">
                  <c:v>1.3013864577255427</c:v>
                </c:pt>
                <c:pt idx="6808">
                  <c:v>1.2449779111444528</c:v>
                </c:pt>
                <c:pt idx="6809">
                  <c:v>1.2780528465449699</c:v>
                </c:pt>
                <c:pt idx="6810">
                  <c:v>1.2449612403100776</c:v>
                </c:pt>
                <c:pt idx="6811">
                  <c:v>1.2437998388486009</c:v>
                </c:pt>
                <c:pt idx="6812">
                  <c:v>1.2668556027895863</c:v>
                </c:pt>
                <c:pt idx="6813">
                  <c:v>1.2583256925342448</c:v>
                </c:pt>
                <c:pt idx="6814">
                  <c:v>1.2583090216998696</c:v>
                </c:pt>
                <c:pt idx="6815">
                  <c:v>1.2590091967436301</c:v>
                </c:pt>
                <c:pt idx="6816">
                  <c:v>1.2836987024533912</c:v>
                </c:pt>
                <c:pt idx="6817">
                  <c:v>1.298580200605707</c:v>
                </c:pt>
                <c:pt idx="6818">
                  <c:v>1.2853991275596677</c:v>
                </c:pt>
                <c:pt idx="6819">
                  <c:v>1.2659609346781142</c:v>
                </c:pt>
                <c:pt idx="6820">
                  <c:v>1.2806701675418859</c:v>
                </c:pt>
                <c:pt idx="6821">
                  <c:v>1.2932566474952072</c:v>
                </c:pt>
                <c:pt idx="6822">
                  <c:v>1.2719402072740409</c:v>
                </c:pt>
                <c:pt idx="6823">
                  <c:v>1.2900502903503654</c:v>
                </c:pt>
                <c:pt idx="6824">
                  <c:v>1.2828651607346284</c:v>
                </c:pt>
                <c:pt idx="6825">
                  <c:v>1.2717734989302882</c:v>
                </c:pt>
                <c:pt idx="6826">
                  <c:v>1.2824595037648301</c:v>
                </c:pt>
                <c:pt idx="6827">
                  <c:v>1.2836209052263063</c:v>
                </c:pt>
                <c:pt idx="6828">
                  <c:v>1.2762635103220252</c:v>
                </c:pt>
                <c:pt idx="6829">
                  <c:v>1.2867494651440636</c:v>
                </c:pt>
                <c:pt idx="6830">
                  <c:v>1.2582979078102858</c:v>
                </c:pt>
                <c:pt idx="6831">
                  <c:v>1.2610763802061626</c:v>
                </c:pt>
                <c:pt idx="6832">
                  <c:v>1.254146870050846</c:v>
                </c:pt>
                <c:pt idx="6833">
                  <c:v>1.2546080964685618</c:v>
                </c:pt>
                <c:pt idx="6834">
                  <c:v>1.2478230668778307</c:v>
                </c:pt>
                <c:pt idx="6835">
                  <c:v>1.2616709732988802</c:v>
                </c:pt>
                <c:pt idx="6836">
                  <c:v>1.2669556277958378</c:v>
                </c:pt>
                <c:pt idx="6837">
                  <c:v>1.263999333166625</c:v>
                </c:pt>
                <c:pt idx="6838">
                  <c:v>1.2638159539884972</c:v>
                </c:pt>
                <c:pt idx="6839">
                  <c:v>1.2745797560501235</c:v>
                </c:pt>
                <c:pt idx="6840">
                  <c:v>1.2660109471812397</c:v>
                </c:pt>
                <c:pt idx="6841">
                  <c:v>1.2620988580478456</c:v>
                </c:pt>
                <c:pt idx="6842">
                  <c:v>1.2554249673529494</c:v>
                </c:pt>
                <c:pt idx="6843">
                  <c:v>1.2485399127559669</c:v>
                </c:pt>
                <c:pt idx="6844">
                  <c:v>1.2482787363507541</c:v>
                </c:pt>
                <c:pt idx="6845">
                  <c:v>1.233041593731766</c:v>
                </c:pt>
                <c:pt idx="6846">
                  <c:v>1.2187546886721683</c:v>
                </c:pt>
                <c:pt idx="6847">
                  <c:v>1.2097524381095273</c:v>
                </c:pt>
                <c:pt idx="6848">
                  <c:v>1.2061181962157206</c:v>
                </c:pt>
                <c:pt idx="6849">
                  <c:v>1.2551749048373204</c:v>
                </c:pt>
                <c:pt idx="6850">
                  <c:v>1.2647939762718461</c:v>
                </c:pt>
                <c:pt idx="6851">
                  <c:v>1.2900336195159898</c:v>
                </c:pt>
                <c:pt idx="6852">
                  <c:v>1.2947181239754384</c:v>
                </c:pt>
                <c:pt idx="6853">
                  <c:v>1.2915117668305962</c:v>
                </c:pt>
                <c:pt idx="6854">
                  <c:v>1.2915784501680978</c:v>
                </c:pt>
                <c:pt idx="6855">
                  <c:v>1.3092550915506656</c:v>
                </c:pt>
                <c:pt idx="6856">
                  <c:v>1.3062487844183268</c:v>
                </c:pt>
                <c:pt idx="6857">
                  <c:v>1.3171737378789143</c:v>
                </c:pt>
                <c:pt idx="6858">
                  <c:v>1.3120113361673753</c:v>
                </c:pt>
                <c:pt idx="6859">
                  <c:v>1.3292934344697289</c:v>
                </c:pt>
                <c:pt idx="6860">
                  <c:v>1.3344447222916842</c:v>
                </c:pt>
                <c:pt idx="6861">
                  <c:v>1.3364118807479648</c:v>
                </c:pt>
                <c:pt idx="6862">
                  <c:v>1.3455975104887337</c:v>
                </c:pt>
                <c:pt idx="6863">
                  <c:v>1.3335778389041706</c:v>
                </c:pt>
                <c:pt idx="6864">
                  <c:v>1.3372454224667276</c:v>
                </c:pt>
                <c:pt idx="6865">
                  <c:v>1.3315439971103884</c:v>
                </c:pt>
                <c:pt idx="6866">
                  <c:v>1.3234419716040118</c:v>
                </c:pt>
                <c:pt idx="6867">
                  <c:v>1.3243644244394437</c:v>
                </c:pt>
                <c:pt idx="6868">
                  <c:v>1.3381234197438245</c:v>
                </c:pt>
                <c:pt idx="6869">
                  <c:v>1.3461643188574923</c:v>
                </c:pt>
                <c:pt idx="6870">
                  <c:v>1.3775054874829817</c:v>
                </c:pt>
                <c:pt idx="6871">
                  <c:v>1.3828734961518161</c:v>
                </c:pt>
                <c:pt idx="6872">
                  <c:v>1.3970492623155786</c:v>
                </c:pt>
                <c:pt idx="6873">
                  <c:v>1.39445416909783</c:v>
                </c:pt>
                <c:pt idx="6874">
                  <c:v>1.410524853435581</c:v>
                </c:pt>
                <c:pt idx="6875">
                  <c:v>1.3911144452779864</c:v>
                </c:pt>
                <c:pt idx="6876">
                  <c:v>1.4005112389208416</c:v>
                </c:pt>
                <c:pt idx="6877">
                  <c:v>1.3963768719957765</c:v>
                </c:pt>
                <c:pt idx="6878">
                  <c:v>1.4011669584062685</c:v>
                </c:pt>
                <c:pt idx="6879">
                  <c:v>1.4102470061959935</c:v>
                </c:pt>
                <c:pt idx="6880">
                  <c:v>1.4044066572198606</c:v>
                </c:pt>
                <c:pt idx="6881">
                  <c:v>1.4002278347364618</c:v>
                </c:pt>
                <c:pt idx="6882">
                  <c:v>1.4034730904948463</c:v>
                </c:pt>
                <c:pt idx="6883">
                  <c:v>1.4088966686115976</c:v>
                </c:pt>
                <c:pt idx="6884">
                  <c:v>1.3891806284904558</c:v>
                </c:pt>
                <c:pt idx="6885">
                  <c:v>1.3885915923425305</c:v>
                </c:pt>
                <c:pt idx="6886">
                  <c:v>1.3776277402684003</c:v>
                </c:pt>
                <c:pt idx="6887">
                  <c:v>1.3978661331999667</c:v>
                </c:pt>
                <c:pt idx="6888">
                  <c:v>1.4121308104803978</c:v>
                </c:pt>
                <c:pt idx="6889">
                  <c:v>1.4102970186991191</c:v>
                </c:pt>
                <c:pt idx="6890">
                  <c:v>1.4195215470534301</c:v>
                </c:pt>
                <c:pt idx="6891">
                  <c:v>1.4109471812397545</c:v>
                </c:pt>
                <c:pt idx="6892">
                  <c:v>1.4109582951293382</c:v>
                </c:pt>
                <c:pt idx="6893">
                  <c:v>1.4180045011252811</c:v>
                </c:pt>
                <c:pt idx="6894">
                  <c:v>1.4128754410824929</c:v>
                </c:pt>
                <c:pt idx="6895">
                  <c:v>1.4173321108054791</c:v>
                </c:pt>
                <c:pt idx="6896">
                  <c:v>1.4101580950793253</c:v>
                </c:pt>
                <c:pt idx="6897">
                  <c:v>1.4148092578700231</c:v>
                </c:pt>
                <c:pt idx="6898">
                  <c:v>1.4061348670500959</c:v>
                </c:pt>
                <c:pt idx="6899">
                  <c:v>1.4143091328387651</c:v>
                </c:pt>
                <c:pt idx="6900">
                  <c:v>1.4078797477147069</c:v>
                </c:pt>
                <c:pt idx="6901">
                  <c:v>1.423694812592037</c:v>
                </c:pt>
                <c:pt idx="6902">
                  <c:v>1.4431496763079656</c:v>
                </c:pt>
                <c:pt idx="6903">
                  <c:v>1.4414047956433556</c:v>
                </c:pt>
                <c:pt idx="6904">
                  <c:v>1.4394154094079079</c:v>
                </c:pt>
                <c:pt idx="6905">
                  <c:v>1.424867327943097</c:v>
                </c:pt>
                <c:pt idx="6906">
                  <c:v>1.4227223472534805</c:v>
                </c:pt>
                <c:pt idx="6907">
                  <c:v>1.423994887610792</c:v>
                </c:pt>
                <c:pt idx="6908">
                  <c:v>1.4255230474285239</c:v>
                </c:pt>
                <c:pt idx="6909">
                  <c:v>1.4433608402100524</c:v>
                </c:pt>
                <c:pt idx="6910">
                  <c:v>1.4382039954433052</c:v>
                </c:pt>
                <c:pt idx="6911">
                  <c:v>1.4388708288183159</c:v>
                </c:pt>
                <c:pt idx="6912">
                  <c:v>1.4413381123058544</c:v>
                </c:pt>
                <c:pt idx="6913">
                  <c:v>1.4558361812675389</c:v>
                </c:pt>
                <c:pt idx="6914">
                  <c:v>1.4647384068239284</c:v>
                </c:pt>
                <c:pt idx="6915">
                  <c:v>1.4783029090605986</c:v>
                </c:pt>
                <c:pt idx="6916">
                  <c:v>1.4889444583368063</c:v>
                </c:pt>
                <c:pt idx="6917">
                  <c:v>1.5017309883026311</c:v>
                </c:pt>
                <c:pt idx="6918">
                  <c:v>1.4998249562390602</c:v>
                </c:pt>
                <c:pt idx="6919">
                  <c:v>1.5040704620599592</c:v>
                </c:pt>
                <c:pt idx="6920">
                  <c:v>1.5192186935622796</c:v>
                </c:pt>
                <c:pt idx="6921">
                  <c:v>1.5167236253507825</c:v>
                </c:pt>
                <c:pt idx="6922">
                  <c:v>1.5180684059903866</c:v>
                </c:pt>
                <c:pt idx="6923">
                  <c:v>1.5224361645967046</c:v>
                </c:pt>
                <c:pt idx="6924">
                  <c:v>1.5253591175571675</c:v>
                </c:pt>
                <c:pt idx="6925">
                  <c:v>1.5189241754883169</c:v>
                </c:pt>
                <c:pt idx="6926">
                  <c:v>1.5538217887805281</c:v>
                </c:pt>
                <c:pt idx="6927">
                  <c:v>1.5390625434136314</c:v>
                </c:pt>
                <c:pt idx="6928">
                  <c:v>1.5404128809980278</c:v>
                </c:pt>
                <c:pt idx="6929">
                  <c:v>1.5321441471478985</c:v>
                </c:pt>
                <c:pt idx="6930">
                  <c:v>1.524936789752994</c:v>
                </c:pt>
                <c:pt idx="6931">
                  <c:v>1.5198966408268735</c:v>
                </c:pt>
                <c:pt idx="6932">
                  <c:v>1.5219415965102385</c:v>
                </c:pt>
                <c:pt idx="6933">
                  <c:v>1.5302325581395348</c:v>
                </c:pt>
                <c:pt idx="6934">
                  <c:v>1.5319885526937287</c:v>
                </c:pt>
                <c:pt idx="6935">
                  <c:v>1.5235531104998472</c:v>
                </c:pt>
                <c:pt idx="6936">
                  <c:v>1.544769525714762</c:v>
                </c:pt>
                <c:pt idx="6937">
                  <c:v>1.5407240699063656</c:v>
                </c:pt>
                <c:pt idx="6938">
                  <c:v>1.5373954599761053</c:v>
                </c:pt>
                <c:pt idx="6939">
                  <c:v>1.5323664249395681</c:v>
                </c:pt>
                <c:pt idx="6940">
                  <c:v>1.5011697368786638</c:v>
                </c:pt>
                <c:pt idx="6941">
                  <c:v>1.5059876080131143</c:v>
                </c:pt>
                <c:pt idx="6942">
                  <c:v>1.5033591731266149</c:v>
                </c:pt>
                <c:pt idx="6943">
                  <c:v>1.5012419771609569</c:v>
                </c:pt>
                <c:pt idx="6944">
                  <c:v>1.4986968964463339</c:v>
                </c:pt>
                <c:pt idx="6945">
                  <c:v>1.5168347642466173</c:v>
                </c:pt>
                <c:pt idx="6946">
                  <c:v>1.5200800200050013</c:v>
                </c:pt>
                <c:pt idx="6947">
                  <c:v>1.52755411074991</c:v>
                </c:pt>
                <c:pt idx="6948">
                  <c:v>1.5218582423383626</c:v>
                </c:pt>
                <c:pt idx="6949">
                  <c:v>1.5178405712539242</c:v>
                </c:pt>
                <c:pt idx="6950">
                  <c:v>1.5196576922008282</c:v>
                </c:pt>
                <c:pt idx="6951">
                  <c:v>1.5122169431246699</c:v>
                </c:pt>
                <c:pt idx="6952">
                  <c:v>1.5178127865299662</c:v>
                </c:pt>
                <c:pt idx="6953">
                  <c:v>1.5157400461226418</c:v>
                </c:pt>
                <c:pt idx="6954">
                  <c:v>1.5176127365174628</c:v>
                </c:pt>
                <c:pt idx="6955">
                  <c:v>1.514356366869495</c:v>
                </c:pt>
                <c:pt idx="6956">
                  <c:v>1.5049373454474733</c:v>
                </c:pt>
                <c:pt idx="6957">
                  <c:v>1.4878830818815816</c:v>
                </c:pt>
                <c:pt idx="6958">
                  <c:v>1.5093217748881664</c:v>
                </c:pt>
                <c:pt idx="6959">
                  <c:v>1.5021033036036786</c:v>
                </c:pt>
                <c:pt idx="6960">
                  <c:v>1.4981578728015341</c:v>
                </c:pt>
                <c:pt idx="6961">
                  <c:v>1.5171014975966211</c:v>
                </c:pt>
                <c:pt idx="6962">
                  <c:v>1.5094606985079602</c:v>
                </c:pt>
                <c:pt idx="6963">
                  <c:v>1.5367063988219281</c:v>
                </c:pt>
                <c:pt idx="6964">
                  <c:v>1.5521602622877939</c:v>
                </c:pt>
                <c:pt idx="6965">
                  <c:v>1.5509488483231921</c:v>
                </c:pt>
                <c:pt idx="6966">
                  <c:v>1.5526214887055096</c:v>
                </c:pt>
                <c:pt idx="6967">
                  <c:v>1.5477591620127251</c:v>
                </c:pt>
                <c:pt idx="6968">
                  <c:v>1.552182490066961</c:v>
                </c:pt>
                <c:pt idx="6969">
                  <c:v>1.5552165819232586</c:v>
                </c:pt>
                <c:pt idx="6970">
                  <c:v>1.5524825650857159</c:v>
                </c:pt>
                <c:pt idx="6971">
                  <c:v>1.5541051929649079</c:v>
                </c:pt>
                <c:pt idx="6972">
                  <c:v>1.5645800338973634</c:v>
                </c:pt>
                <c:pt idx="6973">
                  <c:v>1.5649356783640354</c:v>
                </c:pt>
                <c:pt idx="6974">
                  <c:v>1.5624239393181631</c:v>
                </c:pt>
                <c:pt idx="6975">
                  <c:v>1.5663026867828065</c:v>
                </c:pt>
                <c:pt idx="6976">
                  <c:v>1.5615792837098161</c:v>
                </c:pt>
                <c:pt idx="6977">
                  <c:v>1.5578394598649665</c:v>
                </c:pt>
                <c:pt idx="6978">
                  <c:v>1.5703703703703704</c:v>
                </c:pt>
                <c:pt idx="6979">
                  <c:v>1.569120057792226</c:v>
                </c:pt>
                <c:pt idx="6980">
                  <c:v>1.5231752382540078</c:v>
                </c:pt>
                <c:pt idx="6981">
                  <c:v>1.5325275763385289</c:v>
                </c:pt>
                <c:pt idx="6982">
                  <c:v>1.5497207635242147</c:v>
                </c:pt>
                <c:pt idx="6983">
                  <c:v>1.5629296212942125</c:v>
                </c:pt>
                <c:pt idx="6984">
                  <c:v>1.567697479925537</c:v>
                </c:pt>
                <c:pt idx="6985">
                  <c:v>1.5741824344975131</c:v>
                </c:pt>
                <c:pt idx="6986">
                  <c:v>1.5859742713456142</c:v>
                </c:pt>
                <c:pt idx="6987">
                  <c:v>1.5871190019727153</c:v>
                </c:pt>
                <c:pt idx="6988">
                  <c:v>1.5844016559695482</c:v>
                </c:pt>
                <c:pt idx="6989">
                  <c:v>1.583612569809119</c:v>
                </c:pt>
                <c:pt idx="6990">
                  <c:v>1.6034897613292212</c:v>
                </c:pt>
                <c:pt idx="6991">
                  <c:v>1.6131866299908313</c:v>
                </c:pt>
                <c:pt idx="6992">
                  <c:v>1.6100969686866162</c:v>
                </c:pt>
                <c:pt idx="6993">
                  <c:v>1.6028507126781695</c:v>
                </c:pt>
                <c:pt idx="6994">
                  <c:v>1.6074796476897002</c:v>
                </c:pt>
                <c:pt idx="6995">
                  <c:v>1.6082465060709623</c:v>
                </c:pt>
                <c:pt idx="6996">
                  <c:v>1.606090411491762</c:v>
                </c:pt>
                <c:pt idx="6997">
                  <c:v>1.6037287099552668</c:v>
                </c:pt>
                <c:pt idx="6998">
                  <c:v>1.6161429246200441</c:v>
                </c:pt>
                <c:pt idx="6999">
                  <c:v>1.613725653635631</c:v>
                </c:pt>
                <c:pt idx="7000">
                  <c:v>1.6083520880220052</c:v>
                </c:pt>
                <c:pt idx="7001">
                  <c:v>1.6091133894584755</c:v>
                </c:pt>
                <c:pt idx="7002">
                  <c:v>1.6309243977661079</c:v>
                </c:pt>
                <c:pt idx="7003">
                  <c:v>1.6133311105554164</c:v>
                </c:pt>
                <c:pt idx="7004">
                  <c:v>1.6120418993637298</c:v>
                </c:pt>
                <c:pt idx="7005">
                  <c:v>1.6108749409574616</c:v>
                </c:pt>
                <c:pt idx="7006">
                  <c:v>1.6149481814898166</c:v>
                </c:pt>
                <c:pt idx="7007">
                  <c:v>1.6158039509877473</c:v>
                </c:pt>
                <c:pt idx="7008">
                  <c:v>1.594687560779084</c:v>
                </c:pt>
                <c:pt idx="7009">
                  <c:v>1.6180600705731987</c:v>
                </c:pt>
                <c:pt idx="7010">
                  <c:v>1.5956266844488902</c:v>
                </c:pt>
                <c:pt idx="7011">
                  <c:v>1.5997388235947874</c:v>
                </c:pt>
                <c:pt idx="7012">
                  <c:v>1.6059903864855101</c:v>
                </c:pt>
                <c:pt idx="7013">
                  <c:v>1.6102859048095359</c:v>
                </c:pt>
                <c:pt idx="7014">
                  <c:v>1.5867689144508352</c:v>
                </c:pt>
                <c:pt idx="7015">
                  <c:v>1.6033619515990112</c:v>
                </c:pt>
                <c:pt idx="7016">
                  <c:v>1.6057903364730071</c:v>
                </c:pt>
                <c:pt idx="7017">
                  <c:v>1.6037842794031842</c:v>
                </c:pt>
                <c:pt idx="7018">
                  <c:v>1.623033536161818</c:v>
                </c:pt>
                <c:pt idx="7019">
                  <c:v>1.6280181156400211</c:v>
                </c:pt>
                <c:pt idx="7020">
                  <c:v>1.6403434191881305</c:v>
                </c:pt>
                <c:pt idx="7021">
                  <c:v>1.6402878497402127</c:v>
                </c:pt>
                <c:pt idx="7022">
                  <c:v>1.6419215915089889</c:v>
                </c:pt>
                <c:pt idx="7023">
                  <c:v>1.6563585340779641</c:v>
                </c:pt>
                <c:pt idx="7024">
                  <c:v>1.6561306993415021</c:v>
                </c:pt>
                <c:pt idx="7025">
                  <c:v>1.6551471201133614</c:v>
                </c:pt>
                <c:pt idx="7026">
                  <c:v>1.6523853185518607</c:v>
                </c:pt>
                <c:pt idx="7027">
                  <c:v>1.6601316995915645</c:v>
                </c:pt>
                <c:pt idx="7028">
                  <c:v>1.6608930010280347</c:v>
                </c:pt>
                <c:pt idx="7029">
                  <c:v>1.6585868689394574</c:v>
                </c:pt>
                <c:pt idx="7030">
                  <c:v>1.6551193353894034</c:v>
                </c:pt>
                <c:pt idx="7031">
                  <c:v>1.6531966324914564</c:v>
                </c:pt>
                <c:pt idx="7032">
                  <c:v>1.6597038148426</c:v>
                </c:pt>
                <c:pt idx="7033">
                  <c:v>1.6615209357895031</c:v>
                </c:pt>
                <c:pt idx="7034">
                  <c:v>1.6562140535133785</c:v>
                </c:pt>
                <c:pt idx="7035">
                  <c:v>1.6612819871634574</c:v>
                </c:pt>
                <c:pt idx="7036">
                  <c:v>1.6657386568864441</c:v>
                </c:pt>
                <c:pt idx="7037">
                  <c:v>1.6596204606707232</c:v>
                </c:pt>
                <c:pt idx="7038">
                  <c:v>1.6589647411852964</c:v>
                </c:pt>
                <c:pt idx="7039">
                  <c:v>1.6214331360617931</c:v>
                </c:pt>
                <c:pt idx="7040">
                  <c:v>1.6249506821149731</c:v>
                </c:pt>
                <c:pt idx="7041">
                  <c:v>1.6514573087716378</c:v>
                </c:pt>
                <c:pt idx="7042">
                  <c:v>1.6507460198382926</c:v>
                </c:pt>
                <c:pt idx="7043">
                  <c:v>1.6552638159539885</c:v>
                </c:pt>
                <c:pt idx="7044">
                  <c:v>1.6143924870106412</c:v>
                </c:pt>
                <c:pt idx="7045">
                  <c:v>1.6096635269928594</c:v>
                </c:pt>
                <c:pt idx="7046">
                  <c:v>1.6127754160762411</c:v>
                </c:pt>
                <c:pt idx="7047">
                  <c:v>1.6388430440943567</c:v>
                </c:pt>
                <c:pt idx="7048">
                  <c:v>1.6299686032619269</c:v>
                </c:pt>
                <c:pt idx="7049">
                  <c:v>1.6245616959795504</c:v>
                </c:pt>
                <c:pt idx="7050">
                  <c:v>1.6292462004389989</c:v>
                </c:pt>
                <c:pt idx="7051">
                  <c:v>1.630640993581729</c:v>
                </c:pt>
                <c:pt idx="7052">
                  <c:v>1.6332249729098942</c:v>
                </c:pt>
                <c:pt idx="7053">
                  <c:v>1.6460615153788449</c:v>
                </c:pt>
                <c:pt idx="7054">
                  <c:v>1.6613208857770001</c:v>
                </c:pt>
                <c:pt idx="7055">
                  <c:v>1.6667722486177099</c:v>
                </c:pt>
                <c:pt idx="7056">
                  <c:v>1.6466338806923955</c:v>
                </c:pt>
                <c:pt idx="7057">
                  <c:v>1.6549359562112751</c:v>
                </c:pt>
                <c:pt idx="7058">
                  <c:v>1.6550693228862774</c:v>
                </c:pt>
                <c:pt idx="7059">
                  <c:v>1.6512294740351758</c:v>
                </c:pt>
                <c:pt idx="7060">
                  <c:v>1.6800033341668752</c:v>
                </c:pt>
                <c:pt idx="7061">
                  <c:v>1.6891778500180603</c:v>
                </c:pt>
                <c:pt idx="7062">
                  <c:v>1.6912505904253843</c:v>
                </c:pt>
                <c:pt idx="7063">
                  <c:v>1.6891667361284766</c:v>
                </c:pt>
                <c:pt idx="7064">
                  <c:v>1.6944736184046012</c:v>
                </c:pt>
                <c:pt idx="7065">
                  <c:v>1.6984968464338306</c:v>
                </c:pt>
                <c:pt idx="7066">
                  <c:v>1.7015198244005449</c:v>
                </c:pt>
                <c:pt idx="7067">
                  <c:v>1.7032369203411961</c:v>
                </c:pt>
                <c:pt idx="7068">
                  <c:v>1.6950904392764858</c:v>
                </c:pt>
                <c:pt idx="7069">
                  <c:v>1.6968964463338057</c:v>
                </c:pt>
                <c:pt idx="7070">
                  <c:v>1.6909005029035038</c:v>
                </c:pt>
                <c:pt idx="7071">
                  <c:v>1.6913061598733021</c:v>
                </c:pt>
                <c:pt idx="7072">
                  <c:v>1.7023033536161822</c:v>
                </c:pt>
                <c:pt idx="7073">
                  <c:v>1.7061265316329086</c:v>
                </c:pt>
                <c:pt idx="7074">
                  <c:v>1.7162179433747329</c:v>
                </c:pt>
                <c:pt idx="7075">
                  <c:v>1.7267483537551054</c:v>
                </c:pt>
                <c:pt idx="7076">
                  <c:v>1.732755411074991</c:v>
                </c:pt>
                <c:pt idx="7077">
                  <c:v>1.7363451974104636</c:v>
                </c:pt>
                <c:pt idx="7078">
                  <c:v>1.7522714011836293</c:v>
                </c:pt>
                <c:pt idx="7079">
                  <c:v>1.7501819899419302</c:v>
                </c:pt>
                <c:pt idx="7080">
                  <c:v>1.7452196382428942</c:v>
                </c:pt>
                <c:pt idx="7081">
                  <c:v>1.7516712511461203</c:v>
                </c:pt>
                <c:pt idx="7082">
                  <c:v>1.7566836153482814</c:v>
                </c:pt>
                <c:pt idx="7083">
                  <c:v>1.7522714011836293</c:v>
                </c:pt>
                <c:pt idx="7084">
                  <c:v>1.7547275707815846</c:v>
                </c:pt>
                <c:pt idx="7085">
                  <c:v>1.7596065683087438</c:v>
                </c:pt>
                <c:pt idx="7086">
                  <c:v>1.7614570309243978</c:v>
                </c:pt>
                <c:pt idx="7087">
                  <c:v>1.7636242393931814</c:v>
                </c:pt>
                <c:pt idx="7088">
                  <c:v>1.7647578561306991</c:v>
                </c:pt>
                <c:pt idx="7089">
                  <c:v>1.7790892167486314</c:v>
                </c:pt>
                <c:pt idx="7090">
                  <c:v>1.7681198077297102</c:v>
                </c:pt>
                <c:pt idx="7091">
                  <c:v>1.7726709455141565</c:v>
                </c:pt>
                <c:pt idx="7092">
                  <c:v>1.7597399349837461</c:v>
                </c:pt>
                <c:pt idx="7093">
                  <c:v>1.7632463671473428</c:v>
                </c:pt>
                <c:pt idx="7094">
                  <c:v>1.7855575004862327</c:v>
                </c:pt>
                <c:pt idx="7095">
                  <c:v>1.776888666611097</c:v>
                </c:pt>
                <c:pt idx="7096">
                  <c:v>1.7796004556694727</c:v>
                </c:pt>
                <c:pt idx="7097">
                  <c:v>1.7840237837237085</c:v>
                </c:pt>
                <c:pt idx="7098">
                  <c:v>1.7848517684976799</c:v>
                </c:pt>
                <c:pt idx="7099">
                  <c:v>1.7937484371092771</c:v>
                </c:pt>
                <c:pt idx="7100">
                  <c:v>1.7975327165124617</c:v>
                </c:pt>
                <c:pt idx="7101">
                  <c:v>1.7970214775916205</c:v>
                </c:pt>
                <c:pt idx="7102">
                  <c:v>1.8011113889583505</c:v>
                </c:pt>
                <c:pt idx="7103">
                  <c:v>1.791258925842572</c:v>
                </c:pt>
                <c:pt idx="7104">
                  <c:v>1.7897585507487985</c:v>
                </c:pt>
                <c:pt idx="7105">
                  <c:v>1.7925648078686338</c:v>
                </c:pt>
                <c:pt idx="7106">
                  <c:v>1.7865466366591649</c:v>
                </c:pt>
                <c:pt idx="7107">
                  <c:v>1.7717818343474758</c:v>
                </c:pt>
                <c:pt idx="7108">
                  <c:v>1.7954099636020113</c:v>
                </c:pt>
                <c:pt idx="7109">
                  <c:v>1.7881692645383569</c:v>
                </c:pt>
                <c:pt idx="7110">
                  <c:v>1.7918146203217473</c:v>
                </c:pt>
                <c:pt idx="7111">
                  <c:v>1.810119196465783</c:v>
                </c:pt>
                <c:pt idx="7112">
                  <c:v>1.8082576199605458</c:v>
                </c:pt>
                <c:pt idx="7113">
                  <c:v>1.8141646522741794</c:v>
                </c:pt>
                <c:pt idx="7114">
                  <c:v>1.8133977938929178</c:v>
                </c:pt>
                <c:pt idx="7115">
                  <c:v>1.8412158595204358</c:v>
                </c:pt>
                <c:pt idx="7116">
                  <c:v>1.8405323553110504</c:v>
                </c:pt>
                <c:pt idx="7117">
                  <c:v>1.8648495457197631</c:v>
                </c:pt>
                <c:pt idx="7118">
                  <c:v>1.8591647911977995</c:v>
                </c:pt>
                <c:pt idx="7119">
                  <c:v>1.8562196104581701</c:v>
                </c:pt>
                <c:pt idx="7120">
                  <c:v>1.8456669722986305</c:v>
                </c:pt>
                <c:pt idx="7121">
                  <c:v>1.8454113528382097</c:v>
                </c:pt>
                <c:pt idx="7122">
                  <c:v>1.8542524520018895</c:v>
                </c:pt>
                <c:pt idx="7123">
                  <c:v>1.8702675668917226</c:v>
                </c:pt>
                <c:pt idx="7124">
                  <c:v>1.8794698674668666</c:v>
                </c:pt>
                <c:pt idx="7125">
                  <c:v>1.8840321191408966</c:v>
                </c:pt>
                <c:pt idx="7126">
                  <c:v>1.8827651357283766</c:v>
                </c:pt>
                <c:pt idx="7127">
                  <c:v>1.8715234364146593</c:v>
                </c:pt>
                <c:pt idx="7128">
                  <c:v>1.8974465838681898</c:v>
                </c:pt>
                <c:pt idx="7129">
                  <c:v>1.9131060542913505</c:v>
                </c:pt>
                <c:pt idx="7130">
                  <c:v>1.9037426023172461</c:v>
                </c:pt>
                <c:pt idx="7131">
                  <c:v>1.9017198744130477</c:v>
                </c:pt>
                <c:pt idx="7132">
                  <c:v>1.9074824261620962</c:v>
                </c:pt>
                <c:pt idx="7133">
                  <c:v>1.9061654302464506</c:v>
                </c:pt>
                <c:pt idx="7134">
                  <c:v>1.9032313633964049</c:v>
                </c:pt>
                <c:pt idx="7135">
                  <c:v>1.9057319885526938</c:v>
                </c:pt>
                <c:pt idx="7136">
                  <c:v>1.9116112361423689</c:v>
                </c:pt>
                <c:pt idx="7137">
                  <c:v>1.8967019532660947</c:v>
                </c:pt>
                <c:pt idx="7138">
                  <c:v>1.9208857769998056</c:v>
                </c:pt>
                <c:pt idx="7139">
                  <c:v>1.9395793392792644</c:v>
                </c:pt>
                <c:pt idx="7140">
                  <c:v>1.9520324525575838</c:v>
                </c:pt>
                <c:pt idx="7141">
                  <c:v>1.9727931982995748</c:v>
                </c:pt>
                <c:pt idx="7142">
                  <c:v>1.9777888916673616</c:v>
                </c:pt>
                <c:pt idx="7143">
                  <c:v>1.9825567502986861</c:v>
                </c:pt>
                <c:pt idx="7144">
                  <c:v>1.9792614820371761</c:v>
                </c:pt>
                <c:pt idx="7145">
                  <c:v>2.000450112528132</c:v>
                </c:pt>
                <c:pt idx="7146">
                  <c:v>2.0207107332388654</c:v>
                </c:pt>
                <c:pt idx="7147">
                  <c:v>2.0101191964657832</c:v>
                </c:pt>
                <c:pt idx="7148">
                  <c:v>2.0384540579589343</c:v>
                </c:pt>
                <c:pt idx="7149">
                  <c:v>2.0338140090578203</c:v>
                </c:pt>
                <c:pt idx="7150">
                  <c:v>2.0471895751715707</c:v>
                </c:pt>
                <c:pt idx="7151">
                  <c:v>2.0718179544886226</c:v>
                </c:pt>
                <c:pt idx="7152">
                  <c:v>2.0786196549137284</c:v>
                </c:pt>
                <c:pt idx="7153">
                  <c:v>2.0768970020282849</c:v>
                </c:pt>
                <c:pt idx="7154">
                  <c:v>2.0787585785335225</c:v>
                </c:pt>
                <c:pt idx="7155">
                  <c:v>2.1152677058153428</c:v>
                </c:pt>
                <c:pt idx="7156">
                  <c:v>2.094479175349393</c:v>
                </c:pt>
                <c:pt idx="7157">
                  <c:v>2.0609652413103277</c:v>
                </c:pt>
                <c:pt idx="7158">
                  <c:v>2.0625489705759774</c:v>
                </c:pt>
                <c:pt idx="7159">
                  <c:v>2.0611541774332474</c:v>
                </c:pt>
                <c:pt idx="7160">
                  <c:v>1.9964213275541107</c:v>
                </c:pt>
                <c:pt idx="7161">
                  <c:v>1.8736406323803174</c:v>
                </c:pt>
                <c:pt idx="7162">
                  <c:v>1.9240754633102721</c:v>
                </c:pt>
                <c:pt idx="7163">
                  <c:v>1.9095273818454617</c:v>
                </c:pt>
                <c:pt idx="7164">
                  <c:v>1.8007335167125116</c:v>
                </c:pt>
                <c:pt idx="7165">
                  <c:v>1.8434830929954709</c:v>
                </c:pt>
                <c:pt idx="7166">
                  <c:v>1.8831485649190074</c:v>
                </c:pt>
                <c:pt idx="7167">
                  <c:v>1.8908449334555861</c:v>
                </c:pt>
                <c:pt idx="7168">
                  <c:v>1.930415937317663</c:v>
                </c:pt>
                <c:pt idx="7169">
                  <c:v>1.9664916229057265</c:v>
                </c:pt>
                <c:pt idx="7170">
                  <c:v>1.9678641882692895</c:v>
                </c:pt>
                <c:pt idx="7171">
                  <c:v>1.9507321274763134</c:v>
                </c:pt>
                <c:pt idx="7172">
                  <c:v>1.9345725320218943</c:v>
                </c:pt>
                <c:pt idx="7173">
                  <c:v>1.9376788641604845</c:v>
                </c:pt>
                <c:pt idx="7174">
                  <c:v>1.9849462365591402</c:v>
                </c:pt>
                <c:pt idx="7175">
                  <c:v>2.0204106582201109</c:v>
                </c:pt>
                <c:pt idx="7176">
                  <c:v>1.982462282237226</c:v>
                </c:pt>
                <c:pt idx="7177">
                  <c:v>1.9496763079658805</c:v>
                </c:pt>
                <c:pt idx="7178">
                  <c:v>1.9108277069267321</c:v>
                </c:pt>
                <c:pt idx="7179">
                  <c:v>1.9258647995332168</c:v>
                </c:pt>
                <c:pt idx="7180">
                  <c:v>1.958161762662888</c:v>
                </c:pt>
                <c:pt idx="7181">
                  <c:v>1.9661248645494704</c:v>
                </c:pt>
                <c:pt idx="7182">
                  <c:v>1.9648912228057016</c:v>
                </c:pt>
                <c:pt idx="7183">
                  <c:v>1.9789280653496704</c:v>
                </c:pt>
                <c:pt idx="7184">
                  <c:v>2.0307743602567307</c:v>
                </c:pt>
                <c:pt idx="7185">
                  <c:v>2.0269233975160459</c:v>
                </c:pt>
                <c:pt idx="7186">
                  <c:v>2.0078352921563725</c:v>
                </c:pt>
                <c:pt idx="7187">
                  <c:v>1.9914534189102833</c:v>
                </c:pt>
                <c:pt idx="7188">
                  <c:v>1.989297324331083</c:v>
                </c:pt>
                <c:pt idx="7189">
                  <c:v>1.9944930677113724</c:v>
                </c:pt>
                <c:pt idx="7190">
                  <c:v>1.951976883109666</c:v>
                </c:pt>
                <c:pt idx="7191">
                  <c:v>1.9564057681086937</c:v>
                </c:pt>
                <c:pt idx="7192">
                  <c:v>1.9512711511211136</c:v>
                </c:pt>
                <c:pt idx="7193">
                  <c:v>1.8771192798199552</c:v>
                </c:pt>
                <c:pt idx="7194">
                  <c:v>1.8168319857742214</c:v>
                </c:pt>
                <c:pt idx="7195">
                  <c:v>1.8933288877774999</c:v>
                </c:pt>
                <c:pt idx="7196">
                  <c:v>1.843349726320469</c:v>
                </c:pt>
                <c:pt idx="7197">
                  <c:v>1.8355366619432636</c:v>
                </c:pt>
                <c:pt idx="7198">
                  <c:v>1.8747131227251255</c:v>
                </c:pt>
                <c:pt idx="7199">
                  <c:v>1.8105304103803728</c:v>
                </c:pt>
                <c:pt idx="7200">
                  <c:v>1.8461004139923869</c:v>
                </c:pt>
                <c:pt idx="7201">
                  <c:v>1.87922536189603</c:v>
                </c:pt>
                <c:pt idx="7202">
                  <c:v>1.8994026284348866</c:v>
                </c:pt>
                <c:pt idx="7203">
                  <c:v>1.8359034202995197</c:v>
                </c:pt>
                <c:pt idx="7204">
                  <c:v>1.8462115528882221</c:v>
                </c:pt>
                <c:pt idx="7205">
                  <c:v>1.8939068100358423</c:v>
                </c:pt>
                <c:pt idx="7206">
                  <c:v>1.8780472896001776</c:v>
                </c:pt>
                <c:pt idx="7207">
                  <c:v>1.9021422022172212</c:v>
                </c:pt>
                <c:pt idx="7208">
                  <c:v>1.8938178989191741</c:v>
                </c:pt>
                <c:pt idx="7209">
                  <c:v>1.9173626740018337</c:v>
                </c:pt>
                <c:pt idx="7210">
                  <c:v>1.948459337056486</c:v>
                </c:pt>
                <c:pt idx="7211">
                  <c:v>1.9509155066544412</c:v>
                </c:pt>
                <c:pt idx="7212">
                  <c:v>1.9343835958989746</c:v>
                </c:pt>
                <c:pt idx="7213">
                  <c:v>1.9094773693423357</c:v>
                </c:pt>
                <c:pt idx="7214">
                  <c:v>1.9096385207412965</c:v>
                </c:pt>
                <c:pt idx="7215">
                  <c:v>1.8707732488677729</c:v>
                </c:pt>
                <c:pt idx="7216">
                  <c:v>1.8760467894751467</c:v>
                </c:pt>
                <c:pt idx="7217">
                  <c:v>1.9060654052401986</c:v>
                </c:pt>
                <c:pt idx="7218">
                  <c:v>1.9094662554527519</c:v>
                </c:pt>
                <c:pt idx="7219">
                  <c:v>1.8857436581367564</c:v>
                </c:pt>
                <c:pt idx="7220">
                  <c:v>1.8931177238754135</c:v>
                </c:pt>
                <c:pt idx="7221">
                  <c:v>1.8722680670167544</c:v>
                </c:pt>
                <c:pt idx="7222">
                  <c:v>1.8661054152426995</c:v>
                </c:pt>
                <c:pt idx="7223">
                  <c:v>1.9033425022922397</c:v>
                </c:pt>
                <c:pt idx="7224">
                  <c:v>1.9134339140340639</c:v>
                </c:pt>
                <c:pt idx="7225">
                  <c:v>1.9126892834319689</c:v>
                </c:pt>
                <c:pt idx="7226">
                  <c:v>1.9412353088272067</c:v>
                </c:pt>
                <c:pt idx="7227">
                  <c:v>1.9694645883693145</c:v>
                </c:pt>
                <c:pt idx="7228">
                  <c:v>1.9755716706954516</c:v>
                </c:pt>
                <c:pt idx="7229">
                  <c:v>1.9783334722569532</c:v>
                </c:pt>
                <c:pt idx="7230">
                  <c:v>1.958089522380595</c:v>
                </c:pt>
                <c:pt idx="7231">
                  <c:v>1.9709260648495457</c:v>
                </c:pt>
                <c:pt idx="7232">
                  <c:v>1.9692367536328526</c:v>
                </c:pt>
                <c:pt idx="7233">
                  <c:v>1.9616626378816928</c:v>
                </c:pt>
                <c:pt idx="7234">
                  <c:v>1.9836292406434941</c:v>
                </c:pt>
                <c:pt idx="7235">
                  <c:v>1.974326915062099</c:v>
                </c:pt>
                <c:pt idx="7236">
                  <c:v>1.9840737962268342</c:v>
                </c:pt>
                <c:pt idx="7237">
                  <c:v>1.9781445361340335</c:v>
                </c:pt>
                <c:pt idx="7238">
                  <c:v>1.9714706454391377</c:v>
                </c:pt>
                <c:pt idx="7239">
                  <c:v>1.9372343085771444</c:v>
                </c:pt>
                <c:pt idx="7240">
                  <c:v>1.9750548748298189</c:v>
                </c:pt>
                <c:pt idx="7241">
                  <c:v>1.955238809702426</c:v>
                </c:pt>
                <c:pt idx="7242">
                  <c:v>1.987574671445639</c:v>
                </c:pt>
                <c:pt idx="7243">
                  <c:v>2.0010280347864744</c:v>
                </c:pt>
                <c:pt idx="7244">
                  <c:v>2.003317496040677</c:v>
                </c:pt>
                <c:pt idx="7245">
                  <c:v>2.0291406184879555</c:v>
                </c:pt>
                <c:pt idx="7246">
                  <c:v>2.0275235475535553</c:v>
                </c:pt>
                <c:pt idx="7247">
                  <c:v>2.0371037203745384</c:v>
                </c:pt>
                <c:pt idx="7248">
                  <c:v>2.0403656469672975</c:v>
                </c:pt>
                <c:pt idx="7249">
                  <c:v>2.0458003389736321</c:v>
                </c:pt>
                <c:pt idx="7250">
                  <c:v>2.0336528576588591</c:v>
                </c:pt>
                <c:pt idx="7251">
                  <c:v>2.0420771859631577</c:v>
                </c:pt>
                <c:pt idx="7252">
                  <c:v>2.0392987135672809</c:v>
                </c:pt>
                <c:pt idx="7253">
                  <c:v>2.0328859992775974</c:v>
                </c:pt>
                <c:pt idx="7254">
                  <c:v>2.0208274290794921</c:v>
                </c:pt>
                <c:pt idx="7255">
                  <c:v>2.025995387735823</c:v>
                </c:pt>
                <c:pt idx="7256">
                  <c:v>2.0070851046094855</c:v>
                </c:pt>
                <c:pt idx="7257">
                  <c:v>2.0127698591314496</c:v>
                </c:pt>
                <c:pt idx="7258">
                  <c:v>1.9714261898808032</c:v>
                </c:pt>
                <c:pt idx="7259">
                  <c:v>1.9779722708454894</c:v>
                </c:pt>
                <c:pt idx="7260">
                  <c:v>1.9523436414659221</c:v>
                </c:pt>
                <c:pt idx="7261">
                  <c:v>1.970987191242255</c:v>
                </c:pt>
                <c:pt idx="7262">
                  <c:v>1.973426690005835</c:v>
                </c:pt>
                <c:pt idx="7263">
                  <c:v>1.982684560028896</c:v>
                </c:pt>
                <c:pt idx="7264">
                  <c:v>1.9679253146619993</c:v>
                </c:pt>
                <c:pt idx="7265">
                  <c:v>1.9942374482509515</c:v>
                </c:pt>
                <c:pt idx="7266">
                  <c:v>2.0198438498513518</c:v>
                </c:pt>
                <c:pt idx="7267">
                  <c:v>2.0473673974049071</c:v>
                </c:pt>
                <c:pt idx="7268">
                  <c:v>2.0580145036259068</c:v>
                </c:pt>
                <c:pt idx="7269">
                  <c:v>2.0363201911589011</c:v>
                </c:pt>
                <c:pt idx="7270">
                  <c:v>2.0631880192270287</c:v>
                </c:pt>
                <c:pt idx="7271">
                  <c:v>2.0665055152677057</c:v>
                </c:pt>
                <c:pt idx="7272">
                  <c:v>2.0634992081353674</c:v>
                </c:pt>
                <c:pt idx="7273">
                  <c:v>2.075718929732433</c:v>
                </c:pt>
                <c:pt idx="7274">
                  <c:v>2.0823594787585784</c:v>
                </c:pt>
                <c:pt idx="7275">
                  <c:v>2.0704954016281851</c:v>
                </c:pt>
                <c:pt idx="7276">
                  <c:v>2.0677113722875164</c:v>
                </c:pt>
                <c:pt idx="7277">
                  <c:v>2.0733572281959378</c:v>
                </c:pt>
                <c:pt idx="7278">
                  <c:v>2.0881998277347114</c:v>
                </c:pt>
                <c:pt idx="7279">
                  <c:v>2.1163290822705676</c:v>
                </c:pt>
                <c:pt idx="7280">
                  <c:v>2.1068822761245865</c:v>
                </c:pt>
                <c:pt idx="7281">
                  <c:v>2.0864994026284354</c:v>
                </c:pt>
                <c:pt idx="7282">
                  <c:v>2.0689950265344117</c:v>
                </c:pt>
                <c:pt idx="7283">
                  <c:v>2.0840821316440223</c:v>
                </c:pt>
                <c:pt idx="7284">
                  <c:v>2.0808757744991802</c:v>
                </c:pt>
                <c:pt idx="7285">
                  <c:v>2.096374093523381</c:v>
                </c:pt>
                <c:pt idx="7286">
                  <c:v>2.1111722375038204</c:v>
                </c:pt>
                <c:pt idx="7287">
                  <c:v>2.1224750632102474</c:v>
                </c:pt>
                <c:pt idx="7288">
                  <c:v>2.13132727626351</c:v>
                </c:pt>
                <c:pt idx="7289">
                  <c:v>2.1305993164957906</c:v>
                </c:pt>
                <c:pt idx="7290">
                  <c:v>2.1268928343196909</c:v>
                </c:pt>
                <c:pt idx="7291">
                  <c:v>2.1055875079881083</c:v>
                </c:pt>
                <c:pt idx="7292">
                  <c:v>2.0931955211024977</c:v>
                </c:pt>
                <c:pt idx="7293">
                  <c:v>2.1132283070767692</c:v>
                </c:pt>
                <c:pt idx="7294">
                  <c:v>2.090133644522242</c:v>
                </c:pt>
                <c:pt idx="7295">
                  <c:v>2.115534439165347</c:v>
                </c:pt>
                <c:pt idx="7296">
                  <c:v>2.1261482037175963</c:v>
                </c:pt>
                <c:pt idx="7297">
                  <c:v>2.1338556861437583</c:v>
                </c:pt>
                <c:pt idx="7298">
                  <c:v>2.1404462226667782</c:v>
                </c:pt>
                <c:pt idx="7299">
                  <c:v>2.1392903781500934</c:v>
                </c:pt>
                <c:pt idx="7300">
                  <c:v>2.1341724319968884</c:v>
                </c:pt>
                <c:pt idx="7301">
                  <c:v>2.153632852657609</c:v>
                </c:pt>
                <c:pt idx="7302">
                  <c:v>2.1781834347475759</c:v>
                </c:pt>
                <c:pt idx="7303">
                  <c:v>2.1790669889694647</c:v>
                </c:pt>
                <c:pt idx="7304">
                  <c:v>2.1974660331749605</c:v>
                </c:pt>
                <c:pt idx="7305">
                  <c:v>2.1838237337112054</c:v>
                </c:pt>
                <c:pt idx="7306">
                  <c:v>2.1845739212580924</c:v>
                </c:pt>
                <c:pt idx="7307">
                  <c:v>2.1796060126142645</c:v>
                </c:pt>
                <c:pt idx="7308">
                  <c:v>2.1707149009474591</c:v>
                </c:pt>
                <c:pt idx="7309">
                  <c:v>2.1600677947264595</c:v>
                </c:pt>
                <c:pt idx="7310">
                  <c:v>2.153332777638854</c:v>
                </c:pt>
                <c:pt idx="7311">
                  <c:v>2.1593120502347811</c:v>
                </c:pt>
                <c:pt idx="7312">
                  <c:v>2.1713428357089271</c:v>
                </c:pt>
                <c:pt idx="7313">
                  <c:v>2.1725042371704038</c:v>
                </c:pt>
                <c:pt idx="7314">
                  <c:v>2.190103081325887</c:v>
                </c:pt>
                <c:pt idx="7315">
                  <c:v>2.1914589758550749</c:v>
                </c:pt>
                <c:pt idx="7316">
                  <c:v>2.1737323219693812</c:v>
                </c:pt>
                <c:pt idx="7317">
                  <c:v>2.1908977244311081</c:v>
                </c:pt>
                <c:pt idx="7318">
                  <c:v>2.1949042816259623</c:v>
                </c:pt>
                <c:pt idx="7319">
                  <c:v>2.2200939123669809</c:v>
                </c:pt>
                <c:pt idx="7320">
                  <c:v>2.2189825234086302</c:v>
                </c:pt>
                <c:pt idx="7321">
                  <c:v>2.2076685838126195</c:v>
                </c:pt>
                <c:pt idx="7322">
                  <c:v>2.2037175960656832</c:v>
                </c:pt>
                <c:pt idx="7323">
                  <c:v>2.1931705148509351</c:v>
                </c:pt>
                <c:pt idx="7324">
                  <c:v>2.2025895362729573</c:v>
                </c:pt>
                <c:pt idx="7325">
                  <c:v>2.2027006751687925</c:v>
                </c:pt>
                <c:pt idx="7326">
                  <c:v>2.2143869300658499</c:v>
                </c:pt>
                <c:pt idx="7327">
                  <c:v>2.213231085549165</c:v>
                </c:pt>
                <c:pt idx="7328">
                  <c:v>2.2155149898585758</c:v>
                </c:pt>
                <c:pt idx="7329">
                  <c:v>2.1899974993748441</c:v>
                </c:pt>
                <c:pt idx="7330">
                  <c:v>2.1724042121641522</c:v>
                </c:pt>
                <c:pt idx="7331">
                  <c:v>2.1711594565307992</c:v>
                </c:pt>
                <c:pt idx="7332">
                  <c:v>2.1675863410297018</c:v>
                </c:pt>
                <c:pt idx="7333">
                  <c:v>2.0635103220249507</c:v>
                </c:pt>
                <c:pt idx="7334">
                  <c:v>2.0004945680864661</c:v>
                </c:pt>
                <c:pt idx="7335">
                  <c:v>2.0434441943819288</c:v>
                </c:pt>
                <c:pt idx="7336">
                  <c:v>2.0255397182628991</c:v>
                </c:pt>
                <c:pt idx="7337">
                  <c:v>2.0906615542774585</c:v>
                </c:pt>
                <c:pt idx="7338">
                  <c:v>2.0900058347920312</c:v>
                </c:pt>
                <c:pt idx="7339">
                  <c:v>2.0458336806423829</c:v>
                </c:pt>
                <c:pt idx="7340">
                  <c:v>2.0448167597454923</c:v>
                </c:pt>
                <c:pt idx="7341">
                  <c:v>2.0318023950432056</c:v>
                </c:pt>
                <c:pt idx="7342">
                  <c:v>2.01524269956378</c:v>
                </c:pt>
                <c:pt idx="7343">
                  <c:v>1.9221805451362841</c:v>
                </c:pt>
                <c:pt idx="7344">
                  <c:v>1.976599705481926</c:v>
                </c:pt>
                <c:pt idx="7345">
                  <c:v>1.9250312578144535</c:v>
                </c:pt>
                <c:pt idx="7346">
                  <c:v>1.9058820260620708</c:v>
                </c:pt>
                <c:pt idx="7347">
                  <c:v>1.9516656942013282</c:v>
                </c:pt>
                <c:pt idx="7348">
                  <c:v>1.9837959489872468</c:v>
                </c:pt>
                <c:pt idx="7349">
                  <c:v>2.0153816231835737</c:v>
                </c:pt>
                <c:pt idx="7350">
                  <c:v>1.9965991497874467</c:v>
                </c:pt>
                <c:pt idx="7351">
                  <c:v>2.0134644772304187</c:v>
                </c:pt>
                <c:pt idx="7352">
                  <c:v>2.0325636964796754</c:v>
                </c:pt>
                <c:pt idx="7353">
                  <c:v>2.0969186741129731</c:v>
                </c:pt>
                <c:pt idx="7354">
                  <c:v>2.0907726931732933</c:v>
                </c:pt>
                <c:pt idx="7355">
                  <c:v>2.062871273373899</c:v>
                </c:pt>
                <c:pt idx="7356">
                  <c:v>2.002522852935456</c:v>
                </c:pt>
                <c:pt idx="7357">
                  <c:v>1.998177322108305</c:v>
                </c:pt>
                <c:pt idx="7358">
                  <c:v>1.9762662887944207</c:v>
                </c:pt>
                <c:pt idx="7359">
                  <c:v>2.0087688588813872</c:v>
                </c:pt>
                <c:pt idx="7360">
                  <c:v>2.0156761412575364</c:v>
                </c:pt>
                <c:pt idx="7361">
                  <c:v>1.965574727015087</c:v>
                </c:pt>
                <c:pt idx="7362">
                  <c:v>1.9119668806090409</c:v>
                </c:pt>
                <c:pt idx="7363">
                  <c:v>1.9210691561779334</c:v>
                </c:pt>
                <c:pt idx="7364">
                  <c:v>1.90207551887972</c:v>
                </c:pt>
                <c:pt idx="7365">
                  <c:v>1.9474979856075132</c:v>
                </c:pt>
                <c:pt idx="7366">
                  <c:v>1.9571392848212055</c:v>
                </c:pt>
                <c:pt idx="7367">
                  <c:v>2.0252674279681031</c:v>
                </c:pt>
                <c:pt idx="7368">
                  <c:v>2.019360395654469</c:v>
                </c:pt>
                <c:pt idx="7369">
                  <c:v>2.0446000388986136</c:v>
                </c:pt>
                <c:pt idx="7370">
                  <c:v>2.0779139229251755</c:v>
                </c:pt>
                <c:pt idx="7371">
                  <c:v>1.9784723958767469</c:v>
                </c:pt>
                <c:pt idx="7372">
                  <c:v>1.9748714956516911</c:v>
                </c:pt>
                <c:pt idx="7373">
                  <c:v>1.905970937178739</c:v>
                </c:pt>
                <c:pt idx="7374">
                  <c:v>1.9111166680559029</c:v>
                </c:pt>
                <c:pt idx="7375">
                  <c:v>1.9102275568892226</c:v>
                </c:pt>
                <c:pt idx="7376">
                  <c:v>1.9260259509321775</c:v>
                </c:pt>
                <c:pt idx="7377">
                  <c:v>1.9259870523186353</c:v>
                </c:pt>
                <c:pt idx="7378">
                  <c:v>1.870495401628185</c:v>
                </c:pt>
                <c:pt idx="7379">
                  <c:v>1.8110249784668389</c:v>
                </c:pt>
                <c:pt idx="7380">
                  <c:v>1.8114473062710124</c:v>
                </c:pt>
                <c:pt idx="7381">
                  <c:v>1.7684254396932566</c:v>
                </c:pt>
                <c:pt idx="7382">
                  <c:v>1.7248256508571589</c:v>
                </c:pt>
                <c:pt idx="7383">
                  <c:v>1.6687282931844072</c:v>
                </c:pt>
                <c:pt idx="7384">
                  <c:v>1.5965713650634883</c:v>
                </c:pt>
                <c:pt idx="7385">
                  <c:v>1.7253980161707094</c:v>
                </c:pt>
                <c:pt idx="7386">
                  <c:v>1.7489872468117027</c:v>
                </c:pt>
                <c:pt idx="7387">
                  <c:v>1.7460253952376981</c:v>
                </c:pt>
                <c:pt idx="7388">
                  <c:v>1.76970353699536</c:v>
                </c:pt>
                <c:pt idx="7389">
                  <c:v>1.7732266399933319</c:v>
                </c:pt>
                <c:pt idx="7390">
                  <c:v>1.7052874329693535</c:v>
                </c:pt>
                <c:pt idx="7391">
                  <c:v>1.798171765163513</c:v>
                </c:pt>
                <c:pt idx="7392">
                  <c:v>1.8177933372231947</c:v>
                </c:pt>
                <c:pt idx="7393">
                  <c:v>1.8451779611569559</c:v>
                </c:pt>
                <c:pt idx="7394">
                  <c:v>1.8577477702759024</c:v>
                </c:pt>
                <c:pt idx="7395">
                  <c:v>1.8706565530271457</c:v>
                </c:pt>
                <c:pt idx="7396">
                  <c:v>1.870245339112556</c:v>
                </c:pt>
                <c:pt idx="7397">
                  <c:v>1.8554805368008669</c:v>
                </c:pt>
                <c:pt idx="7398">
                  <c:v>1.8861548720513461</c:v>
                </c:pt>
                <c:pt idx="7399">
                  <c:v>1.8926398266233226</c:v>
                </c:pt>
                <c:pt idx="7400">
                  <c:v>1.9148842766247114</c:v>
                </c:pt>
                <c:pt idx="7401">
                  <c:v>1.9533939040315635</c:v>
                </c:pt>
                <c:pt idx="7402">
                  <c:v>1.9117001472590371</c:v>
                </c:pt>
                <c:pt idx="7403">
                  <c:v>1.9181128615487206</c:v>
                </c:pt>
                <c:pt idx="7404">
                  <c:v>1.9222250006946178</c:v>
                </c:pt>
                <c:pt idx="7405">
                  <c:v>1.9471312272512575</c:v>
                </c:pt>
                <c:pt idx="7406">
                  <c:v>1.9239976660831877</c:v>
                </c:pt>
                <c:pt idx="7407">
                  <c:v>1.9197910588758305</c:v>
                </c:pt>
                <c:pt idx="7408">
                  <c:v>1.96551915756717</c:v>
                </c:pt>
                <c:pt idx="7409">
                  <c:v>1.9916534689227863</c:v>
                </c:pt>
                <c:pt idx="7410">
                  <c:v>1.9947431302270009</c:v>
                </c:pt>
                <c:pt idx="7411">
                  <c:v>2.0150871051096111</c:v>
                </c:pt>
                <c:pt idx="7412">
                  <c:v>2.0293128837764995</c:v>
                </c:pt>
                <c:pt idx="7413">
                  <c:v>2.0228668278180657</c:v>
                </c:pt>
                <c:pt idx="7414">
                  <c:v>1.9950209774665888</c:v>
                </c:pt>
                <c:pt idx="7415">
                  <c:v>1.9980383984885108</c:v>
                </c:pt>
                <c:pt idx="7416">
                  <c:v>2.0001944930677116</c:v>
                </c:pt>
                <c:pt idx="7417">
                  <c:v>2.0390819927204022</c:v>
                </c:pt>
                <c:pt idx="7418">
                  <c:v>2.0485232419215915</c:v>
                </c:pt>
                <c:pt idx="7419">
                  <c:v>2.0414992637048153</c:v>
                </c:pt>
                <c:pt idx="7420">
                  <c:v>2.0748075907865857</c:v>
                </c:pt>
                <c:pt idx="7421">
                  <c:v>2.0796476897002028</c:v>
                </c:pt>
                <c:pt idx="7422">
                  <c:v>2.0857158734127976</c:v>
                </c:pt>
                <c:pt idx="7423">
                  <c:v>2.0751021088605488</c:v>
                </c:pt>
                <c:pt idx="7424">
                  <c:v>2.0949126170431498</c:v>
                </c:pt>
                <c:pt idx="7425">
                  <c:v>2.0991581228640497</c:v>
                </c:pt>
                <c:pt idx="7426">
                  <c:v>2.0967408518796367</c:v>
                </c:pt>
                <c:pt idx="7427">
                  <c:v>2.0955349948598259</c:v>
                </c:pt>
                <c:pt idx="7428">
                  <c:v>2.0877108165930371</c:v>
                </c:pt>
                <c:pt idx="7429">
                  <c:v>2.109171737378789</c:v>
                </c:pt>
                <c:pt idx="7430">
                  <c:v>2.0971798505181849</c:v>
                </c:pt>
                <c:pt idx="7431">
                  <c:v>2.0937734433608401</c:v>
                </c:pt>
                <c:pt idx="7432">
                  <c:v>2.0737351004417772</c:v>
                </c:pt>
                <c:pt idx="7433">
                  <c:v>2.0494067961434808</c:v>
                </c:pt>
                <c:pt idx="7434">
                  <c:v>2.0431996888110917</c:v>
                </c:pt>
                <c:pt idx="7435">
                  <c:v>2.0878664110472065</c:v>
                </c:pt>
                <c:pt idx="7436">
                  <c:v>2.0971298380150594</c:v>
                </c:pt>
                <c:pt idx="7437">
                  <c:v>2.1188686060403992</c:v>
                </c:pt>
                <c:pt idx="7438">
                  <c:v>2.1172181934372483</c:v>
                </c:pt>
                <c:pt idx="7439">
                  <c:v>2.1328776638604099</c:v>
                </c:pt>
                <c:pt idx="7440">
                  <c:v>2.1445250201439245</c:v>
                </c:pt>
                <c:pt idx="7441">
                  <c:v>2.144202717346003</c:v>
                </c:pt>
                <c:pt idx="7442">
                  <c:v>2.1350837709427357</c:v>
                </c:pt>
                <c:pt idx="7443">
                  <c:v>2.1692812091911868</c:v>
                </c:pt>
                <c:pt idx="7444">
                  <c:v>2.1093884582256677</c:v>
                </c:pt>
                <c:pt idx="7445">
                  <c:v>2.1070156427995888</c:v>
                </c:pt>
                <c:pt idx="7446">
                  <c:v>2.129332333083271</c:v>
                </c:pt>
                <c:pt idx="7447">
                  <c:v>2.1148453780111693</c:v>
                </c:pt>
                <c:pt idx="7448">
                  <c:v>2.1265149620738519</c:v>
                </c:pt>
                <c:pt idx="7449">
                  <c:v>2.1477091495095997</c:v>
                </c:pt>
                <c:pt idx="7450">
                  <c:v>2.1841515934539193</c:v>
                </c:pt>
                <c:pt idx="7451">
                  <c:v>2.1843238587424638</c:v>
                </c:pt>
                <c:pt idx="7452">
                  <c:v>2.1911700147259037</c:v>
                </c:pt>
                <c:pt idx="7453">
                  <c:v>2.1985551943541441</c:v>
                </c:pt>
                <c:pt idx="7454">
                  <c:v>2.2134144647272929</c:v>
                </c:pt>
                <c:pt idx="7455">
                  <c:v>2.2168375427190128</c:v>
                </c:pt>
                <c:pt idx="7456">
                  <c:v>2.1982940179489314</c:v>
                </c:pt>
                <c:pt idx="7457">
                  <c:v>2.2096857547720261</c:v>
                </c:pt>
                <c:pt idx="7458">
                  <c:v>2.2098469061709873</c:v>
                </c:pt>
                <c:pt idx="7459">
                  <c:v>2.2313856241838237</c:v>
                </c:pt>
                <c:pt idx="7460">
                  <c:v>2.229424022672335</c:v>
                </c:pt>
                <c:pt idx="7461">
                  <c:v>2.2310633213859021</c:v>
                </c:pt>
                <c:pt idx="7462">
                  <c:v>2.2240449001139173</c:v>
                </c:pt>
                <c:pt idx="7463">
                  <c:v>2.2292128587702482</c:v>
                </c:pt>
                <c:pt idx="7464">
                  <c:v>2.2325636964796756</c:v>
                </c:pt>
                <c:pt idx="7465">
                  <c:v>2.2613042149426246</c:v>
                </c:pt>
                <c:pt idx="7466">
                  <c:v>2.2541635408852212</c:v>
                </c:pt>
                <c:pt idx="7467">
                  <c:v>2.2529632408102027</c:v>
                </c:pt>
                <c:pt idx="7468">
                  <c:v>2.2683059653802338</c:v>
                </c:pt>
                <c:pt idx="7469">
                  <c:v>2.2719568781084161</c:v>
                </c:pt>
                <c:pt idx="7470">
                  <c:v>2.2751576783084664</c:v>
                </c:pt>
                <c:pt idx="7471">
                  <c:v>2.2506182101080823</c:v>
                </c:pt>
                <c:pt idx="7472">
                  <c:v>2.243844294406935</c:v>
                </c:pt>
                <c:pt idx="7473">
                  <c:v>2.275429968603262</c:v>
                </c:pt>
                <c:pt idx="7474">
                  <c:v>2.2610652663165793</c:v>
                </c:pt>
                <c:pt idx="7475">
                  <c:v>2.2072406990636551</c:v>
                </c:pt>
                <c:pt idx="7476">
                  <c:v>2.2021783223583671</c:v>
                </c:pt>
                <c:pt idx="7477">
                  <c:v>2.193620627379067</c:v>
                </c:pt>
                <c:pt idx="7478">
                  <c:v>2.2066016504126029</c:v>
                </c:pt>
                <c:pt idx="7479">
                  <c:v>2.1293434469728543</c:v>
                </c:pt>
                <c:pt idx="7480">
                  <c:v>2.1547886971742933</c:v>
                </c:pt>
                <c:pt idx="7481">
                  <c:v>2.1738434608652164</c:v>
                </c:pt>
                <c:pt idx="7482">
                  <c:v>2.2029951932427552</c:v>
                </c:pt>
                <c:pt idx="7483">
                  <c:v>2.1846239337612183</c:v>
                </c:pt>
                <c:pt idx="7484">
                  <c:v>2.1631796838098416</c:v>
                </c:pt>
                <c:pt idx="7485">
                  <c:v>2.1901364229946378</c:v>
                </c:pt>
                <c:pt idx="7486">
                  <c:v>2.1811897418799147</c:v>
                </c:pt>
                <c:pt idx="7487">
                  <c:v>2.1436192381428691</c:v>
                </c:pt>
                <c:pt idx="7488">
                  <c:v>2.1483426412158599</c:v>
                </c:pt>
                <c:pt idx="7489">
                  <c:v>2.1219916090133646</c:v>
                </c:pt>
                <c:pt idx="7490">
                  <c:v>2.1005029035036538</c:v>
                </c:pt>
                <c:pt idx="7491">
                  <c:v>2.107426856714179</c:v>
                </c:pt>
                <c:pt idx="7492">
                  <c:v>2.0670278680781311</c:v>
                </c:pt>
                <c:pt idx="7493">
                  <c:v>2.0585701981050821</c:v>
                </c:pt>
                <c:pt idx="7494">
                  <c:v>2.1242866272123591</c:v>
                </c:pt>
                <c:pt idx="7495">
                  <c:v>2.1501708760523468</c:v>
                </c:pt>
                <c:pt idx="7496">
                  <c:v>2.1703592564807872</c:v>
                </c:pt>
                <c:pt idx="7497">
                  <c:v>2.2039454308021451</c:v>
                </c:pt>
                <c:pt idx="7498">
                  <c:v>2.218893612291962</c:v>
                </c:pt>
                <c:pt idx="7499">
                  <c:v>2.2179322608429888</c:v>
                </c:pt>
                <c:pt idx="7500">
                  <c:v>2.2114250784918452</c:v>
                </c:pt>
                <c:pt idx="7501">
                  <c:v>2.2255452752076907</c:v>
                </c:pt>
                <c:pt idx="7502">
                  <c:v>2.2207829735211582</c:v>
                </c:pt>
                <c:pt idx="7503">
                  <c:v>2.2238059514878716</c:v>
                </c:pt>
                <c:pt idx="7504">
                  <c:v>2.2552304742852378</c:v>
                </c:pt>
                <c:pt idx="7505">
                  <c:v>2.2649551276708064</c:v>
                </c:pt>
                <c:pt idx="7506">
                  <c:v>2.2961907143452529</c:v>
                </c:pt>
                <c:pt idx="7507">
                  <c:v>2.2922341696535247</c:v>
                </c:pt>
                <c:pt idx="7508">
                  <c:v>2.2865383012419773</c:v>
                </c:pt>
                <c:pt idx="7509">
                  <c:v>2.2553304992914898</c:v>
                </c:pt>
                <c:pt idx="7510">
                  <c:v>2.2513128282070518</c:v>
                </c:pt>
                <c:pt idx="7511">
                  <c:v>2.2642327248478784</c:v>
                </c:pt>
                <c:pt idx="7512">
                  <c:v>2.2831819065877581</c:v>
                </c:pt>
                <c:pt idx="7513">
                  <c:v>2.3083993220527357</c:v>
                </c:pt>
                <c:pt idx="7514">
                  <c:v>2.318212886554972</c:v>
                </c:pt>
                <c:pt idx="7515">
                  <c:v>2.3444694506960073</c:v>
                </c:pt>
                <c:pt idx="7516">
                  <c:v>2.3387846961740437</c:v>
                </c:pt>
                <c:pt idx="7517">
                  <c:v>2.3226862271123339</c:v>
                </c:pt>
                <c:pt idx="7518">
                  <c:v>2.3277652746519961</c:v>
                </c:pt>
                <c:pt idx="7519">
                  <c:v>2.342813481148065</c:v>
                </c:pt>
                <c:pt idx="7520">
                  <c:v>2.3504653941263096</c:v>
                </c:pt>
                <c:pt idx="7521">
                  <c:v>2.3662693451140564</c:v>
                </c:pt>
                <c:pt idx="7522">
                  <c:v>2.3668583812619821</c:v>
                </c:pt>
                <c:pt idx="7523">
                  <c:v>2.3555055430524297</c:v>
                </c:pt>
                <c:pt idx="7524">
                  <c:v>2.3336389652968799</c:v>
                </c:pt>
                <c:pt idx="7525">
                  <c:v>2.3459198132866548</c:v>
                </c:pt>
                <c:pt idx="7526">
                  <c:v>2.3253869022811258</c:v>
                </c:pt>
                <c:pt idx="7527">
                  <c:v>2.3348781639854406</c:v>
                </c:pt>
                <c:pt idx="7528">
                  <c:v>2.3577727765274652</c:v>
                </c:pt>
                <c:pt idx="7529">
                  <c:v>2.373648967797505</c:v>
                </c:pt>
                <c:pt idx="7530">
                  <c:v>2.355911200022228</c:v>
                </c:pt>
                <c:pt idx="7531">
                  <c:v>2.3807451862965743</c:v>
                </c:pt>
                <c:pt idx="7532">
                  <c:v>2.375293823455864</c:v>
                </c:pt>
                <c:pt idx="7533">
                  <c:v>2.3669306215442751</c:v>
                </c:pt>
                <c:pt idx="7534">
                  <c:v>2.3303714817593288</c:v>
                </c:pt>
                <c:pt idx="7535">
                  <c:v>2.3007307382401154</c:v>
                </c:pt>
                <c:pt idx="7536">
                  <c:v>2.2769859131449532</c:v>
                </c:pt>
                <c:pt idx="7537">
                  <c:v>2.1795726709455145</c:v>
                </c:pt>
                <c:pt idx="7538">
                  <c:v>2.2212053013253317</c:v>
                </c:pt>
                <c:pt idx="7539">
                  <c:v>2.223761495929538</c:v>
                </c:pt>
                <c:pt idx="7540">
                  <c:v>2.2850768247617461</c:v>
                </c:pt>
                <c:pt idx="7541">
                  <c:v>2.2638548526020394</c:v>
                </c:pt>
                <c:pt idx="7542">
                  <c:v>2.2253896807535218</c:v>
                </c:pt>
                <c:pt idx="7543">
                  <c:v>2.2731293934594761</c:v>
                </c:pt>
                <c:pt idx="7544">
                  <c:v>2.1781834347475759</c:v>
                </c:pt>
                <c:pt idx="7545">
                  <c:v>2.1866244338862493</c:v>
                </c:pt>
                <c:pt idx="7546">
                  <c:v>2.2331249479036428</c:v>
                </c:pt>
                <c:pt idx="7547">
                  <c:v>2.2724458892500907</c:v>
                </c:pt>
                <c:pt idx="7548">
                  <c:v>2.2467894751465645</c:v>
                </c:pt>
                <c:pt idx="7549">
                  <c:v>2.2737017587730266</c:v>
                </c:pt>
                <c:pt idx="7550">
                  <c:v>2.272134700341752</c:v>
                </c:pt>
                <c:pt idx="7551">
                  <c:v>2.1872579255925095</c:v>
                </c:pt>
                <c:pt idx="7552">
                  <c:v>2.222661220860771</c:v>
                </c:pt>
                <c:pt idx="7553">
                  <c:v>2.2123530882720681</c:v>
                </c:pt>
                <c:pt idx="7554">
                  <c:v>2.2334972632046903</c:v>
                </c:pt>
                <c:pt idx="7555">
                  <c:v>2.2750687671917977</c:v>
                </c:pt>
                <c:pt idx="7556">
                  <c:v>2.2776138479064207</c:v>
                </c:pt>
                <c:pt idx="7557">
                  <c:v>2.2552304742852378</c:v>
                </c:pt>
                <c:pt idx="7558">
                  <c:v>2.2908004778972524</c:v>
                </c:pt>
                <c:pt idx="7559">
                  <c:v>2.3343780389541831</c:v>
                </c:pt>
                <c:pt idx="7560">
                  <c:v>2.3375399405406907</c:v>
                </c:pt>
                <c:pt idx="7561">
                  <c:v>2.3374954849823566</c:v>
                </c:pt>
                <c:pt idx="7562">
                  <c:v>2.3386791142230003</c:v>
                </c:pt>
                <c:pt idx="7563">
                  <c:v>2.3629907476869216</c:v>
                </c:pt>
                <c:pt idx="7564">
                  <c:v>2.3731932983245811</c:v>
                </c:pt>
                <c:pt idx="7565">
                  <c:v>2.3716762523964325</c:v>
                </c:pt>
                <c:pt idx="7566">
                  <c:v>2.3612125253535607</c:v>
                </c:pt>
                <c:pt idx="7567">
                  <c:v>2.3699035870078635</c:v>
                </c:pt>
                <c:pt idx="7568">
                  <c:v>2.3710761023589231</c:v>
                </c:pt>
                <c:pt idx="7569">
                  <c:v>2.3713428357089272</c:v>
                </c:pt>
                <c:pt idx="7570">
                  <c:v>2.3550054180211721</c:v>
                </c:pt>
                <c:pt idx="7571">
                  <c:v>2.3546720013336668</c:v>
                </c:pt>
                <c:pt idx="7572">
                  <c:v>2.3267094551415632</c:v>
                </c:pt>
                <c:pt idx="7573">
                  <c:v>2.34720346753355</c:v>
                </c:pt>
                <c:pt idx="7574">
                  <c:v>2.3392737073157175</c:v>
                </c:pt>
                <c:pt idx="7575">
                  <c:v>2.3220027229029481</c:v>
                </c:pt>
                <c:pt idx="7576">
                  <c:v>2.3389402906282126</c:v>
                </c:pt>
                <c:pt idx="7577">
                  <c:v>2.2981578728015335</c:v>
                </c:pt>
                <c:pt idx="7578">
                  <c:v>2.2391042204995695</c:v>
                </c:pt>
                <c:pt idx="7579">
                  <c:v>2.2657386568864437</c:v>
                </c:pt>
                <c:pt idx="7580">
                  <c:v>2.312178044511128</c:v>
                </c:pt>
                <c:pt idx="7581">
                  <c:v>2.2973576727515215</c:v>
                </c:pt>
                <c:pt idx="7582">
                  <c:v>2.2461281987163457</c:v>
                </c:pt>
                <c:pt idx="7583">
                  <c:v>2.2767080659053653</c:v>
                </c:pt>
                <c:pt idx="7584">
                  <c:v>2.2978022283348616</c:v>
                </c:pt>
                <c:pt idx="7585">
                  <c:v>2.3341891028312634</c:v>
                </c:pt>
                <c:pt idx="7586">
                  <c:v>2.3295657247645245</c:v>
                </c:pt>
                <c:pt idx="7587">
                  <c:v>2.3627240143369179</c:v>
                </c:pt>
                <c:pt idx="7588">
                  <c:v>2.3562223889305658</c:v>
                </c:pt>
                <c:pt idx="7589">
                  <c:v>2.3657525492484233</c:v>
                </c:pt>
                <c:pt idx="7590">
                  <c:v>2.3526492734294688</c:v>
                </c:pt>
                <c:pt idx="7591">
                  <c:v>2.3757883915423301</c:v>
                </c:pt>
                <c:pt idx="7592">
                  <c:v>2.3638520741296438</c:v>
                </c:pt>
                <c:pt idx="7593">
                  <c:v>2.3735489427912535</c:v>
                </c:pt>
                <c:pt idx="7594">
                  <c:v>2.3800338973632296</c:v>
                </c:pt>
                <c:pt idx="7595">
                  <c:v>2.3938595760051125</c:v>
                </c:pt>
                <c:pt idx="7596">
                  <c:v>2.4128032008002003</c:v>
                </c:pt>
                <c:pt idx="7597">
                  <c:v>2.4100025006251564</c:v>
                </c:pt>
                <c:pt idx="7598">
                  <c:v>2.4213720096690841</c:v>
                </c:pt>
                <c:pt idx="7599">
                  <c:v>2.4112583701480923</c:v>
                </c:pt>
                <c:pt idx="7600">
                  <c:v>2.4445222416715291</c:v>
                </c:pt>
                <c:pt idx="7601">
                  <c:v>2.457325442471729</c:v>
                </c:pt>
                <c:pt idx="7602">
                  <c:v>2.4532410880497904</c:v>
                </c:pt>
                <c:pt idx="7603">
                  <c:v>2.4559195354394157</c:v>
                </c:pt>
                <c:pt idx="7604">
                  <c:v>2.4669722986302132</c:v>
                </c:pt>
                <c:pt idx="7605">
                  <c:v>2.476485788113695</c:v>
                </c:pt>
                <c:pt idx="7606">
                  <c:v>2.4696507460198385</c:v>
                </c:pt>
                <c:pt idx="7607">
                  <c:v>2.4752632602595095</c:v>
                </c:pt>
                <c:pt idx="7608">
                  <c:v>2.4778583534772585</c:v>
                </c:pt>
                <c:pt idx="7609">
                  <c:v>2.4816593037148178</c:v>
                </c:pt>
                <c:pt idx="7610">
                  <c:v>2.5090661554277456</c:v>
                </c:pt>
                <c:pt idx="7611">
                  <c:v>2.5108888333194415</c:v>
                </c:pt>
                <c:pt idx="7612">
                  <c:v>2.5090216998694119</c:v>
                </c:pt>
                <c:pt idx="7613">
                  <c:v>2.4965241310327584</c:v>
                </c:pt>
                <c:pt idx="7614">
                  <c:v>2.4912005779222586</c:v>
                </c:pt>
                <c:pt idx="7615">
                  <c:v>2.4988413770109195</c:v>
                </c:pt>
                <c:pt idx="7616">
                  <c:v>2.5255258259009197</c:v>
                </c:pt>
                <c:pt idx="7617">
                  <c:v>2.5333611180572921</c:v>
                </c:pt>
                <c:pt idx="7618">
                  <c:v>2.5485315773387796</c:v>
                </c:pt>
                <c:pt idx="7619">
                  <c:v>2.5350837709427361</c:v>
                </c:pt>
                <c:pt idx="7620">
                  <c:v>2.5046983968214276</c:v>
                </c:pt>
                <c:pt idx="7621">
                  <c:v>2.4815481648189825</c:v>
                </c:pt>
                <c:pt idx="7622">
                  <c:v>2.5039259814953736</c:v>
                </c:pt>
                <c:pt idx="7623">
                  <c:v>2.5101497596621378</c:v>
                </c:pt>
                <c:pt idx="7624">
                  <c:v>2.5423855963990998</c:v>
                </c:pt>
                <c:pt idx="7625">
                  <c:v>2.5314773137728874</c:v>
                </c:pt>
                <c:pt idx="7626">
                  <c:v>2.5277208190936626</c:v>
                </c:pt>
                <c:pt idx="7627">
                  <c:v>2.5380178377927818</c:v>
                </c:pt>
                <c:pt idx="7628">
                  <c:v>2.5688644383318056</c:v>
                </c:pt>
                <c:pt idx="7629">
                  <c:v>2.5697424356089025</c:v>
                </c:pt>
                <c:pt idx="7630">
                  <c:v>2.5953599510988856</c:v>
                </c:pt>
                <c:pt idx="7631">
                  <c:v>2.5965880358978635</c:v>
                </c:pt>
                <c:pt idx="7632">
                  <c:v>2.5953432802645104</c:v>
                </c:pt>
                <c:pt idx="7633">
                  <c:v>2.6116029007251815</c:v>
                </c:pt>
                <c:pt idx="7634">
                  <c:v>2.6296574143535887</c:v>
                </c:pt>
                <c:pt idx="7635">
                  <c:v>2.6327970881609288</c:v>
                </c:pt>
                <c:pt idx="7636">
                  <c:v>2.6323414186880054</c:v>
                </c:pt>
                <c:pt idx="7637">
                  <c:v>2.6513072712622603</c:v>
                </c:pt>
                <c:pt idx="7638">
                  <c:v>2.6514850934955962</c:v>
                </c:pt>
                <c:pt idx="7639">
                  <c:v>2.6308577144286072</c:v>
                </c:pt>
                <c:pt idx="7640">
                  <c:v>2.6417826678891942</c:v>
                </c:pt>
                <c:pt idx="7641">
                  <c:v>2.6727459642688451</c:v>
                </c:pt>
                <c:pt idx="7642">
                  <c:v>2.6472006890611541</c:v>
                </c:pt>
                <c:pt idx="7643">
                  <c:v>2.660103914867606</c:v>
                </c:pt>
                <c:pt idx="7644">
                  <c:v>2.6502125531382847</c:v>
                </c:pt>
                <c:pt idx="7645">
                  <c:v>2.6682226112083574</c:v>
                </c:pt>
                <c:pt idx="7646">
                  <c:v>2.6936122919618795</c:v>
                </c:pt>
                <c:pt idx="7647">
                  <c:v>2.6830707676919232</c:v>
                </c:pt>
                <c:pt idx="7648">
                  <c:v>2.708777194298575</c:v>
                </c:pt>
                <c:pt idx="7649">
                  <c:v>2.703514767580784</c:v>
                </c:pt>
                <c:pt idx="7650">
                  <c:v>2.7105109610736018</c:v>
                </c:pt>
                <c:pt idx="7651">
                  <c:v>2.741685421355339</c:v>
                </c:pt>
                <c:pt idx="7652">
                  <c:v>2.7562223889305661</c:v>
                </c:pt>
                <c:pt idx="7653">
                  <c:v>2.7463310272012449</c:v>
                </c:pt>
                <c:pt idx="7654">
                  <c:v>2.7475479981106385</c:v>
                </c:pt>
                <c:pt idx="7655">
                  <c:v>2.7520991358950853</c:v>
                </c:pt>
                <c:pt idx="7656">
                  <c:v>2.7182740129476817</c:v>
                </c:pt>
                <c:pt idx="7657">
                  <c:v>2.6597760551248921</c:v>
                </c:pt>
                <c:pt idx="7658">
                  <c:v>2.6966463838181771</c:v>
                </c:pt>
                <c:pt idx="7659">
                  <c:v>2.6935289377900031</c:v>
                </c:pt>
                <c:pt idx="7660">
                  <c:v>2.7056597482704015</c:v>
                </c:pt>
                <c:pt idx="7661">
                  <c:v>2.6403545330777138</c:v>
                </c:pt>
                <c:pt idx="7662">
                  <c:v>2.6668222611208359</c:v>
                </c:pt>
                <c:pt idx="7663">
                  <c:v>2.7217582173321109</c:v>
                </c:pt>
                <c:pt idx="7664">
                  <c:v>2.7637075935650577</c:v>
                </c:pt>
                <c:pt idx="7665">
                  <c:v>2.7768553249423471</c:v>
                </c:pt>
                <c:pt idx="7666">
                  <c:v>2.7571948542691231</c:v>
                </c:pt>
                <c:pt idx="7667">
                  <c:v>2.7852963240810205</c:v>
                </c:pt>
                <c:pt idx="7668">
                  <c:v>2.7918312911561225</c:v>
                </c:pt>
                <c:pt idx="7669">
                  <c:v>2.8164652274179658</c:v>
                </c:pt>
                <c:pt idx="7670">
                  <c:v>2.8114639771053875</c:v>
                </c:pt>
                <c:pt idx="7671">
                  <c:v>2.8191103331388407</c:v>
                </c:pt>
                <c:pt idx="7672">
                  <c:v>2.8081964935678365</c:v>
                </c:pt>
                <c:pt idx="7673">
                  <c:v>2.8267733600066687</c:v>
                </c:pt>
                <c:pt idx="7674">
                  <c:v>2.8123530882720682</c:v>
                </c:pt>
                <c:pt idx="7675">
                  <c:v>2.7723875413297772</c:v>
                </c:pt>
                <c:pt idx="7676">
                  <c:v>2.646433830679892</c:v>
                </c:pt>
                <c:pt idx="7677">
                  <c:v>2.536089577950043</c:v>
                </c:pt>
                <c:pt idx="7678">
                  <c:v>2.5227584673946266</c:v>
                </c:pt>
                <c:pt idx="7679">
                  <c:v>2.3678808591036651</c:v>
                </c:pt>
                <c:pt idx="7680">
                  <c:v>2.3406851712928232</c:v>
                </c:pt>
                <c:pt idx="7681">
                  <c:v>2.4945625295212697</c:v>
                </c:pt>
                <c:pt idx="7682">
                  <c:v>2.3964435553332777</c:v>
                </c:pt>
                <c:pt idx="7683">
                  <c:v>2.5399683254146872</c:v>
                </c:pt>
                <c:pt idx="7684">
                  <c:v>2.4206218221221971</c:v>
                </c:pt>
                <c:pt idx="7685">
                  <c:v>2.3623961545942045</c:v>
                </c:pt>
                <c:pt idx="7686">
                  <c:v>2.1072990469839681</c:v>
                </c:pt>
                <c:pt idx="7687">
                  <c:v>2.2608763301936596</c:v>
                </c:pt>
                <c:pt idx="7688">
                  <c:v>2.1017532160817982</c:v>
                </c:pt>
                <c:pt idx="7689">
                  <c:v>1.8073518379594899</c:v>
                </c:pt>
                <c:pt idx="7690">
                  <c:v>2.0690172543135787</c:v>
                </c:pt>
                <c:pt idx="7691">
                  <c:v>1.7013531160567923</c:v>
                </c:pt>
                <c:pt idx="7692">
                  <c:v>1.8633991831291157</c:v>
                </c:pt>
                <c:pt idx="7693">
                  <c:v>1.714989858575755</c:v>
                </c:pt>
                <c:pt idx="7694">
                  <c:v>1.7279764385540832</c:v>
                </c:pt>
                <c:pt idx="7695">
                  <c:v>1.6101469811897422</c:v>
                </c:pt>
                <c:pt idx="7696">
                  <c:v>1.5336889778000056</c:v>
                </c:pt>
                <c:pt idx="7697">
                  <c:v>1.7716929232308081</c:v>
                </c:pt>
                <c:pt idx="7698">
                  <c:v>1.8036731405073492</c:v>
                </c:pt>
                <c:pt idx="7699">
                  <c:v>1.9787946986746685</c:v>
                </c:pt>
                <c:pt idx="7700">
                  <c:v>1.878452946569976</c:v>
                </c:pt>
                <c:pt idx="7701">
                  <c:v>1.9754049623516994</c:v>
                </c:pt>
                <c:pt idx="7702">
                  <c:v>1.9280653496707512</c:v>
                </c:pt>
                <c:pt idx="7703">
                  <c:v>1.7988330415937321</c:v>
                </c:pt>
                <c:pt idx="7704">
                  <c:v>1.8631991331166127</c:v>
                </c:pt>
                <c:pt idx="7705">
                  <c:v>1.8202383929315662</c:v>
                </c:pt>
                <c:pt idx="7706">
                  <c:v>2.0186268789419577</c:v>
                </c:pt>
                <c:pt idx="7707">
                  <c:v>2.0138201216970915</c:v>
                </c:pt>
                <c:pt idx="7708">
                  <c:v>2.1171959656580812</c:v>
                </c:pt>
                <c:pt idx="7709">
                  <c:v>2.1627573560056681</c:v>
                </c:pt>
                <c:pt idx="7710">
                  <c:v>2.1308660498457948</c:v>
                </c:pt>
                <c:pt idx="7711">
                  <c:v>2.2269734100191716</c:v>
                </c:pt>
                <c:pt idx="7712">
                  <c:v>2.1560834653107719</c:v>
                </c:pt>
                <c:pt idx="7713">
                  <c:v>2.174460281737101</c:v>
                </c:pt>
                <c:pt idx="7714">
                  <c:v>2.2596482453946818</c:v>
                </c:pt>
                <c:pt idx="7715">
                  <c:v>2.201355894529188</c:v>
                </c:pt>
                <c:pt idx="7716">
                  <c:v>2.1032424772859879</c:v>
                </c:pt>
                <c:pt idx="7717">
                  <c:v>2.1744880664610595</c:v>
                </c:pt>
                <c:pt idx="7718">
                  <c:v>2.1730377038704121</c:v>
                </c:pt>
                <c:pt idx="7719">
                  <c:v>2.2172765413575615</c:v>
                </c:pt>
                <c:pt idx="7720">
                  <c:v>2.2646717234864271</c:v>
                </c:pt>
                <c:pt idx="7721">
                  <c:v>2.2475785613069936</c:v>
                </c:pt>
                <c:pt idx="7722">
                  <c:v>2.3340223944875107</c:v>
                </c:pt>
                <c:pt idx="7723">
                  <c:v>2.3034258564641164</c:v>
                </c:pt>
                <c:pt idx="7724">
                  <c:v>2.2110972187491318</c:v>
                </c:pt>
                <c:pt idx="7725">
                  <c:v>2.2247617459920535</c:v>
                </c:pt>
                <c:pt idx="7726">
                  <c:v>2.2539134783695927</c:v>
                </c:pt>
                <c:pt idx="7727">
                  <c:v>2.2314578644661167</c:v>
                </c:pt>
                <c:pt idx="7728">
                  <c:v>2.2697841126948406</c:v>
                </c:pt>
                <c:pt idx="7729">
                  <c:v>2.3255813953488373</c:v>
                </c:pt>
                <c:pt idx="7730">
                  <c:v>2.326198216220722</c:v>
                </c:pt>
                <c:pt idx="7731">
                  <c:v>2.258414603650913</c:v>
                </c:pt>
                <c:pt idx="7732">
                  <c:v>2.2017448806646107</c:v>
                </c:pt>
                <c:pt idx="7733">
                  <c:v>2.2393264982912395</c:v>
                </c:pt>
                <c:pt idx="7734">
                  <c:v>2.2523908754966522</c:v>
                </c:pt>
                <c:pt idx="7735">
                  <c:v>2.3552276958128422</c:v>
                </c:pt>
                <c:pt idx="7736">
                  <c:v>2.3203578672445886</c:v>
                </c:pt>
                <c:pt idx="7737">
                  <c:v>2.376266288794421</c:v>
                </c:pt>
                <c:pt idx="7738">
                  <c:v>2.3502431163346396</c:v>
                </c:pt>
                <c:pt idx="7739">
                  <c:v>2.35870634325248</c:v>
                </c:pt>
                <c:pt idx="7740">
                  <c:v>2.4000388986135421</c:v>
                </c:pt>
                <c:pt idx="7741">
                  <c:v>2.4505181851018309</c:v>
                </c:pt>
                <c:pt idx="7742">
                  <c:v>2.443649801339224</c:v>
                </c:pt>
                <c:pt idx="7743">
                  <c:v>2.4607596343530331</c:v>
                </c:pt>
                <c:pt idx="7744">
                  <c:v>2.4739129226751131</c:v>
                </c:pt>
                <c:pt idx="7745">
                  <c:v>2.5025423022422273</c:v>
                </c:pt>
                <c:pt idx="7746">
                  <c:v>2.550704342752355</c:v>
                </c:pt>
                <c:pt idx="7747">
                  <c:v>2.5395182128865552</c:v>
                </c:pt>
                <c:pt idx="7748">
                  <c:v>2.6323414186880054</c:v>
                </c:pt>
                <c:pt idx="7749">
                  <c:v>2.6761412575366061</c:v>
                </c:pt>
                <c:pt idx="7750">
                  <c:v>2.647728598816371</c:v>
                </c:pt>
                <c:pt idx="7751">
                  <c:v>2.6283626462171101</c:v>
                </c:pt>
                <c:pt idx="7752">
                  <c:v>2.4149092828762746</c:v>
                </c:pt>
                <c:pt idx="7753">
                  <c:v>2.4605429135061545</c:v>
                </c:pt>
                <c:pt idx="7754">
                  <c:v>2.4894279125336887</c:v>
                </c:pt>
                <c:pt idx="7755">
                  <c:v>2.5556555805618073</c:v>
                </c:pt>
                <c:pt idx="7756">
                  <c:v>2.5428523797616069</c:v>
                </c:pt>
                <c:pt idx="7757">
                  <c:v>2.5450862715678921</c:v>
                </c:pt>
                <c:pt idx="7758">
                  <c:v>2.5257147620238394</c:v>
                </c:pt>
                <c:pt idx="7759">
                  <c:v>2.5486149315106554</c:v>
                </c:pt>
                <c:pt idx="7760">
                  <c:v>2.5639132005223528</c:v>
                </c:pt>
                <c:pt idx="7761">
                  <c:v>2.4717901697646636</c:v>
                </c:pt>
                <c:pt idx="7762">
                  <c:v>2.5100163929871355</c:v>
                </c:pt>
                <c:pt idx="7763">
                  <c:v>2.4250229223972659</c:v>
                </c:pt>
                <c:pt idx="7764">
                  <c:v>2.4757467144563918</c:v>
                </c:pt>
                <c:pt idx="7765">
                  <c:v>2.5295879525436917</c:v>
                </c:pt>
                <c:pt idx="7766">
                  <c:v>2.5474201883804288</c:v>
                </c:pt>
                <c:pt idx="7767">
                  <c:v>2.5643133005473593</c:v>
                </c:pt>
                <c:pt idx="7768">
                  <c:v>2.6209330110305356</c:v>
                </c:pt>
                <c:pt idx="7769">
                  <c:v>2.5817787780278403</c:v>
                </c:pt>
                <c:pt idx="7770">
                  <c:v>2.6098691339501543</c:v>
                </c:pt>
                <c:pt idx="7771">
                  <c:v>2.5905142952404772</c:v>
                </c:pt>
                <c:pt idx="7772">
                  <c:v>2.6281070267566893</c:v>
                </c:pt>
                <c:pt idx="7773">
                  <c:v>2.594142980189492</c:v>
                </c:pt>
                <c:pt idx="7774">
                  <c:v>2.6427995887860853</c:v>
                </c:pt>
                <c:pt idx="7775">
                  <c:v>2.6759578783584783</c:v>
                </c:pt>
                <c:pt idx="7776">
                  <c:v>2.6635547775832848</c:v>
                </c:pt>
                <c:pt idx="7777">
                  <c:v>2.6741740990803256</c:v>
                </c:pt>
                <c:pt idx="7778">
                  <c:v>2.7050651551776834</c:v>
                </c:pt>
                <c:pt idx="7779">
                  <c:v>2.7113389458475732</c:v>
                </c:pt>
                <c:pt idx="7780">
                  <c:v>2.7327609680197829</c:v>
                </c:pt>
                <c:pt idx="7781">
                  <c:v>2.6870550971076104</c:v>
                </c:pt>
                <c:pt idx="7782">
                  <c:v>2.6643049651301718</c:v>
                </c:pt>
                <c:pt idx="7783">
                  <c:v>2.6914172987691369</c:v>
                </c:pt>
                <c:pt idx="7784">
                  <c:v>2.6675668917229309</c:v>
                </c:pt>
                <c:pt idx="7785">
                  <c:v>2.7131560667944767</c:v>
                </c:pt>
                <c:pt idx="7786">
                  <c:v>2.6998249562390599</c:v>
                </c:pt>
                <c:pt idx="7787">
                  <c:v>2.7286043733155516</c:v>
                </c:pt>
                <c:pt idx="7788">
                  <c:v>2.7554944291628463</c:v>
                </c:pt>
                <c:pt idx="7789">
                  <c:v>2.769053374454725</c:v>
                </c:pt>
                <c:pt idx="7790">
                  <c:v>2.7932927676363537</c:v>
                </c:pt>
                <c:pt idx="7791">
                  <c:v>2.8180989691867411</c:v>
                </c:pt>
                <c:pt idx="7792">
                  <c:v>2.8213164402211661</c:v>
                </c:pt>
                <c:pt idx="7793">
                  <c:v>2.8318412936567476</c:v>
                </c:pt>
                <c:pt idx="7794">
                  <c:v>2.8013225528604373</c:v>
                </c:pt>
                <c:pt idx="7795">
                  <c:v>2.8550971076102356</c:v>
                </c:pt>
                <c:pt idx="7796">
                  <c:v>2.8481620405101276</c:v>
                </c:pt>
                <c:pt idx="7797">
                  <c:v>2.8477841682642882</c:v>
                </c:pt>
                <c:pt idx="7798">
                  <c:v>2.8583090216998697</c:v>
                </c:pt>
                <c:pt idx="7799">
                  <c:v>2.8678002834041845</c:v>
                </c:pt>
                <c:pt idx="7800">
                  <c:v>2.851407296268512</c:v>
                </c:pt>
                <c:pt idx="7801">
                  <c:v>2.8636992581478706</c:v>
                </c:pt>
                <c:pt idx="7802">
                  <c:v>2.8772304187157904</c:v>
                </c:pt>
                <c:pt idx="7803">
                  <c:v>2.9166291572893224</c:v>
                </c:pt>
                <c:pt idx="7804">
                  <c:v>2.9307604678947516</c:v>
                </c:pt>
                <c:pt idx="7805">
                  <c:v>2.9708649384568369</c:v>
                </c:pt>
                <c:pt idx="7806">
                  <c:v>2.9777611069434027</c:v>
                </c:pt>
                <c:pt idx="7807">
                  <c:v>3.0049456808646609</c:v>
                </c:pt>
                <c:pt idx="7808">
                  <c:v>2.9966158206218219</c:v>
                </c:pt>
                <c:pt idx="7809">
                  <c:v>3.026767803061877</c:v>
                </c:pt>
                <c:pt idx="7810">
                  <c:v>3.0890722680670164</c:v>
                </c:pt>
                <c:pt idx="7811">
                  <c:v>2.9461976605262428</c:v>
                </c:pt>
                <c:pt idx="7812">
                  <c:v>2.9141007474090745</c:v>
                </c:pt>
                <c:pt idx="7813">
                  <c:v>2.8056291850740465</c:v>
                </c:pt>
                <c:pt idx="7814">
                  <c:v>2.8825039593231643</c:v>
                </c:pt>
                <c:pt idx="7815">
                  <c:v>2.8144147147898084</c:v>
                </c:pt>
                <c:pt idx="7816">
                  <c:v>2.8166319357617184</c:v>
                </c:pt>
                <c:pt idx="7817">
                  <c:v>2.8664721735989551</c:v>
                </c:pt>
                <c:pt idx="7818">
                  <c:v>2.8867105665305215</c:v>
                </c:pt>
                <c:pt idx="7819">
                  <c:v>2.8689061154177433</c:v>
                </c:pt>
                <c:pt idx="7820">
                  <c:v>2.8364146592203605</c:v>
                </c:pt>
                <c:pt idx="7821">
                  <c:v>2.7935706148759416</c:v>
                </c:pt>
                <c:pt idx="7822">
                  <c:v>2.7498708010335919</c:v>
                </c:pt>
                <c:pt idx="7823">
                  <c:v>2.7893251090550417</c:v>
                </c:pt>
                <c:pt idx="7824">
                  <c:v>2.6997138173432247</c:v>
                </c:pt>
                <c:pt idx="7825">
                  <c:v>2.7109499597121505</c:v>
                </c:pt>
                <c:pt idx="7826">
                  <c:v>2.7703592564807868</c:v>
                </c:pt>
                <c:pt idx="7827">
                  <c:v>2.8311077769442363</c:v>
                </c:pt>
                <c:pt idx="7828">
                  <c:v>2.8131532883220807</c:v>
                </c:pt>
                <c:pt idx="7829">
                  <c:v>2.8447556333527828</c:v>
                </c:pt>
                <c:pt idx="7830">
                  <c:v>2.8655219360395656</c:v>
                </c:pt>
                <c:pt idx="7831">
                  <c:v>2.8285404684504458</c:v>
                </c:pt>
                <c:pt idx="7832">
                  <c:v>2.8977688866661109</c:v>
                </c:pt>
                <c:pt idx="7833">
                  <c:v>2.8434052957683864</c:v>
                </c:pt>
                <c:pt idx="7834">
                  <c:v>2.9103720374538078</c:v>
                </c:pt>
                <c:pt idx="7835">
                  <c:v>2.9428746075407739</c:v>
                </c:pt>
                <c:pt idx="7836">
                  <c:v>2.9776166263788171</c:v>
                </c:pt>
                <c:pt idx="7837">
                  <c:v>3.0429162846267124</c:v>
                </c:pt>
                <c:pt idx="7838">
                  <c:v>3.0174210219221473</c:v>
                </c:pt>
                <c:pt idx="7839">
                  <c:v>2.9912089133394462</c:v>
                </c:pt>
                <c:pt idx="7840">
                  <c:v>2.9852240837987272</c:v>
                </c:pt>
                <c:pt idx="7841">
                  <c:v>2.9858297907810285</c:v>
                </c:pt>
                <c:pt idx="7842">
                  <c:v>2.9207468533800118</c:v>
                </c:pt>
                <c:pt idx="7843">
                  <c:v>2.9393515045428025</c:v>
                </c:pt>
                <c:pt idx="7844">
                  <c:v>2.9307882526187101</c:v>
                </c:pt>
                <c:pt idx="7845">
                  <c:v>2.9516379094773697</c:v>
                </c:pt>
                <c:pt idx="7846">
                  <c:v>2.9653302214442503</c:v>
                </c:pt>
                <c:pt idx="7847">
                  <c:v>2.8916451335055986</c:v>
                </c:pt>
                <c:pt idx="7848">
                  <c:v>2.8799366508293742</c:v>
                </c:pt>
                <c:pt idx="7849">
                  <c:v>2.7430190881053598</c:v>
                </c:pt>
                <c:pt idx="7850">
                  <c:v>2.7880525686977302</c:v>
                </c:pt>
                <c:pt idx="7851">
                  <c:v>2.7425134061293104</c:v>
                </c:pt>
                <c:pt idx="7852">
                  <c:v>2.788663832624823</c:v>
                </c:pt>
                <c:pt idx="7853">
                  <c:v>2.8561306993415023</c:v>
                </c:pt>
                <c:pt idx="7854">
                  <c:v>2.9411519546553309</c:v>
                </c:pt>
                <c:pt idx="7855">
                  <c:v>3.0185990942179988</c:v>
                </c:pt>
                <c:pt idx="7856">
                  <c:v>3.0179544886221557</c:v>
                </c:pt>
                <c:pt idx="7857">
                  <c:v>3.0653329999166461</c:v>
                </c:pt>
                <c:pt idx="7858">
                  <c:v>3.0603206357144845</c:v>
                </c:pt>
                <c:pt idx="7859">
                  <c:v>3.091383957100386</c:v>
                </c:pt>
                <c:pt idx="7860">
                  <c:v>3.0513961823789275</c:v>
                </c:pt>
                <c:pt idx="7861">
                  <c:v>3.1069211747381287</c:v>
                </c:pt>
                <c:pt idx="7862">
                  <c:v>3.1548109249534608</c:v>
                </c:pt>
                <c:pt idx="7863">
                  <c:v>3.1355005418021173</c:v>
                </c:pt>
                <c:pt idx="7864">
                  <c:v>3.0884332194159656</c:v>
                </c:pt>
                <c:pt idx="7865">
                  <c:v>3.104837320441221</c:v>
                </c:pt>
                <c:pt idx="7866">
                  <c:v>3.0769970270345368</c:v>
                </c:pt>
                <c:pt idx="7867">
                  <c:v>3.1004362201661522</c:v>
                </c:pt>
                <c:pt idx="7868">
                  <c:v>3.1667583562557304</c:v>
                </c:pt>
                <c:pt idx="7869">
                  <c:v>3.1603067433525052</c:v>
                </c:pt>
                <c:pt idx="7870">
                  <c:v>3.1706982301130839</c:v>
                </c:pt>
                <c:pt idx="7871">
                  <c:v>3.1521824900669619</c:v>
                </c:pt>
                <c:pt idx="7872">
                  <c:v>3.19911088883332</c:v>
                </c:pt>
                <c:pt idx="7873">
                  <c:v>3.2070295351615687</c:v>
                </c:pt>
                <c:pt idx="7874">
                  <c:v>3.2051846294907058</c:v>
                </c:pt>
                <c:pt idx="7875">
                  <c:v>3.2425995387735824</c:v>
                </c:pt>
                <c:pt idx="7876">
                  <c:v>3.2343919313161624</c:v>
                </c:pt>
                <c:pt idx="7877">
                  <c:v>3.2463004640048903</c:v>
                </c:pt>
                <c:pt idx="7878">
                  <c:v>3.212753188297075</c:v>
                </c:pt>
                <c:pt idx="7879">
                  <c:v>3.2076463560334529</c:v>
                </c:pt>
                <c:pt idx="7880">
                  <c:v>3.2024172709844132</c:v>
                </c:pt>
                <c:pt idx="7881">
                  <c:v>3.1848628823872636</c:v>
                </c:pt>
                <c:pt idx="7882">
                  <c:v>3.2389930816037342</c:v>
                </c:pt>
                <c:pt idx="7883">
                  <c:v>3.2465171848517684</c:v>
                </c:pt>
                <c:pt idx="7884">
                  <c:v>3.2711677919479873</c:v>
                </c:pt>
                <c:pt idx="7885">
                  <c:v>3.2564807868633823</c:v>
                </c:pt>
                <c:pt idx="7886">
                  <c:v>3.2399877747214578</c:v>
                </c:pt>
                <c:pt idx="7887">
                  <c:v>3.2315189908588255</c:v>
                </c:pt>
                <c:pt idx="7888">
                  <c:v>3.2347420188380429</c:v>
                </c:pt>
                <c:pt idx="7889">
                  <c:v>3.2501680975799507</c:v>
                </c:pt>
                <c:pt idx="7890">
                  <c:v>3.2872384762857383</c:v>
                </c:pt>
                <c:pt idx="7891">
                  <c:v>3.277697202078298</c:v>
                </c:pt>
                <c:pt idx="7892">
                  <c:v>3.2839043094106861</c:v>
                </c:pt>
                <c:pt idx="7893">
                  <c:v>3.3118279569892479</c:v>
                </c:pt>
                <c:pt idx="7894">
                  <c:v>3.2484343308049235</c:v>
                </c:pt>
                <c:pt idx="7895">
                  <c:v>3.2790364257731097</c:v>
                </c:pt>
                <c:pt idx="7896">
                  <c:v>3.3035369953599512</c:v>
                </c:pt>
                <c:pt idx="7897">
                  <c:v>3.3683698702453393</c:v>
                </c:pt>
                <c:pt idx="7898">
                  <c:v>3.3929204523353063</c:v>
                </c:pt>
                <c:pt idx="7899">
                  <c:v>3.364118807479648</c:v>
                </c:pt>
                <c:pt idx="7900">
                  <c:v>3.3659359284265511</c:v>
                </c:pt>
                <c:pt idx="7901">
                  <c:v>3.3759550998860828</c:v>
                </c:pt>
                <c:pt idx="7902">
                  <c:v>3.3600344530577093</c:v>
                </c:pt>
                <c:pt idx="7903">
                  <c:v>3.328743296935345</c:v>
                </c:pt>
                <c:pt idx="7904">
                  <c:v>3.3641299213692317</c:v>
                </c:pt>
                <c:pt idx="7905">
                  <c:v>3.4249506821149733</c:v>
                </c:pt>
                <c:pt idx="7906">
                  <c:v>3.4267233475035423</c:v>
                </c:pt>
                <c:pt idx="7907">
                  <c:v>3.4134366925064601</c:v>
                </c:pt>
                <c:pt idx="7908">
                  <c:v>3.4293962379483762</c:v>
                </c:pt>
                <c:pt idx="7909">
                  <c:v>3.4228279292045238</c:v>
                </c:pt>
                <c:pt idx="7910">
                  <c:v>3.3092662054402489</c:v>
                </c:pt>
                <c:pt idx="7911">
                  <c:v>3.35176571920758</c:v>
                </c:pt>
                <c:pt idx="7912">
                  <c:v>3.2682948514906505</c:v>
                </c:pt>
                <c:pt idx="7913">
                  <c:v>3.3368119807729713</c:v>
                </c:pt>
                <c:pt idx="7914">
                  <c:v>3.3971381734322472</c:v>
                </c:pt>
                <c:pt idx="7915">
                  <c:v>3.4015726153760664</c:v>
                </c:pt>
                <c:pt idx="7916">
                  <c:v>3.4497902253341115</c:v>
                </c:pt>
                <c:pt idx="7917">
                  <c:v>3.4676002333916811</c:v>
                </c:pt>
                <c:pt idx="7918">
                  <c:v>3.5007529660192827</c:v>
                </c:pt>
                <c:pt idx="7919">
                  <c:v>3.4965130171431751</c:v>
                </c:pt>
                <c:pt idx="7920">
                  <c:v>3.4950737684421105</c:v>
                </c:pt>
                <c:pt idx="7921">
                  <c:v>3.5034536411880746</c:v>
                </c:pt>
                <c:pt idx="7922">
                  <c:v>3.5249034480842436</c:v>
                </c:pt>
                <c:pt idx="7923">
                  <c:v>3.5228862771248366</c:v>
                </c:pt>
                <c:pt idx="7924">
                  <c:v>3.5221749881914928</c:v>
                </c:pt>
                <c:pt idx="7925">
                  <c:v>3.5023700369536828</c:v>
                </c:pt>
                <c:pt idx="7926">
                  <c:v>3.4942791253368899</c:v>
                </c:pt>
                <c:pt idx="7927">
                  <c:v>3.4598983079103114</c:v>
                </c:pt>
                <c:pt idx="7928">
                  <c:v>3.4655941763218587</c:v>
                </c:pt>
                <c:pt idx="7929">
                  <c:v>3.5163401961601517</c:v>
                </c:pt>
                <c:pt idx="7930">
                  <c:v>3.4064127142896838</c:v>
                </c:pt>
                <c:pt idx="7931">
                  <c:v>3.3859909421799896</c:v>
                </c:pt>
                <c:pt idx="7932">
                  <c:v>3.4904448334305798</c:v>
                </c:pt>
                <c:pt idx="7933">
                  <c:v>3.4541913256091803</c:v>
                </c:pt>
                <c:pt idx="7934">
                  <c:v>3.3962157205968158</c:v>
                </c:pt>
                <c:pt idx="7935">
                  <c:v>3.3380011669584064</c:v>
                </c:pt>
                <c:pt idx="7936">
                  <c:v>3.4227612458670222</c:v>
                </c:pt>
                <c:pt idx="7937">
                  <c:v>3.3991053318885278</c:v>
                </c:pt>
                <c:pt idx="7938">
                  <c:v>3.4617821121947152</c:v>
                </c:pt>
                <c:pt idx="7939">
                  <c:v>3.4889277875024316</c:v>
                </c:pt>
                <c:pt idx="7940">
                  <c:v>3.5359006418271237</c:v>
                </c:pt>
                <c:pt idx="7941">
                  <c:v>3.5416354088522128</c:v>
                </c:pt>
                <c:pt idx="7942">
                  <c:v>3.5713206079297599</c:v>
                </c:pt>
                <c:pt idx="7943">
                  <c:v>3.5642688449890247</c:v>
                </c:pt>
                <c:pt idx="7944">
                  <c:v>3.5774499180350645</c:v>
                </c:pt>
                <c:pt idx="7945">
                  <c:v>3.510110861048596</c:v>
                </c:pt>
                <c:pt idx="7946">
                  <c:v>3.5078658553527271</c:v>
                </c:pt>
                <c:pt idx="7947">
                  <c:v>3.5395459976105137</c:v>
                </c:pt>
                <c:pt idx="7948">
                  <c:v>3.5049206746130981</c:v>
                </c:pt>
                <c:pt idx="7949">
                  <c:v>3.4805645855908427</c:v>
                </c:pt>
                <c:pt idx="7950">
                  <c:v>3.5041871579005868</c:v>
                </c:pt>
                <c:pt idx="7951">
                  <c:v>3.5791336723069653</c:v>
                </c:pt>
                <c:pt idx="7952">
                  <c:v>3.5751660137256538</c:v>
                </c:pt>
                <c:pt idx="7953">
                  <c:v>3.5611958545191857</c:v>
                </c:pt>
                <c:pt idx="7954">
                  <c:v>3.5780778527965325</c:v>
                </c:pt>
                <c:pt idx="7955">
                  <c:v>3.6322191659025869</c:v>
                </c:pt>
                <c:pt idx="7956">
                  <c:v>3.6997304881776003</c:v>
                </c:pt>
                <c:pt idx="7957">
                  <c:v>3.6953627295712828</c:v>
                </c:pt>
                <c:pt idx="7958">
                  <c:v>3.7023867077880581</c:v>
                </c:pt>
                <c:pt idx="7959">
                  <c:v>3.723319718818594</c:v>
                </c:pt>
                <c:pt idx="7960">
                  <c:v>3.7598399599899972</c:v>
                </c:pt>
                <c:pt idx="7961">
                  <c:v>3.7589841904920682</c:v>
                </c:pt>
                <c:pt idx="7962">
                  <c:v>3.774665888694396</c:v>
                </c:pt>
                <c:pt idx="7963">
                  <c:v>3.7557222638993082</c:v>
                </c:pt>
                <c:pt idx="7964">
                  <c:v>3.8085854797032601</c:v>
                </c:pt>
                <c:pt idx="7965">
                  <c:v>3.8259342613431135</c:v>
                </c:pt>
                <c:pt idx="7966">
                  <c:v>3.8003223027979223</c:v>
                </c:pt>
                <c:pt idx="7967">
                  <c:v>3.7678308466005399</c:v>
                </c:pt>
                <c:pt idx="7968">
                  <c:v>3.8122030507626903</c:v>
                </c:pt>
                <c:pt idx="7969">
                  <c:v>3.7682642882942954</c:v>
                </c:pt>
                <c:pt idx="7970">
                  <c:v>3.8205384679503203</c:v>
                </c:pt>
                <c:pt idx="7971">
                  <c:v>3.829129504598372</c:v>
                </c:pt>
                <c:pt idx="7972">
                  <c:v>3.8281236975910646</c:v>
                </c:pt>
                <c:pt idx="7973">
                  <c:v>3.8240782417826678</c:v>
                </c:pt>
                <c:pt idx="7974">
                  <c:v>3.8569642410602656</c:v>
                </c:pt>
                <c:pt idx="7975">
                  <c:v>3.8224056014003498</c:v>
                </c:pt>
                <c:pt idx="7976">
                  <c:v>3.835664471673474</c:v>
                </c:pt>
                <c:pt idx="7977">
                  <c:v>3.8033730654885947</c:v>
                </c:pt>
                <c:pt idx="7978">
                  <c:v>3.8067794726459399</c:v>
                </c:pt>
                <c:pt idx="7979">
                  <c:v>3.846789475146565</c:v>
                </c:pt>
                <c:pt idx="7980">
                  <c:v>3.8833430579867185</c:v>
                </c:pt>
                <c:pt idx="7981">
                  <c:v>3.8324803423078002</c:v>
                </c:pt>
                <c:pt idx="7982">
                  <c:v>3.7906309910811036</c:v>
                </c:pt>
                <c:pt idx="7983">
                  <c:v>3.6885276874774249</c:v>
                </c:pt>
                <c:pt idx="7984">
                  <c:v>3.7464032674835375</c:v>
                </c:pt>
                <c:pt idx="7985">
                  <c:v>3.8175877302658998</c:v>
                </c:pt>
                <c:pt idx="7986">
                  <c:v>3.805406907282376</c:v>
                </c:pt>
                <c:pt idx="7987">
                  <c:v>3.7650690450390378</c:v>
                </c:pt>
                <c:pt idx="7988">
                  <c:v>3.751715706704454</c:v>
                </c:pt>
                <c:pt idx="7989">
                  <c:v>3.8023005751437857</c:v>
                </c:pt>
                <c:pt idx="7990">
                  <c:v>3.7987274596426879</c:v>
                </c:pt>
                <c:pt idx="7991">
                  <c:v>3.8467672473673975</c:v>
                </c:pt>
                <c:pt idx="7992">
                  <c:v>3.8365369120057791</c:v>
                </c:pt>
                <c:pt idx="7993">
                  <c:v>3.8456780861882143</c:v>
                </c:pt>
                <c:pt idx="7994">
                  <c:v>3.8517518268456001</c:v>
                </c:pt>
                <c:pt idx="7995">
                  <c:v>3.8560862437831682</c:v>
                </c:pt>
                <c:pt idx="7996">
                  <c:v>3.8538467950320916</c:v>
                </c:pt>
                <c:pt idx="7997">
                  <c:v>3.8613820121697087</c:v>
                </c:pt>
                <c:pt idx="7998">
                  <c:v>3.8445277986163209</c:v>
                </c:pt>
                <c:pt idx="7999">
                  <c:v>3.8873773999055317</c:v>
                </c:pt>
                <c:pt idx="8000">
                  <c:v>3.8835986774471403</c:v>
                </c:pt>
                <c:pt idx="8001">
                  <c:v>3.8845544719513212</c:v>
                </c:pt>
                <c:pt idx="8002">
                  <c:v>3.8758356255730595</c:v>
                </c:pt>
                <c:pt idx="8003">
                  <c:v>3.8987580228390426</c:v>
                </c:pt>
                <c:pt idx="8004">
                  <c:v>3.9084159928871109</c:v>
                </c:pt>
                <c:pt idx="8005">
                  <c:v>3.9185463032424774</c:v>
                </c:pt>
                <c:pt idx="8006">
                  <c:v>3.9088272068017007</c:v>
                </c:pt>
                <c:pt idx="8007">
                  <c:v>3.8824317190408717</c:v>
                </c:pt>
                <c:pt idx="8008">
                  <c:v>3.8804312189158399</c:v>
                </c:pt>
                <c:pt idx="8009">
                  <c:v>3.8166263788169266</c:v>
                </c:pt>
                <c:pt idx="8010">
                  <c:v>3.8842877386013175</c:v>
                </c:pt>
                <c:pt idx="8011">
                  <c:v>3.9093162179433749</c:v>
                </c:pt>
                <c:pt idx="8012">
                  <c:v>3.9040093356672507</c:v>
                </c:pt>
                <c:pt idx="8013">
                  <c:v>3.9329332333083267</c:v>
                </c:pt>
                <c:pt idx="8014">
                  <c:v>3.9494540301742109</c:v>
                </c:pt>
                <c:pt idx="8015">
                  <c:v>3.960906893390014</c:v>
                </c:pt>
                <c:pt idx="8016">
                  <c:v>3.962724014336918</c:v>
                </c:pt>
                <c:pt idx="8017">
                  <c:v>3.9694534744797316</c:v>
                </c:pt>
                <c:pt idx="8018">
                  <c:v>3.9957378233447249</c:v>
                </c:pt>
                <c:pt idx="8019">
                  <c:v>4.0338473507265702</c:v>
                </c:pt>
                <c:pt idx="8020">
                  <c:v>4.0239004195493324</c:v>
                </c:pt>
                <c:pt idx="8021">
                  <c:v>4.0407824178266791</c:v>
                </c:pt>
                <c:pt idx="8022">
                  <c:v>3.9986163207468532</c:v>
                </c:pt>
                <c:pt idx="8023">
                  <c:v>4.0550637659414859</c:v>
                </c:pt>
                <c:pt idx="8024">
                  <c:v>4.0725014586980075</c:v>
                </c:pt>
                <c:pt idx="8025">
                  <c:v>4.0546803367508542</c:v>
                </c:pt>
                <c:pt idx="8026">
                  <c:v>4.0611819621572067</c:v>
                </c:pt>
                <c:pt idx="8027">
                  <c:v>4.0447778611319496</c:v>
                </c:pt>
                <c:pt idx="8028">
                  <c:v>4.0067461309771888</c:v>
                </c:pt>
                <c:pt idx="8029">
                  <c:v>3.9273818454613654</c:v>
                </c:pt>
                <c:pt idx="8030">
                  <c:v>4.0022338918062852</c:v>
                </c:pt>
                <c:pt idx="8031">
                  <c:v>4.0434664221610959</c:v>
                </c:pt>
                <c:pt idx="8032">
                  <c:v>4.0540135033758444</c:v>
                </c:pt>
                <c:pt idx="8033">
                  <c:v>4.1055208246506067</c:v>
                </c:pt>
                <c:pt idx="8034">
                  <c:v>4.1177405462476724</c:v>
                </c:pt>
                <c:pt idx="8035">
                  <c:v>4.0936456336306302</c:v>
                </c:pt>
                <c:pt idx="8036">
                  <c:v>4.092728737739991</c:v>
                </c:pt>
                <c:pt idx="8037">
                  <c:v>4.1147509099497102</c:v>
                </c:pt>
                <c:pt idx="8038">
                  <c:v>4.0874996526909504</c:v>
                </c:pt>
                <c:pt idx="8039">
                  <c:v>4.0781362007168465</c:v>
                </c:pt>
                <c:pt idx="8040">
                  <c:v>4.1198077297102058</c:v>
                </c:pt>
                <c:pt idx="8041">
                  <c:v>4.0961407018421276</c:v>
                </c:pt>
                <c:pt idx="8042">
                  <c:v>4.1271095551665695</c:v>
                </c:pt>
                <c:pt idx="8043">
                  <c:v>4.1363007418521303</c:v>
                </c:pt>
                <c:pt idx="8044">
                  <c:v>4.1318662999083102</c:v>
                </c:pt>
                <c:pt idx="8045">
                  <c:v>4.1369620182823486</c:v>
                </c:pt>
                <c:pt idx="8046">
                  <c:v>4.1498430163096325</c:v>
                </c:pt>
                <c:pt idx="8047">
                  <c:v>4.1664027117890585</c:v>
                </c:pt>
                <c:pt idx="8048">
                  <c:v>4.1749103942652335</c:v>
                </c:pt>
                <c:pt idx="8049">
                  <c:v>4.1886193770664892</c:v>
                </c:pt>
                <c:pt idx="8050">
                  <c:v>4.1523047428523796</c:v>
                </c:pt>
                <c:pt idx="8051">
                  <c:v>4.0979022533411129</c:v>
                </c:pt>
                <c:pt idx="8052">
                  <c:v>4.1046483843183017</c:v>
                </c:pt>
                <c:pt idx="8053">
                  <c:v>4.1464588369314548</c:v>
                </c:pt>
                <c:pt idx="8054">
                  <c:v>4.1907921424800643</c:v>
                </c:pt>
                <c:pt idx="8055">
                  <c:v>4.1985829790781031</c:v>
                </c:pt>
                <c:pt idx="8056">
                  <c:v>4.2101914367480759</c:v>
                </c:pt>
                <c:pt idx="8057">
                  <c:v>4.1800394543080213</c:v>
                </c:pt>
                <c:pt idx="8058">
                  <c:v>4.2258342363368619</c:v>
                </c:pt>
                <c:pt idx="8059">
                  <c:v>4.2486677224861769</c:v>
                </c:pt>
                <c:pt idx="8060">
                  <c:v>4.2421883248589927</c:v>
                </c:pt>
                <c:pt idx="8061">
                  <c:v>4.2441721541496484</c:v>
                </c:pt>
                <c:pt idx="8062">
                  <c:v>4.2599094217998941</c:v>
                </c:pt>
                <c:pt idx="8063">
                  <c:v>4.2582812369759111</c:v>
                </c:pt>
                <c:pt idx="8064">
                  <c:v>4.240576810869384</c:v>
                </c:pt>
                <c:pt idx="8065">
                  <c:v>4.2338473507265704</c:v>
                </c:pt>
                <c:pt idx="8066">
                  <c:v>4.2101858798032845</c:v>
                </c:pt>
                <c:pt idx="8067">
                  <c:v>4.1701981050818269</c:v>
                </c:pt>
                <c:pt idx="8068">
                  <c:v>4.1820121697090942</c:v>
                </c:pt>
                <c:pt idx="8069">
                  <c:v>4.1535050429273985</c:v>
                </c:pt>
                <c:pt idx="8070">
                  <c:v>4.1973159956655834</c:v>
                </c:pt>
                <c:pt idx="8071">
                  <c:v>4.1894140201717098</c:v>
                </c:pt>
                <c:pt idx="8072">
                  <c:v>4.1421577616626379</c:v>
                </c:pt>
                <c:pt idx="8073">
                  <c:v>4.0548859437081495</c:v>
                </c:pt>
                <c:pt idx="8074">
                  <c:v>4.0510127531882967</c:v>
                </c:pt>
                <c:pt idx="8075">
                  <c:v>4.0990969964713404</c:v>
                </c:pt>
                <c:pt idx="8076">
                  <c:v>4.1611791836848102</c:v>
                </c:pt>
                <c:pt idx="8077">
                  <c:v>4.1687866411047203</c:v>
                </c:pt>
                <c:pt idx="8078">
                  <c:v>4.1545497485482485</c:v>
                </c:pt>
                <c:pt idx="8079">
                  <c:v>4.0498569086716119</c:v>
                </c:pt>
                <c:pt idx="8080">
                  <c:v>4.0582756800311195</c:v>
                </c:pt>
                <c:pt idx="8081">
                  <c:v>3.9983773721208085</c:v>
                </c:pt>
                <c:pt idx="8082">
                  <c:v>4.0558472951571227</c:v>
                </c:pt>
                <c:pt idx="8083">
                  <c:v>3.9904920674613091</c:v>
                </c:pt>
                <c:pt idx="8084">
                  <c:v>4.0435886749465144</c:v>
                </c:pt>
                <c:pt idx="8085">
                  <c:v>4.0642938512405884</c:v>
                </c:pt>
                <c:pt idx="8086">
                  <c:v>4.1074935400516797</c:v>
                </c:pt>
                <c:pt idx="8087">
                  <c:v>4.0977966713900695</c:v>
                </c:pt>
                <c:pt idx="8088">
                  <c:v>4.0627990330916068</c:v>
                </c:pt>
                <c:pt idx="8089">
                  <c:v>4.0505570837153728</c:v>
                </c:pt>
                <c:pt idx="8090">
                  <c:v>4.0659275930093637</c:v>
                </c:pt>
                <c:pt idx="8091">
                  <c:v>4.1529382345586399</c:v>
                </c:pt>
                <c:pt idx="8092">
                  <c:v>4.1913811786279904</c:v>
                </c:pt>
                <c:pt idx="8093">
                  <c:v>4.2089022255563897</c:v>
                </c:pt>
                <c:pt idx="8094">
                  <c:v>4.2474896501903263</c:v>
                </c:pt>
                <c:pt idx="8095">
                  <c:v>4.26677224861771</c:v>
                </c:pt>
                <c:pt idx="8096">
                  <c:v>4.2829374010169206</c:v>
                </c:pt>
                <c:pt idx="8097">
                  <c:v>4.2773526715012089</c:v>
                </c:pt>
                <c:pt idx="8098">
                  <c:v>4.3024311633463919</c:v>
                </c:pt>
                <c:pt idx="8099">
                  <c:v>4.3121002472840431</c:v>
                </c:pt>
                <c:pt idx="8100">
                  <c:v>4.2853602289461259</c:v>
                </c:pt>
                <c:pt idx="8101">
                  <c:v>4.3375732822094415</c:v>
                </c:pt>
                <c:pt idx="8102">
                  <c:v>4.3485704759523216</c:v>
                </c:pt>
                <c:pt idx="8103">
                  <c:v>4.3582506737795565</c:v>
                </c:pt>
                <c:pt idx="8104">
                  <c:v>4.3779833847350735</c:v>
                </c:pt>
                <c:pt idx="8105">
                  <c:v>4.4127254035731154</c:v>
                </c:pt>
                <c:pt idx="8106">
                  <c:v>4.436070128643272</c:v>
                </c:pt>
                <c:pt idx="8107">
                  <c:v>4.4569086716123474</c:v>
                </c:pt>
                <c:pt idx="8108">
                  <c:v>4.4618154538634656</c:v>
                </c:pt>
                <c:pt idx="8109">
                  <c:v>4.4430941068600491</c:v>
                </c:pt>
                <c:pt idx="8110">
                  <c:v>4.3995276596927004</c:v>
                </c:pt>
                <c:pt idx="8111">
                  <c:v>4.4025061821010807</c:v>
                </c:pt>
                <c:pt idx="8112">
                  <c:v>4.4420382873496154</c:v>
                </c:pt>
                <c:pt idx="8113">
                  <c:v>4.4422105526381603</c:v>
                </c:pt>
                <c:pt idx="8114">
                  <c:v>4.4635381067489099</c:v>
                </c:pt>
                <c:pt idx="8115">
                  <c:v>4.4504014892612043</c:v>
                </c:pt>
                <c:pt idx="8116">
                  <c:v>4.4693395571115007</c:v>
                </c:pt>
                <c:pt idx="8117">
                  <c:v>4.4618098969186741</c:v>
                </c:pt>
                <c:pt idx="8118">
                  <c:v>4.4448556583590344</c:v>
                </c:pt>
                <c:pt idx="8119">
                  <c:v>4.4539468200383432</c:v>
                </c:pt>
                <c:pt idx="8120">
                  <c:v>4.4667000083354171</c:v>
                </c:pt>
                <c:pt idx="8121">
                  <c:v>4.3425856464116031</c:v>
                </c:pt>
                <c:pt idx="8122">
                  <c:v>4.4134533633408353</c:v>
                </c:pt>
                <c:pt idx="8123">
                  <c:v>4.3115112111361178</c:v>
                </c:pt>
                <c:pt idx="8124">
                  <c:v>4.2492067461309766</c:v>
                </c:pt>
                <c:pt idx="8125">
                  <c:v>4.3245478036175715</c:v>
                </c:pt>
                <c:pt idx="8126">
                  <c:v>4.2798088410991646</c:v>
                </c:pt>
                <c:pt idx="8127">
                  <c:v>4.3419021422022173</c:v>
                </c:pt>
                <c:pt idx="8128">
                  <c:v>4.4525853685643639</c:v>
                </c:pt>
                <c:pt idx="8129">
                  <c:v>4.4695229362896285</c:v>
                </c:pt>
                <c:pt idx="8130">
                  <c:v>4.430907726931733</c:v>
                </c:pt>
                <c:pt idx="8131">
                  <c:v>4.4828262621210868</c:v>
                </c:pt>
                <c:pt idx="8132">
                  <c:v>4.4328526576088469</c:v>
                </c:pt>
                <c:pt idx="8133">
                  <c:v>4.3930482620655162</c:v>
                </c:pt>
                <c:pt idx="8134">
                  <c:v>4.4813258870273129</c:v>
                </c:pt>
                <c:pt idx="8135">
                  <c:v>4.4336306298796924</c:v>
                </c:pt>
                <c:pt idx="8136">
                  <c:v>4.3780278402934067</c:v>
                </c:pt>
                <c:pt idx="8137">
                  <c:v>4.3168347642466172</c:v>
                </c:pt>
                <c:pt idx="8138">
                  <c:v>4.4117584951793507</c:v>
                </c:pt>
                <c:pt idx="8139">
                  <c:v>4.4674224111583447</c:v>
                </c:pt>
                <c:pt idx="8140">
                  <c:v>4.5015420521797109</c:v>
                </c:pt>
                <c:pt idx="8141">
                  <c:v>4.5778778027840294</c:v>
                </c:pt>
                <c:pt idx="8142">
                  <c:v>4.5722430607651914</c:v>
                </c:pt>
                <c:pt idx="8143">
                  <c:v>4.5800672390319805</c:v>
                </c:pt>
                <c:pt idx="8144">
                  <c:v>4.5638965296879777</c:v>
                </c:pt>
                <c:pt idx="8145">
                  <c:v>4.5495540551804625</c:v>
                </c:pt>
                <c:pt idx="8146">
                  <c:v>4.5849573504487235</c:v>
                </c:pt>
                <c:pt idx="8147">
                  <c:v>4.5818121196965906</c:v>
                </c:pt>
                <c:pt idx="8148">
                  <c:v>4.4739796060126151</c:v>
                </c:pt>
                <c:pt idx="8149">
                  <c:v>4.469100608485455</c:v>
                </c:pt>
                <c:pt idx="8150">
                  <c:v>4.4479453196632495</c:v>
                </c:pt>
                <c:pt idx="8151">
                  <c:v>4.4400933566725014</c:v>
                </c:pt>
                <c:pt idx="8152">
                  <c:v>4.4899224806201552</c:v>
                </c:pt>
                <c:pt idx="8153">
                  <c:v>4.505476369092273</c:v>
                </c:pt>
                <c:pt idx="8154">
                  <c:v>4.427662471173349</c:v>
                </c:pt>
                <c:pt idx="8155">
                  <c:v>4.4322080520130038</c:v>
                </c:pt>
                <c:pt idx="8156">
                  <c:v>4.332405323553111</c:v>
                </c:pt>
                <c:pt idx="8157">
                  <c:v>4.28084243283043</c:v>
                </c:pt>
                <c:pt idx="8158">
                  <c:v>4.2229501819899413</c:v>
                </c:pt>
                <c:pt idx="8159">
                  <c:v>4.124214386930066</c:v>
                </c:pt>
                <c:pt idx="8160">
                  <c:v>4.1384179378177883</c:v>
                </c:pt>
                <c:pt idx="8161">
                  <c:v>4.0758967519657689</c:v>
                </c:pt>
                <c:pt idx="8162">
                  <c:v>4.0683504209385681</c:v>
                </c:pt>
                <c:pt idx="8163">
                  <c:v>4.0413936817537719</c:v>
                </c:pt>
                <c:pt idx="8164">
                  <c:v>4.1647411852963234</c:v>
                </c:pt>
                <c:pt idx="8165">
                  <c:v>4.2623822622322249</c:v>
                </c:pt>
                <c:pt idx="8166">
                  <c:v>4.2985190742129982</c:v>
                </c:pt>
                <c:pt idx="8167">
                  <c:v>4.3484982356700286</c:v>
                </c:pt>
                <c:pt idx="8168">
                  <c:v>4.2182879053096611</c:v>
                </c:pt>
                <c:pt idx="8169">
                  <c:v>4.2460781862132198</c:v>
                </c:pt>
                <c:pt idx="8170">
                  <c:v>4.2267733600066686</c:v>
                </c:pt>
                <c:pt idx="8171">
                  <c:v>4.270734350254231</c:v>
                </c:pt>
                <c:pt idx="8172">
                  <c:v>4.3479147564668947</c:v>
                </c:pt>
                <c:pt idx="8173">
                  <c:v>4.2517129282320578</c:v>
                </c:pt>
                <c:pt idx="8174">
                  <c:v>4.1522880720180044</c:v>
                </c:pt>
                <c:pt idx="8175">
                  <c:v>4.1328721069156185</c:v>
                </c:pt>
                <c:pt idx="8176">
                  <c:v>4.2143980439554332</c:v>
                </c:pt>
                <c:pt idx="8177">
                  <c:v>4.2196882553971831</c:v>
                </c:pt>
                <c:pt idx="8178">
                  <c:v>4.1098052290850493</c:v>
                </c:pt>
                <c:pt idx="8179">
                  <c:v>4.0739407073990721</c:v>
                </c:pt>
                <c:pt idx="8180">
                  <c:v>4.0225445250201437</c:v>
                </c:pt>
                <c:pt idx="8181">
                  <c:v>3.9300936345197419</c:v>
                </c:pt>
                <c:pt idx="8182">
                  <c:v>4.004234391931317</c:v>
                </c:pt>
                <c:pt idx="8183">
                  <c:v>4.1167514100747411</c:v>
                </c:pt>
                <c:pt idx="8184">
                  <c:v>4.1048150926620552</c:v>
                </c:pt>
                <c:pt idx="8185">
                  <c:v>4.0259620460670718</c:v>
                </c:pt>
                <c:pt idx="8186">
                  <c:v>4.1198299574893724</c:v>
                </c:pt>
                <c:pt idx="8187">
                  <c:v>4.0935678364035448</c:v>
                </c:pt>
                <c:pt idx="8188">
                  <c:v>4.053507821399795</c:v>
                </c:pt>
                <c:pt idx="8189">
                  <c:v>3.9044038787474644</c:v>
                </c:pt>
                <c:pt idx="8190">
                  <c:v>3.8690561529271212</c:v>
                </c:pt>
                <c:pt idx="8191">
                  <c:v>3.9949431802395043</c:v>
                </c:pt>
                <c:pt idx="8192">
                  <c:v>3.9739657136506352</c:v>
                </c:pt>
                <c:pt idx="8193">
                  <c:v>3.9097830013058816</c:v>
                </c:pt>
                <c:pt idx="8194">
                  <c:v>3.874413047706371</c:v>
                </c:pt>
                <c:pt idx="8195">
                  <c:v>3.9788780528465448</c:v>
                </c:pt>
                <c:pt idx="8196">
                  <c:v>4.0904448334305803</c:v>
                </c:pt>
                <c:pt idx="8197">
                  <c:v>4.1536050679336505</c:v>
                </c:pt>
                <c:pt idx="8198">
                  <c:v>4.2137645522491738</c:v>
                </c:pt>
                <c:pt idx="8199">
                  <c:v>4.2117696090689343</c:v>
                </c:pt>
                <c:pt idx="8200">
                  <c:v>4.2706843377511046</c:v>
                </c:pt>
                <c:pt idx="8201">
                  <c:v>4.2062904615042651</c:v>
                </c:pt>
                <c:pt idx="8202">
                  <c:v>4.2814259120335647</c:v>
                </c:pt>
                <c:pt idx="8203">
                  <c:v>4.3082159428746074</c:v>
                </c:pt>
                <c:pt idx="8204">
                  <c:v>4.3461476480231171</c:v>
                </c:pt>
                <c:pt idx="8205">
                  <c:v>4.4116862548970577</c:v>
                </c:pt>
                <c:pt idx="8206">
                  <c:v>4.3781778778027833</c:v>
                </c:pt>
                <c:pt idx="8207">
                  <c:v>4.2943569225639742</c:v>
                </c:pt>
                <c:pt idx="8208">
                  <c:v>4.3124114361923818</c:v>
                </c:pt>
                <c:pt idx="8209">
                  <c:v>4.3554333027701375</c:v>
                </c:pt>
                <c:pt idx="8210">
                  <c:v>4.2890667111222252</c:v>
                </c:pt>
                <c:pt idx="8211">
                  <c:v>4.2376927565224642</c:v>
                </c:pt>
                <c:pt idx="8212">
                  <c:v>4.2606262676780311</c:v>
                </c:pt>
                <c:pt idx="8213">
                  <c:v>4.2467783612569807</c:v>
                </c:pt>
                <c:pt idx="8214">
                  <c:v>4.1582228890555974</c:v>
                </c:pt>
                <c:pt idx="8215">
                  <c:v>4.1407685254646998</c:v>
                </c:pt>
                <c:pt idx="8216">
                  <c:v>4.1991942430051949</c:v>
                </c:pt>
                <c:pt idx="8217">
                  <c:v>4.1360506793365008</c:v>
                </c:pt>
                <c:pt idx="8218">
                  <c:v>4.1350004167708594</c:v>
                </c:pt>
                <c:pt idx="8219">
                  <c:v>4.2175321608179823</c:v>
                </c:pt>
                <c:pt idx="8220">
                  <c:v>4.2143813731210589</c:v>
                </c:pt>
                <c:pt idx="8221">
                  <c:v>4.1378733572281963</c:v>
                </c:pt>
                <c:pt idx="8222">
                  <c:v>3.9954210774915957</c:v>
                </c:pt>
                <c:pt idx="8223">
                  <c:v>4.0239559889972494</c:v>
                </c:pt>
                <c:pt idx="8224">
                  <c:v>3.882592870439832</c:v>
                </c:pt>
                <c:pt idx="8225">
                  <c:v>3.8928898891389512</c:v>
                </c:pt>
                <c:pt idx="8226">
                  <c:v>4.0142646772804316</c:v>
                </c:pt>
                <c:pt idx="8227">
                  <c:v>3.8326803923203023</c:v>
                </c:pt>
                <c:pt idx="8228">
                  <c:v>3.8601316995915642</c:v>
                </c:pt>
                <c:pt idx="8229">
                  <c:v>3.8836431330054744</c:v>
                </c:pt>
                <c:pt idx="8230">
                  <c:v>4.0295351615681696</c:v>
                </c:pt>
                <c:pt idx="8231">
                  <c:v>3.8507738045622517</c:v>
                </c:pt>
                <c:pt idx="8232">
                  <c:v>3.8239671028868329</c:v>
                </c:pt>
                <c:pt idx="8233">
                  <c:v>3.6697785557500486</c:v>
                </c:pt>
                <c:pt idx="8234">
                  <c:v>3.681281431468979</c:v>
                </c:pt>
                <c:pt idx="8235">
                  <c:v>3.6043844294406933</c:v>
                </c:pt>
                <c:pt idx="8236">
                  <c:v>3.6000611263927098</c:v>
                </c:pt>
                <c:pt idx="8237">
                  <c:v>3.7103831513433914</c:v>
                </c:pt>
                <c:pt idx="8238">
                  <c:v>3.6920341196410211</c:v>
                </c:pt>
                <c:pt idx="8239">
                  <c:v>3.7869245089050034</c:v>
                </c:pt>
                <c:pt idx="8240">
                  <c:v>3.5946597760551251</c:v>
                </c:pt>
                <c:pt idx="8241">
                  <c:v>3.568347642466172</c:v>
                </c:pt>
                <c:pt idx="8242">
                  <c:v>3.569092273068267</c:v>
                </c:pt>
                <c:pt idx="8243">
                  <c:v>3.6544247172904347</c:v>
                </c:pt>
                <c:pt idx="8244">
                  <c:v>3.6166930621544271</c:v>
                </c:pt>
                <c:pt idx="8245">
                  <c:v>3.6603984329415695</c:v>
                </c:pt>
                <c:pt idx="8246">
                  <c:v>3.753232752632603</c:v>
                </c:pt>
                <c:pt idx="8247">
                  <c:v>3.8716790308688287</c:v>
                </c:pt>
                <c:pt idx="8248">
                  <c:v>3.8415437192631492</c:v>
                </c:pt>
                <c:pt idx="8249">
                  <c:v>3.8058014503625914</c:v>
                </c:pt>
                <c:pt idx="8250">
                  <c:v>3.8952126920619046</c:v>
                </c:pt>
                <c:pt idx="8251">
                  <c:v>3.8155372176377425</c:v>
                </c:pt>
                <c:pt idx="8252">
                  <c:v>3.8306854491400628</c:v>
                </c:pt>
                <c:pt idx="8253">
                  <c:v>3.8768247617459926</c:v>
                </c:pt>
                <c:pt idx="8254">
                  <c:v>3.8243616459670475</c:v>
                </c:pt>
                <c:pt idx="8255">
                  <c:v>3.7100163929871357</c:v>
                </c:pt>
                <c:pt idx="8256">
                  <c:v>3.5730488177599957</c:v>
                </c:pt>
                <c:pt idx="8257">
                  <c:v>3.3957822789030594</c:v>
                </c:pt>
                <c:pt idx="8258">
                  <c:v>3.3807285154621987</c:v>
                </c:pt>
                <c:pt idx="8259">
                  <c:v>3.4447889750215328</c:v>
                </c:pt>
                <c:pt idx="8260">
                  <c:v>3.3007362951849073</c:v>
                </c:pt>
                <c:pt idx="8261">
                  <c:v>3.3102942402267237</c:v>
                </c:pt>
                <c:pt idx="8262">
                  <c:v>3.4160428996137924</c:v>
                </c:pt>
                <c:pt idx="8263">
                  <c:v>3.4103637020366202</c:v>
                </c:pt>
                <c:pt idx="8264">
                  <c:v>3.4526020393987391</c:v>
                </c:pt>
                <c:pt idx="8265">
                  <c:v>3.5887694145758662</c:v>
                </c:pt>
                <c:pt idx="8266">
                  <c:v>3.5752660387319057</c:v>
                </c:pt>
                <c:pt idx="8267">
                  <c:v>3.483098552415882</c:v>
                </c:pt>
                <c:pt idx="8268">
                  <c:v>3.4804089911366729</c:v>
                </c:pt>
                <c:pt idx="8269">
                  <c:v>3.4419049206746131</c:v>
                </c:pt>
                <c:pt idx="8270">
                  <c:v>3.4888388763857634</c:v>
                </c:pt>
                <c:pt idx="8271">
                  <c:v>3.4967630796588036</c:v>
                </c:pt>
                <c:pt idx="8272">
                  <c:v>3.512911561223639</c:v>
                </c:pt>
                <c:pt idx="8273">
                  <c:v>3.5809730210330368</c:v>
                </c:pt>
                <c:pt idx="8274">
                  <c:v>3.5775332722069404</c:v>
                </c:pt>
                <c:pt idx="8275">
                  <c:v>3.5248423216915343</c:v>
                </c:pt>
                <c:pt idx="8276">
                  <c:v>3.483098552415882</c:v>
                </c:pt>
                <c:pt idx="8277">
                  <c:v>3.4632046900614046</c:v>
                </c:pt>
                <c:pt idx="8278">
                  <c:v>3.4503959323164128</c:v>
                </c:pt>
                <c:pt idx="8279">
                  <c:v>3.5358561862687896</c:v>
                </c:pt>
                <c:pt idx="8280">
                  <c:v>3.4979189241754884</c:v>
                </c:pt>
                <c:pt idx="8281">
                  <c:v>3.6223778166763916</c:v>
                </c:pt>
                <c:pt idx="8282">
                  <c:v>3.6497013142174435</c:v>
                </c:pt>
                <c:pt idx="8283">
                  <c:v>3.6959739934983746</c:v>
                </c:pt>
                <c:pt idx="8284">
                  <c:v>3.6522019393737333</c:v>
                </c:pt>
                <c:pt idx="8285">
                  <c:v>3.6583201355894523</c:v>
                </c:pt>
                <c:pt idx="8286">
                  <c:v>3.6045900363979886</c:v>
                </c:pt>
                <c:pt idx="8287">
                  <c:v>3.7250812703175802</c:v>
                </c:pt>
                <c:pt idx="8288">
                  <c:v>3.7829957489372346</c:v>
                </c:pt>
                <c:pt idx="8289">
                  <c:v>3.8514684226612204</c:v>
                </c:pt>
                <c:pt idx="8290">
                  <c:v>3.8378038954182996</c:v>
                </c:pt>
                <c:pt idx="8291">
                  <c:v>3.8055958434052961</c:v>
                </c:pt>
                <c:pt idx="8292">
                  <c:v>3.880820205051263</c:v>
                </c:pt>
                <c:pt idx="8293">
                  <c:v>3.8774582534522519</c:v>
                </c:pt>
                <c:pt idx="8294">
                  <c:v>3.8701508710510959</c:v>
                </c:pt>
                <c:pt idx="8295">
                  <c:v>3.8642104970687114</c:v>
                </c:pt>
                <c:pt idx="8296">
                  <c:v>3.8438498513517265</c:v>
                </c:pt>
                <c:pt idx="8297">
                  <c:v>3.9471923536439659</c:v>
                </c:pt>
                <c:pt idx="8298">
                  <c:v>3.9450362590647661</c:v>
                </c:pt>
                <c:pt idx="8299">
                  <c:v>4.0313356116806975</c:v>
                </c:pt>
                <c:pt idx="8300">
                  <c:v>4.05146286571643</c:v>
                </c:pt>
                <c:pt idx="8301">
                  <c:v>4.0611930760467905</c:v>
                </c:pt>
                <c:pt idx="8302">
                  <c:v>4.0254730349253984</c:v>
                </c:pt>
                <c:pt idx="8303">
                  <c:v>4.0376427440193385</c:v>
                </c:pt>
                <c:pt idx="8304">
                  <c:v>3.9728098691339504</c:v>
                </c:pt>
                <c:pt idx="8305">
                  <c:v>3.8669056152927119</c:v>
                </c:pt>
                <c:pt idx="8306">
                  <c:v>3.8560806868383768</c:v>
                </c:pt>
                <c:pt idx="8307">
                  <c:v>3.870339807174016</c:v>
                </c:pt>
                <c:pt idx="8308">
                  <c:v>3.9390847711927979</c:v>
                </c:pt>
                <c:pt idx="8309">
                  <c:v>3.7728320969131177</c:v>
                </c:pt>
                <c:pt idx="8310">
                  <c:v>3.7412408657719984</c:v>
                </c:pt>
                <c:pt idx="8311">
                  <c:v>3.6893334444722292</c:v>
                </c:pt>
                <c:pt idx="8312">
                  <c:v>3.6536189602956295</c:v>
                </c:pt>
                <c:pt idx="8313">
                  <c:v>3.668367091772943</c:v>
                </c:pt>
                <c:pt idx="8314">
                  <c:v>3.618610208107583</c:v>
                </c:pt>
                <c:pt idx="8315">
                  <c:v>3.5999333166624989</c:v>
                </c:pt>
                <c:pt idx="8316">
                  <c:v>3.6844322191659034</c:v>
                </c:pt>
                <c:pt idx="8317">
                  <c:v>3.7159734378038953</c:v>
                </c:pt>
                <c:pt idx="8318">
                  <c:v>3.7884082131644021</c:v>
                </c:pt>
                <c:pt idx="8319">
                  <c:v>3.8390819927204021</c:v>
                </c:pt>
                <c:pt idx="8320">
                  <c:v>3.6299908310410931</c:v>
                </c:pt>
                <c:pt idx="8321">
                  <c:v>3.6469395126559414</c:v>
                </c:pt>
                <c:pt idx="8322">
                  <c:v>3.594815370509294</c:v>
                </c:pt>
                <c:pt idx="8323">
                  <c:v>3.5618904726181553</c:v>
                </c:pt>
                <c:pt idx="8324">
                  <c:v>3.5932205273540605</c:v>
                </c:pt>
                <c:pt idx="8325">
                  <c:v>3.5414909282876277</c:v>
                </c:pt>
                <c:pt idx="8326">
                  <c:v>3.4640549026145422</c:v>
                </c:pt>
                <c:pt idx="8327">
                  <c:v>3.4266399933316665</c:v>
                </c:pt>
                <c:pt idx="8328">
                  <c:v>3.3504598371815177</c:v>
                </c:pt>
                <c:pt idx="8329">
                  <c:v>3.3054819260370651</c:v>
                </c:pt>
                <c:pt idx="8330">
                  <c:v>3.2966241560390097</c:v>
                </c:pt>
                <c:pt idx="8331">
                  <c:v>3.3814009057820016</c:v>
                </c:pt>
                <c:pt idx="8332">
                  <c:v>3.2894556972576483</c:v>
                </c:pt>
                <c:pt idx="8333">
                  <c:v>3.2250229223972662</c:v>
                </c:pt>
                <c:pt idx="8334">
                  <c:v>3.3344169375677257</c:v>
                </c:pt>
                <c:pt idx="8335">
                  <c:v>3.4673668417104277</c:v>
                </c:pt>
                <c:pt idx="8336">
                  <c:v>3.4587869189519607</c:v>
                </c:pt>
                <c:pt idx="8337">
                  <c:v>3.4142313356116807</c:v>
                </c:pt>
                <c:pt idx="8338">
                  <c:v>3.2907615792837097</c:v>
                </c:pt>
                <c:pt idx="8339">
                  <c:v>3.2586090967186241</c:v>
                </c:pt>
                <c:pt idx="8340">
                  <c:v>3.2309188408213165</c:v>
                </c:pt>
                <c:pt idx="8341">
                  <c:v>3.2171098330138088</c:v>
                </c:pt>
                <c:pt idx="8342">
                  <c:v>3.327170681559279</c:v>
                </c:pt>
                <c:pt idx="8343">
                  <c:v>3.2249395682253894</c:v>
                </c:pt>
                <c:pt idx="8344">
                  <c:v>3.336823094662555</c:v>
                </c:pt>
                <c:pt idx="8345">
                  <c:v>3.3864743963768724</c:v>
                </c:pt>
                <c:pt idx="8346">
                  <c:v>3.3571948542691228</c:v>
                </c:pt>
                <c:pt idx="8347">
                  <c:v>3.3230418715790062</c:v>
                </c:pt>
                <c:pt idx="8348">
                  <c:v>3.4256897557722761</c:v>
                </c:pt>
                <c:pt idx="8349">
                  <c:v>3.4782751243366397</c:v>
                </c:pt>
                <c:pt idx="8350">
                  <c:v>3.5511488983356951</c:v>
                </c:pt>
                <c:pt idx="8351">
                  <c:v>3.5175849517935038</c:v>
                </c:pt>
                <c:pt idx="8352">
                  <c:v>3.4901892139701589</c:v>
                </c:pt>
                <c:pt idx="8353">
                  <c:v>3.6012114139646023</c:v>
                </c:pt>
                <c:pt idx="8354">
                  <c:v>3.5670862159984447</c:v>
                </c:pt>
                <c:pt idx="8355">
                  <c:v>3.5483982106637768</c:v>
                </c:pt>
                <c:pt idx="8356">
                  <c:v>3.4347031202245004</c:v>
                </c:pt>
                <c:pt idx="8357">
                  <c:v>3.3883248589925259</c:v>
                </c:pt>
                <c:pt idx="8358">
                  <c:v>3.4490233669528489</c:v>
                </c:pt>
                <c:pt idx="8359">
                  <c:v>3.4918896390764358</c:v>
                </c:pt>
                <c:pt idx="8360">
                  <c:v>3.517073712872663</c:v>
                </c:pt>
                <c:pt idx="8361">
                  <c:v>3.4241727098441279</c:v>
                </c:pt>
                <c:pt idx="8362">
                  <c:v>3.6697674418604649</c:v>
                </c:pt>
                <c:pt idx="8363">
                  <c:v>3.7129171181684306</c:v>
                </c:pt>
                <c:pt idx="8364">
                  <c:v>3.6718624100469563</c:v>
                </c:pt>
                <c:pt idx="8365">
                  <c:v>3.7129226751132229</c:v>
                </c:pt>
                <c:pt idx="8366">
                  <c:v>3.6751076658053403</c:v>
                </c:pt>
                <c:pt idx="8367">
                  <c:v>3.6616320746853379</c:v>
                </c:pt>
                <c:pt idx="8368">
                  <c:v>3.683954321913812</c:v>
                </c:pt>
                <c:pt idx="8369">
                  <c:v>3.666294351365619</c:v>
                </c:pt>
                <c:pt idx="8370">
                  <c:v>3.729782445611403</c:v>
                </c:pt>
                <c:pt idx="8371">
                  <c:v>3.7580061682087189</c:v>
                </c:pt>
                <c:pt idx="8372">
                  <c:v>3.7567947542441171</c:v>
                </c:pt>
                <c:pt idx="8373">
                  <c:v>3.6833652857658867</c:v>
                </c:pt>
                <c:pt idx="8374">
                  <c:v>3.676319079769943</c:v>
                </c:pt>
                <c:pt idx="8375">
                  <c:v>3.8223166902836825</c:v>
                </c:pt>
                <c:pt idx="8376">
                  <c:v>3.8189269539607125</c:v>
                </c:pt>
                <c:pt idx="8377">
                  <c:v>3.8135533883470867</c:v>
                </c:pt>
                <c:pt idx="8378">
                  <c:v>3.7274818704676171</c:v>
                </c:pt>
                <c:pt idx="8379">
                  <c:v>3.6595871190019729</c:v>
                </c:pt>
                <c:pt idx="8380">
                  <c:v>3.6510183101330886</c:v>
                </c:pt>
                <c:pt idx="8381">
                  <c:v>3.6866716679169791</c:v>
                </c:pt>
                <c:pt idx="8382">
                  <c:v>3.6524186602206106</c:v>
                </c:pt>
                <c:pt idx="8383">
                  <c:v>3.7188797199299826</c:v>
                </c:pt>
                <c:pt idx="8384">
                  <c:v>3.7534661443138564</c:v>
                </c:pt>
                <c:pt idx="8385">
                  <c:v>3.7256091800727953</c:v>
                </c:pt>
                <c:pt idx="8386">
                  <c:v>3.6081742657886693</c:v>
                </c:pt>
                <c:pt idx="8387">
                  <c:v>3.557194854269123</c:v>
                </c:pt>
                <c:pt idx="8388">
                  <c:v>3.5164457781111942</c:v>
                </c:pt>
                <c:pt idx="8389">
                  <c:v>3.5212969909143954</c:v>
                </c:pt>
                <c:pt idx="8390">
                  <c:v>3.5891639576560808</c:v>
                </c:pt>
                <c:pt idx="8391">
                  <c:v>3.5228362646217111</c:v>
                </c:pt>
                <c:pt idx="8392">
                  <c:v>3.5495040426773361</c:v>
                </c:pt>
                <c:pt idx="8393">
                  <c:v>3.5314495290489285</c:v>
                </c:pt>
                <c:pt idx="8394">
                  <c:v>3.4770192548137038</c:v>
                </c:pt>
                <c:pt idx="8395">
                  <c:v>3.5557833902920182</c:v>
                </c:pt>
                <c:pt idx="8396">
                  <c:v>3.5444805645855908</c:v>
                </c:pt>
                <c:pt idx="8397">
                  <c:v>3.5264649495707268</c:v>
                </c:pt>
                <c:pt idx="8398">
                  <c:v>3.5608179822733463</c:v>
                </c:pt>
                <c:pt idx="8399">
                  <c:v>3.5084326637214858</c:v>
                </c:pt>
                <c:pt idx="8400">
                  <c:v>3.6114917618293463</c:v>
                </c:pt>
                <c:pt idx="8401">
                  <c:v>3.6088188713845124</c:v>
                </c:pt>
                <c:pt idx="8402">
                  <c:v>3.6409824678391827</c:v>
                </c:pt>
                <c:pt idx="8403">
                  <c:v>3.7007196243505325</c:v>
                </c:pt>
                <c:pt idx="8404">
                  <c:v>3.7173348892778755</c:v>
                </c:pt>
                <c:pt idx="8405">
                  <c:v>3.7363618682448392</c:v>
                </c:pt>
                <c:pt idx="8406">
                  <c:v>3.7267539106998973</c:v>
                </c:pt>
                <c:pt idx="8407">
                  <c:v>3.653196632491456</c:v>
                </c:pt>
                <c:pt idx="8408">
                  <c:v>3.6182378928065351</c:v>
                </c:pt>
                <c:pt idx="8409">
                  <c:v>3.7057042038287351</c:v>
                </c:pt>
                <c:pt idx="8410">
                  <c:v>3.7616181823233585</c:v>
                </c:pt>
                <c:pt idx="8411">
                  <c:v>3.7583395848962242</c:v>
                </c:pt>
                <c:pt idx="8412">
                  <c:v>3.7575227140118361</c:v>
                </c:pt>
                <c:pt idx="8413">
                  <c:v>3.8102358923064106</c:v>
                </c:pt>
                <c:pt idx="8414">
                  <c:v>3.8223222472284739</c:v>
                </c:pt>
                <c:pt idx="8415">
                  <c:v>3.7602345030702127</c:v>
                </c:pt>
                <c:pt idx="8416">
                  <c:v>3.830029729654636</c:v>
                </c:pt>
                <c:pt idx="8417">
                  <c:v>3.8805368008668841</c:v>
                </c:pt>
                <c:pt idx="8418">
                  <c:v>3.9525436914784251</c:v>
                </c:pt>
                <c:pt idx="8419">
                  <c:v>3.9014864827317934</c:v>
                </c:pt>
                <c:pt idx="8420">
                  <c:v>3.8717179294823705</c:v>
                </c:pt>
                <c:pt idx="8421">
                  <c:v>3.9345169625739764</c:v>
                </c:pt>
                <c:pt idx="8422">
                  <c:v>3.8799922202772921</c:v>
                </c:pt>
                <c:pt idx="8423">
                  <c:v>3.8376427440193384</c:v>
                </c:pt>
                <c:pt idx="8424">
                  <c:v>3.8492512016893112</c:v>
                </c:pt>
                <c:pt idx="8425">
                  <c:v>3.9055152677058151</c:v>
                </c:pt>
                <c:pt idx="8426">
                  <c:v>3.9047372954349697</c:v>
                </c:pt>
                <c:pt idx="8427">
                  <c:v>3.9195743380289523</c:v>
                </c:pt>
                <c:pt idx="8428">
                  <c:v>3.8521852685393574</c:v>
                </c:pt>
                <c:pt idx="8429">
                  <c:v>3.8396599149787445</c:v>
                </c:pt>
                <c:pt idx="8430">
                  <c:v>3.7427023422522296</c:v>
                </c:pt>
              </c:numCache>
            </c:numRef>
          </c:val>
          <c:smooth val="0"/>
          <c:extLst>
            <c:ext xmlns:c16="http://schemas.microsoft.com/office/drawing/2014/chart" uri="{C3380CC4-5D6E-409C-BE32-E72D297353CC}">
              <c16:uniqueId val="{00000000-DA0C-46BD-8F8B-2139DB9A8272}"/>
            </c:ext>
          </c:extLst>
        </c:ser>
        <c:ser>
          <c:idx val="1"/>
          <c:order val="1"/>
          <c:tx>
            <c:strRef>
              <c:f>wig!$E$4</c:f>
              <c:strCache>
                <c:ptCount val="1"/>
                <c:pt idx="0">
                  <c:v>WIG20</c:v>
                </c:pt>
              </c:strCache>
            </c:strRef>
          </c:tx>
          <c:spPr>
            <a:ln w="28575" cap="rnd">
              <a:solidFill>
                <a:srgbClr val="000000"/>
              </a:solidFill>
              <a:round/>
            </a:ln>
            <a:effectLst/>
          </c:spPr>
          <c:marker>
            <c:symbol val="none"/>
          </c:marker>
          <c:cat>
            <c:numRef>
              <c:f>wig!$A$5:$A$8435</c:f>
              <c:numCache>
                <c:formatCode>m/d/yyyy</c:formatCode>
                <c:ptCount val="8431"/>
                <c:pt idx="0">
                  <c:v>32762</c:v>
                </c:pt>
                <c:pt idx="1">
                  <c:v>32763</c:v>
                </c:pt>
                <c:pt idx="2">
                  <c:v>32764</c:v>
                </c:pt>
                <c:pt idx="3">
                  <c:v>32765</c:v>
                </c:pt>
                <c:pt idx="4">
                  <c:v>32766</c:v>
                </c:pt>
                <c:pt idx="5">
                  <c:v>32769</c:v>
                </c:pt>
                <c:pt idx="6">
                  <c:v>32770</c:v>
                </c:pt>
                <c:pt idx="7">
                  <c:v>32771</c:v>
                </c:pt>
                <c:pt idx="8">
                  <c:v>32772</c:v>
                </c:pt>
                <c:pt idx="9">
                  <c:v>32773</c:v>
                </c:pt>
                <c:pt idx="10">
                  <c:v>32776</c:v>
                </c:pt>
                <c:pt idx="11">
                  <c:v>32777</c:v>
                </c:pt>
                <c:pt idx="12">
                  <c:v>32778</c:v>
                </c:pt>
                <c:pt idx="13">
                  <c:v>32779</c:v>
                </c:pt>
                <c:pt idx="14">
                  <c:v>32780</c:v>
                </c:pt>
                <c:pt idx="15">
                  <c:v>32783</c:v>
                </c:pt>
                <c:pt idx="16">
                  <c:v>32784</c:v>
                </c:pt>
                <c:pt idx="17">
                  <c:v>32785</c:v>
                </c:pt>
                <c:pt idx="18">
                  <c:v>32786</c:v>
                </c:pt>
                <c:pt idx="19">
                  <c:v>32787</c:v>
                </c:pt>
                <c:pt idx="20">
                  <c:v>32790</c:v>
                </c:pt>
                <c:pt idx="21">
                  <c:v>32791</c:v>
                </c:pt>
                <c:pt idx="22">
                  <c:v>32792</c:v>
                </c:pt>
                <c:pt idx="23">
                  <c:v>32793</c:v>
                </c:pt>
                <c:pt idx="24">
                  <c:v>32794</c:v>
                </c:pt>
                <c:pt idx="25">
                  <c:v>32797</c:v>
                </c:pt>
                <c:pt idx="26">
                  <c:v>32798</c:v>
                </c:pt>
                <c:pt idx="27">
                  <c:v>32799</c:v>
                </c:pt>
                <c:pt idx="28">
                  <c:v>32800</c:v>
                </c:pt>
                <c:pt idx="29">
                  <c:v>32801</c:v>
                </c:pt>
                <c:pt idx="30">
                  <c:v>32804</c:v>
                </c:pt>
                <c:pt idx="31">
                  <c:v>32805</c:v>
                </c:pt>
                <c:pt idx="32">
                  <c:v>32806</c:v>
                </c:pt>
                <c:pt idx="33">
                  <c:v>32807</c:v>
                </c:pt>
                <c:pt idx="34">
                  <c:v>32808</c:v>
                </c:pt>
                <c:pt idx="35">
                  <c:v>32811</c:v>
                </c:pt>
                <c:pt idx="36">
                  <c:v>32812</c:v>
                </c:pt>
                <c:pt idx="37">
                  <c:v>32813</c:v>
                </c:pt>
                <c:pt idx="38">
                  <c:v>32814</c:v>
                </c:pt>
                <c:pt idx="39">
                  <c:v>32815</c:v>
                </c:pt>
                <c:pt idx="40">
                  <c:v>32818</c:v>
                </c:pt>
                <c:pt idx="41">
                  <c:v>32819</c:v>
                </c:pt>
                <c:pt idx="42">
                  <c:v>32820</c:v>
                </c:pt>
                <c:pt idx="43">
                  <c:v>32821</c:v>
                </c:pt>
                <c:pt idx="44">
                  <c:v>32822</c:v>
                </c:pt>
                <c:pt idx="45">
                  <c:v>32825</c:v>
                </c:pt>
                <c:pt idx="46">
                  <c:v>32826</c:v>
                </c:pt>
                <c:pt idx="47">
                  <c:v>32827</c:v>
                </c:pt>
                <c:pt idx="48">
                  <c:v>32828</c:v>
                </c:pt>
                <c:pt idx="49">
                  <c:v>32829</c:v>
                </c:pt>
                <c:pt idx="50">
                  <c:v>32832</c:v>
                </c:pt>
                <c:pt idx="51">
                  <c:v>32833</c:v>
                </c:pt>
                <c:pt idx="52">
                  <c:v>32834</c:v>
                </c:pt>
                <c:pt idx="53">
                  <c:v>32836</c:v>
                </c:pt>
                <c:pt idx="54">
                  <c:v>32839</c:v>
                </c:pt>
                <c:pt idx="55">
                  <c:v>32840</c:v>
                </c:pt>
                <c:pt idx="56">
                  <c:v>32841</c:v>
                </c:pt>
                <c:pt idx="57">
                  <c:v>32842</c:v>
                </c:pt>
                <c:pt idx="58">
                  <c:v>32843</c:v>
                </c:pt>
                <c:pt idx="59">
                  <c:v>32846</c:v>
                </c:pt>
                <c:pt idx="60">
                  <c:v>32847</c:v>
                </c:pt>
                <c:pt idx="61">
                  <c:v>32848</c:v>
                </c:pt>
                <c:pt idx="62">
                  <c:v>32849</c:v>
                </c:pt>
                <c:pt idx="63">
                  <c:v>32850</c:v>
                </c:pt>
                <c:pt idx="64">
                  <c:v>32853</c:v>
                </c:pt>
                <c:pt idx="65">
                  <c:v>32854</c:v>
                </c:pt>
                <c:pt idx="66">
                  <c:v>32855</c:v>
                </c:pt>
                <c:pt idx="67">
                  <c:v>32856</c:v>
                </c:pt>
                <c:pt idx="68">
                  <c:v>32857</c:v>
                </c:pt>
                <c:pt idx="69">
                  <c:v>32860</c:v>
                </c:pt>
                <c:pt idx="70">
                  <c:v>32861</c:v>
                </c:pt>
                <c:pt idx="71">
                  <c:v>32862</c:v>
                </c:pt>
                <c:pt idx="72">
                  <c:v>32863</c:v>
                </c:pt>
                <c:pt idx="73">
                  <c:v>32864</c:v>
                </c:pt>
                <c:pt idx="74">
                  <c:v>32868</c:v>
                </c:pt>
                <c:pt idx="75">
                  <c:v>32869</c:v>
                </c:pt>
                <c:pt idx="76">
                  <c:v>32870</c:v>
                </c:pt>
                <c:pt idx="77">
                  <c:v>32871</c:v>
                </c:pt>
                <c:pt idx="78">
                  <c:v>32875</c:v>
                </c:pt>
                <c:pt idx="79">
                  <c:v>32876</c:v>
                </c:pt>
                <c:pt idx="80">
                  <c:v>32877</c:v>
                </c:pt>
                <c:pt idx="81">
                  <c:v>32878</c:v>
                </c:pt>
                <c:pt idx="82">
                  <c:v>32881</c:v>
                </c:pt>
                <c:pt idx="83">
                  <c:v>32882</c:v>
                </c:pt>
                <c:pt idx="84">
                  <c:v>32883</c:v>
                </c:pt>
                <c:pt idx="85">
                  <c:v>32884</c:v>
                </c:pt>
                <c:pt idx="86">
                  <c:v>32885</c:v>
                </c:pt>
                <c:pt idx="87">
                  <c:v>32888</c:v>
                </c:pt>
                <c:pt idx="88">
                  <c:v>32889</c:v>
                </c:pt>
                <c:pt idx="89">
                  <c:v>32890</c:v>
                </c:pt>
                <c:pt idx="90">
                  <c:v>32891</c:v>
                </c:pt>
                <c:pt idx="91">
                  <c:v>32892</c:v>
                </c:pt>
                <c:pt idx="92">
                  <c:v>32895</c:v>
                </c:pt>
                <c:pt idx="93">
                  <c:v>32896</c:v>
                </c:pt>
                <c:pt idx="94">
                  <c:v>32897</c:v>
                </c:pt>
                <c:pt idx="95">
                  <c:v>32898</c:v>
                </c:pt>
                <c:pt idx="96">
                  <c:v>32899</c:v>
                </c:pt>
                <c:pt idx="97">
                  <c:v>32902</c:v>
                </c:pt>
                <c:pt idx="98">
                  <c:v>32903</c:v>
                </c:pt>
                <c:pt idx="99">
                  <c:v>32904</c:v>
                </c:pt>
                <c:pt idx="100">
                  <c:v>32905</c:v>
                </c:pt>
                <c:pt idx="101">
                  <c:v>32906</c:v>
                </c:pt>
                <c:pt idx="102">
                  <c:v>32909</c:v>
                </c:pt>
                <c:pt idx="103">
                  <c:v>32910</c:v>
                </c:pt>
                <c:pt idx="104">
                  <c:v>32911</c:v>
                </c:pt>
                <c:pt idx="105">
                  <c:v>32912</c:v>
                </c:pt>
                <c:pt idx="106">
                  <c:v>32913</c:v>
                </c:pt>
                <c:pt idx="107">
                  <c:v>32916</c:v>
                </c:pt>
                <c:pt idx="108">
                  <c:v>32917</c:v>
                </c:pt>
                <c:pt idx="109">
                  <c:v>32918</c:v>
                </c:pt>
                <c:pt idx="110">
                  <c:v>32919</c:v>
                </c:pt>
                <c:pt idx="111">
                  <c:v>32920</c:v>
                </c:pt>
                <c:pt idx="112">
                  <c:v>32924</c:v>
                </c:pt>
                <c:pt idx="113">
                  <c:v>32925</c:v>
                </c:pt>
                <c:pt idx="114">
                  <c:v>32926</c:v>
                </c:pt>
                <c:pt idx="115">
                  <c:v>32927</c:v>
                </c:pt>
                <c:pt idx="116">
                  <c:v>32930</c:v>
                </c:pt>
                <c:pt idx="117">
                  <c:v>32931</c:v>
                </c:pt>
                <c:pt idx="118">
                  <c:v>32932</c:v>
                </c:pt>
                <c:pt idx="119">
                  <c:v>32933</c:v>
                </c:pt>
                <c:pt idx="120">
                  <c:v>32934</c:v>
                </c:pt>
                <c:pt idx="121">
                  <c:v>32937</c:v>
                </c:pt>
                <c:pt idx="122">
                  <c:v>32938</c:v>
                </c:pt>
                <c:pt idx="123">
                  <c:v>32939</c:v>
                </c:pt>
                <c:pt idx="124">
                  <c:v>32940</c:v>
                </c:pt>
                <c:pt idx="125">
                  <c:v>32941</c:v>
                </c:pt>
                <c:pt idx="126">
                  <c:v>32944</c:v>
                </c:pt>
                <c:pt idx="127">
                  <c:v>32945</c:v>
                </c:pt>
                <c:pt idx="128">
                  <c:v>32946</c:v>
                </c:pt>
                <c:pt idx="129">
                  <c:v>32947</c:v>
                </c:pt>
                <c:pt idx="130">
                  <c:v>32948</c:v>
                </c:pt>
                <c:pt idx="131">
                  <c:v>32951</c:v>
                </c:pt>
                <c:pt idx="132">
                  <c:v>32952</c:v>
                </c:pt>
                <c:pt idx="133">
                  <c:v>32953</c:v>
                </c:pt>
                <c:pt idx="134">
                  <c:v>32954</c:v>
                </c:pt>
                <c:pt idx="135">
                  <c:v>32955</c:v>
                </c:pt>
                <c:pt idx="136">
                  <c:v>32958</c:v>
                </c:pt>
                <c:pt idx="137">
                  <c:v>32959</c:v>
                </c:pt>
                <c:pt idx="138">
                  <c:v>32960</c:v>
                </c:pt>
                <c:pt idx="139">
                  <c:v>32961</c:v>
                </c:pt>
                <c:pt idx="140">
                  <c:v>32962</c:v>
                </c:pt>
                <c:pt idx="141">
                  <c:v>32965</c:v>
                </c:pt>
                <c:pt idx="142">
                  <c:v>32966</c:v>
                </c:pt>
                <c:pt idx="143">
                  <c:v>32967</c:v>
                </c:pt>
                <c:pt idx="144">
                  <c:v>32968</c:v>
                </c:pt>
                <c:pt idx="145">
                  <c:v>32969</c:v>
                </c:pt>
                <c:pt idx="146">
                  <c:v>32972</c:v>
                </c:pt>
                <c:pt idx="147">
                  <c:v>32973</c:v>
                </c:pt>
                <c:pt idx="148">
                  <c:v>32974</c:v>
                </c:pt>
                <c:pt idx="149">
                  <c:v>32975</c:v>
                </c:pt>
                <c:pt idx="150">
                  <c:v>32979</c:v>
                </c:pt>
                <c:pt idx="151">
                  <c:v>32980</c:v>
                </c:pt>
                <c:pt idx="152">
                  <c:v>32981</c:v>
                </c:pt>
                <c:pt idx="153">
                  <c:v>32982</c:v>
                </c:pt>
                <c:pt idx="154">
                  <c:v>32983</c:v>
                </c:pt>
                <c:pt idx="155">
                  <c:v>32986</c:v>
                </c:pt>
                <c:pt idx="156">
                  <c:v>32987</c:v>
                </c:pt>
                <c:pt idx="157">
                  <c:v>32988</c:v>
                </c:pt>
                <c:pt idx="158">
                  <c:v>32989</c:v>
                </c:pt>
                <c:pt idx="159">
                  <c:v>32990</c:v>
                </c:pt>
                <c:pt idx="160">
                  <c:v>32993</c:v>
                </c:pt>
                <c:pt idx="161">
                  <c:v>32994</c:v>
                </c:pt>
                <c:pt idx="162">
                  <c:v>32995</c:v>
                </c:pt>
                <c:pt idx="163">
                  <c:v>32996</c:v>
                </c:pt>
                <c:pt idx="164">
                  <c:v>32997</c:v>
                </c:pt>
                <c:pt idx="165">
                  <c:v>33000</c:v>
                </c:pt>
                <c:pt idx="166">
                  <c:v>33001</c:v>
                </c:pt>
                <c:pt idx="167">
                  <c:v>33002</c:v>
                </c:pt>
                <c:pt idx="168">
                  <c:v>33003</c:v>
                </c:pt>
                <c:pt idx="169">
                  <c:v>33004</c:v>
                </c:pt>
                <c:pt idx="170">
                  <c:v>33007</c:v>
                </c:pt>
                <c:pt idx="171">
                  <c:v>33008</c:v>
                </c:pt>
                <c:pt idx="172">
                  <c:v>33009</c:v>
                </c:pt>
                <c:pt idx="173">
                  <c:v>33010</c:v>
                </c:pt>
                <c:pt idx="174">
                  <c:v>33011</c:v>
                </c:pt>
                <c:pt idx="175">
                  <c:v>33014</c:v>
                </c:pt>
                <c:pt idx="176">
                  <c:v>33015</c:v>
                </c:pt>
                <c:pt idx="177">
                  <c:v>33016</c:v>
                </c:pt>
                <c:pt idx="178">
                  <c:v>33017</c:v>
                </c:pt>
                <c:pt idx="179">
                  <c:v>33018</c:v>
                </c:pt>
                <c:pt idx="180">
                  <c:v>33022</c:v>
                </c:pt>
                <c:pt idx="181">
                  <c:v>33023</c:v>
                </c:pt>
                <c:pt idx="182">
                  <c:v>33024</c:v>
                </c:pt>
                <c:pt idx="183">
                  <c:v>33025</c:v>
                </c:pt>
                <c:pt idx="184">
                  <c:v>33028</c:v>
                </c:pt>
                <c:pt idx="185">
                  <c:v>33029</c:v>
                </c:pt>
                <c:pt idx="186">
                  <c:v>33030</c:v>
                </c:pt>
                <c:pt idx="187">
                  <c:v>33031</c:v>
                </c:pt>
                <c:pt idx="188">
                  <c:v>33032</c:v>
                </c:pt>
                <c:pt idx="189">
                  <c:v>33035</c:v>
                </c:pt>
                <c:pt idx="190">
                  <c:v>33036</c:v>
                </c:pt>
                <c:pt idx="191">
                  <c:v>33037</c:v>
                </c:pt>
                <c:pt idx="192">
                  <c:v>33038</c:v>
                </c:pt>
                <c:pt idx="193">
                  <c:v>33039</c:v>
                </c:pt>
                <c:pt idx="194">
                  <c:v>33042</c:v>
                </c:pt>
                <c:pt idx="195">
                  <c:v>33043</c:v>
                </c:pt>
                <c:pt idx="196">
                  <c:v>33044</c:v>
                </c:pt>
                <c:pt idx="197">
                  <c:v>33045</c:v>
                </c:pt>
                <c:pt idx="198">
                  <c:v>33046</c:v>
                </c:pt>
                <c:pt idx="199">
                  <c:v>33049</c:v>
                </c:pt>
                <c:pt idx="200">
                  <c:v>33050</c:v>
                </c:pt>
                <c:pt idx="201">
                  <c:v>33051</c:v>
                </c:pt>
                <c:pt idx="202">
                  <c:v>33052</c:v>
                </c:pt>
                <c:pt idx="203">
                  <c:v>33053</c:v>
                </c:pt>
                <c:pt idx="204">
                  <c:v>33056</c:v>
                </c:pt>
                <c:pt idx="205">
                  <c:v>33057</c:v>
                </c:pt>
                <c:pt idx="206">
                  <c:v>33059</c:v>
                </c:pt>
                <c:pt idx="207">
                  <c:v>33060</c:v>
                </c:pt>
                <c:pt idx="208">
                  <c:v>33063</c:v>
                </c:pt>
                <c:pt idx="209">
                  <c:v>33064</c:v>
                </c:pt>
                <c:pt idx="210">
                  <c:v>33065</c:v>
                </c:pt>
                <c:pt idx="211">
                  <c:v>33066</c:v>
                </c:pt>
                <c:pt idx="212">
                  <c:v>33067</c:v>
                </c:pt>
                <c:pt idx="213">
                  <c:v>33070</c:v>
                </c:pt>
                <c:pt idx="214">
                  <c:v>33071</c:v>
                </c:pt>
                <c:pt idx="215">
                  <c:v>33072</c:v>
                </c:pt>
                <c:pt idx="216">
                  <c:v>33073</c:v>
                </c:pt>
                <c:pt idx="217">
                  <c:v>33074</c:v>
                </c:pt>
                <c:pt idx="218">
                  <c:v>33077</c:v>
                </c:pt>
                <c:pt idx="219">
                  <c:v>33078</c:v>
                </c:pt>
                <c:pt idx="220">
                  <c:v>33079</c:v>
                </c:pt>
                <c:pt idx="221">
                  <c:v>33080</c:v>
                </c:pt>
                <c:pt idx="222">
                  <c:v>33081</c:v>
                </c:pt>
                <c:pt idx="223">
                  <c:v>33084</c:v>
                </c:pt>
                <c:pt idx="224">
                  <c:v>33085</c:v>
                </c:pt>
                <c:pt idx="225">
                  <c:v>33086</c:v>
                </c:pt>
                <c:pt idx="226">
                  <c:v>33087</c:v>
                </c:pt>
                <c:pt idx="227">
                  <c:v>33088</c:v>
                </c:pt>
                <c:pt idx="228">
                  <c:v>33091</c:v>
                </c:pt>
                <c:pt idx="229">
                  <c:v>33092</c:v>
                </c:pt>
                <c:pt idx="230">
                  <c:v>33093</c:v>
                </c:pt>
                <c:pt idx="231">
                  <c:v>33094</c:v>
                </c:pt>
                <c:pt idx="232">
                  <c:v>33095</c:v>
                </c:pt>
                <c:pt idx="233">
                  <c:v>33098</c:v>
                </c:pt>
                <c:pt idx="234">
                  <c:v>33099</c:v>
                </c:pt>
                <c:pt idx="235">
                  <c:v>33100</c:v>
                </c:pt>
                <c:pt idx="236">
                  <c:v>33101</c:v>
                </c:pt>
                <c:pt idx="237">
                  <c:v>33102</c:v>
                </c:pt>
                <c:pt idx="238">
                  <c:v>33105</c:v>
                </c:pt>
                <c:pt idx="239">
                  <c:v>33106</c:v>
                </c:pt>
                <c:pt idx="240">
                  <c:v>33107</c:v>
                </c:pt>
                <c:pt idx="241">
                  <c:v>33108</c:v>
                </c:pt>
                <c:pt idx="242">
                  <c:v>33109</c:v>
                </c:pt>
                <c:pt idx="243">
                  <c:v>33112</c:v>
                </c:pt>
                <c:pt idx="244">
                  <c:v>33113</c:v>
                </c:pt>
                <c:pt idx="245">
                  <c:v>33114</c:v>
                </c:pt>
                <c:pt idx="246">
                  <c:v>33115</c:v>
                </c:pt>
                <c:pt idx="247">
                  <c:v>33116</c:v>
                </c:pt>
                <c:pt idx="248">
                  <c:v>33120</c:v>
                </c:pt>
                <c:pt idx="249">
                  <c:v>33121</c:v>
                </c:pt>
                <c:pt idx="250">
                  <c:v>33122</c:v>
                </c:pt>
                <c:pt idx="251">
                  <c:v>33123</c:v>
                </c:pt>
                <c:pt idx="252">
                  <c:v>33126</c:v>
                </c:pt>
                <c:pt idx="253">
                  <c:v>33127</c:v>
                </c:pt>
                <c:pt idx="254">
                  <c:v>33128</c:v>
                </c:pt>
                <c:pt idx="255">
                  <c:v>33129</c:v>
                </c:pt>
                <c:pt idx="256">
                  <c:v>33130</c:v>
                </c:pt>
                <c:pt idx="257">
                  <c:v>33133</c:v>
                </c:pt>
                <c:pt idx="258">
                  <c:v>33134</c:v>
                </c:pt>
                <c:pt idx="259">
                  <c:v>33135</c:v>
                </c:pt>
                <c:pt idx="260">
                  <c:v>33136</c:v>
                </c:pt>
                <c:pt idx="261">
                  <c:v>33137</c:v>
                </c:pt>
                <c:pt idx="262">
                  <c:v>33140</c:v>
                </c:pt>
                <c:pt idx="263">
                  <c:v>33141</c:v>
                </c:pt>
                <c:pt idx="264">
                  <c:v>33142</c:v>
                </c:pt>
                <c:pt idx="265">
                  <c:v>33143</c:v>
                </c:pt>
                <c:pt idx="266">
                  <c:v>33144</c:v>
                </c:pt>
                <c:pt idx="267">
                  <c:v>33147</c:v>
                </c:pt>
                <c:pt idx="268">
                  <c:v>33148</c:v>
                </c:pt>
                <c:pt idx="269">
                  <c:v>33149</c:v>
                </c:pt>
                <c:pt idx="270">
                  <c:v>33150</c:v>
                </c:pt>
                <c:pt idx="271">
                  <c:v>33151</c:v>
                </c:pt>
                <c:pt idx="272">
                  <c:v>33154</c:v>
                </c:pt>
                <c:pt idx="273">
                  <c:v>33155</c:v>
                </c:pt>
                <c:pt idx="274">
                  <c:v>33156</c:v>
                </c:pt>
                <c:pt idx="275">
                  <c:v>33157</c:v>
                </c:pt>
                <c:pt idx="276">
                  <c:v>33158</c:v>
                </c:pt>
                <c:pt idx="277">
                  <c:v>33161</c:v>
                </c:pt>
                <c:pt idx="278">
                  <c:v>33162</c:v>
                </c:pt>
                <c:pt idx="279">
                  <c:v>33163</c:v>
                </c:pt>
                <c:pt idx="280">
                  <c:v>33164</c:v>
                </c:pt>
                <c:pt idx="281">
                  <c:v>33165</c:v>
                </c:pt>
                <c:pt idx="282">
                  <c:v>33168</c:v>
                </c:pt>
                <c:pt idx="283">
                  <c:v>33169</c:v>
                </c:pt>
                <c:pt idx="284">
                  <c:v>33170</c:v>
                </c:pt>
                <c:pt idx="285">
                  <c:v>33171</c:v>
                </c:pt>
                <c:pt idx="286">
                  <c:v>33172</c:v>
                </c:pt>
                <c:pt idx="287">
                  <c:v>33175</c:v>
                </c:pt>
                <c:pt idx="288">
                  <c:v>33176</c:v>
                </c:pt>
                <c:pt idx="289">
                  <c:v>33177</c:v>
                </c:pt>
                <c:pt idx="290">
                  <c:v>33178</c:v>
                </c:pt>
                <c:pt idx="291">
                  <c:v>33179</c:v>
                </c:pt>
                <c:pt idx="292">
                  <c:v>33182</c:v>
                </c:pt>
                <c:pt idx="293">
                  <c:v>33183</c:v>
                </c:pt>
                <c:pt idx="294">
                  <c:v>33184</c:v>
                </c:pt>
                <c:pt idx="295">
                  <c:v>33185</c:v>
                </c:pt>
                <c:pt idx="296">
                  <c:v>33186</c:v>
                </c:pt>
                <c:pt idx="297">
                  <c:v>33189</c:v>
                </c:pt>
                <c:pt idx="298">
                  <c:v>33190</c:v>
                </c:pt>
                <c:pt idx="299">
                  <c:v>33191</c:v>
                </c:pt>
                <c:pt idx="300">
                  <c:v>33192</c:v>
                </c:pt>
                <c:pt idx="301">
                  <c:v>33193</c:v>
                </c:pt>
                <c:pt idx="302">
                  <c:v>33196</c:v>
                </c:pt>
                <c:pt idx="303">
                  <c:v>33197</c:v>
                </c:pt>
                <c:pt idx="304">
                  <c:v>33198</c:v>
                </c:pt>
                <c:pt idx="305">
                  <c:v>33200</c:v>
                </c:pt>
                <c:pt idx="306">
                  <c:v>33203</c:v>
                </c:pt>
                <c:pt idx="307">
                  <c:v>33204</c:v>
                </c:pt>
                <c:pt idx="308">
                  <c:v>33205</c:v>
                </c:pt>
                <c:pt idx="309">
                  <c:v>33206</c:v>
                </c:pt>
                <c:pt idx="310">
                  <c:v>33207</c:v>
                </c:pt>
                <c:pt idx="311">
                  <c:v>33210</c:v>
                </c:pt>
                <c:pt idx="312">
                  <c:v>33211</c:v>
                </c:pt>
                <c:pt idx="313">
                  <c:v>33212</c:v>
                </c:pt>
                <c:pt idx="314">
                  <c:v>33213</c:v>
                </c:pt>
                <c:pt idx="315">
                  <c:v>33214</c:v>
                </c:pt>
                <c:pt idx="316">
                  <c:v>33217</c:v>
                </c:pt>
                <c:pt idx="317">
                  <c:v>33218</c:v>
                </c:pt>
                <c:pt idx="318">
                  <c:v>33219</c:v>
                </c:pt>
                <c:pt idx="319">
                  <c:v>33220</c:v>
                </c:pt>
                <c:pt idx="320">
                  <c:v>33221</c:v>
                </c:pt>
                <c:pt idx="321">
                  <c:v>33224</c:v>
                </c:pt>
                <c:pt idx="322">
                  <c:v>33225</c:v>
                </c:pt>
                <c:pt idx="323">
                  <c:v>33226</c:v>
                </c:pt>
                <c:pt idx="324">
                  <c:v>33227</c:v>
                </c:pt>
                <c:pt idx="325">
                  <c:v>33228</c:v>
                </c:pt>
                <c:pt idx="326">
                  <c:v>33231</c:v>
                </c:pt>
                <c:pt idx="327">
                  <c:v>33233</c:v>
                </c:pt>
                <c:pt idx="328">
                  <c:v>33234</c:v>
                </c:pt>
                <c:pt idx="329">
                  <c:v>33235</c:v>
                </c:pt>
                <c:pt idx="330">
                  <c:v>33238</c:v>
                </c:pt>
                <c:pt idx="331">
                  <c:v>33240</c:v>
                </c:pt>
                <c:pt idx="332">
                  <c:v>33241</c:v>
                </c:pt>
                <c:pt idx="333">
                  <c:v>33242</c:v>
                </c:pt>
                <c:pt idx="334">
                  <c:v>33245</c:v>
                </c:pt>
                <c:pt idx="335">
                  <c:v>33246</c:v>
                </c:pt>
                <c:pt idx="336">
                  <c:v>33247</c:v>
                </c:pt>
                <c:pt idx="337">
                  <c:v>33248</c:v>
                </c:pt>
                <c:pt idx="338">
                  <c:v>33249</c:v>
                </c:pt>
                <c:pt idx="339">
                  <c:v>33252</c:v>
                </c:pt>
                <c:pt idx="340">
                  <c:v>33253</c:v>
                </c:pt>
                <c:pt idx="341">
                  <c:v>33254</c:v>
                </c:pt>
                <c:pt idx="342">
                  <c:v>33255</c:v>
                </c:pt>
                <c:pt idx="343">
                  <c:v>33256</c:v>
                </c:pt>
                <c:pt idx="344">
                  <c:v>33259</c:v>
                </c:pt>
                <c:pt idx="345">
                  <c:v>33260</c:v>
                </c:pt>
                <c:pt idx="346">
                  <c:v>33261</c:v>
                </c:pt>
                <c:pt idx="347">
                  <c:v>33262</c:v>
                </c:pt>
                <c:pt idx="348">
                  <c:v>33263</c:v>
                </c:pt>
                <c:pt idx="349">
                  <c:v>33266</c:v>
                </c:pt>
                <c:pt idx="350">
                  <c:v>33267</c:v>
                </c:pt>
                <c:pt idx="351">
                  <c:v>33268</c:v>
                </c:pt>
                <c:pt idx="352">
                  <c:v>33269</c:v>
                </c:pt>
                <c:pt idx="353">
                  <c:v>33270</c:v>
                </c:pt>
                <c:pt idx="354">
                  <c:v>33273</c:v>
                </c:pt>
                <c:pt idx="355">
                  <c:v>33274</c:v>
                </c:pt>
                <c:pt idx="356">
                  <c:v>33275</c:v>
                </c:pt>
                <c:pt idx="357">
                  <c:v>33276</c:v>
                </c:pt>
                <c:pt idx="358">
                  <c:v>33277</c:v>
                </c:pt>
                <c:pt idx="359">
                  <c:v>33280</c:v>
                </c:pt>
                <c:pt idx="360">
                  <c:v>33281</c:v>
                </c:pt>
                <c:pt idx="361">
                  <c:v>33282</c:v>
                </c:pt>
                <c:pt idx="362">
                  <c:v>33283</c:v>
                </c:pt>
                <c:pt idx="363">
                  <c:v>33284</c:v>
                </c:pt>
                <c:pt idx="364">
                  <c:v>33288</c:v>
                </c:pt>
                <c:pt idx="365">
                  <c:v>33289</c:v>
                </c:pt>
                <c:pt idx="366">
                  <c:v>33290</c:v>
                </c:pt>
                <c:pt idx="367">
                  <c:v>33291</c:v>
                </c:pt>
                <c:pt idx="368">
                  <c:v>33294</c:v>
                </c:pt>
                <c:pt idx="369">
                  <c:v>33295</c:v>
                </c:pt>
                <c:pt idx="370">
                  <c:v>33296</c:v>
                </c:pt>
                <c:pt idx="371">
                  <c:v>33297</c:v>
                </c:pt>
                <c:pt idx="372">
                  <c:v>33298</c:v>
                </c:pt>
                <c:pt idx="373">
                  <c:v>33301</c:v>
                </c:pt>
                <c:pt idx="374">
                  <c:v>33302</c:v>
                </c:pt>
                <c:pt idx="375">
                  <c:v>33303</c:v>
                </c:pt>
                <c:pt idx="376">
                  <c:v>33304</c:v>
                </c:pt>
                <c:pt idx="377">
                  <c:v>33305</c:v>
                </c:pt>
                <c:pt idx="378">
                  <c:v>33308</c:v>
                </c:pt>
                <c:pt idx="379">
                  <c:v>33309</c:v>
                </c:pt>
                <c:pt idx="380">
                  <c:v>33310</c:v>
                </c:pt>
                <c:pt idx="381">
                  <c:v>33311</c:v>
                </c:pt>
                <c:pt idx="382">
                  <c:v>33312</c:v>
                </c:pt>
                <c:pt idx="383">
                  <c:v>33315</c:v>
                </c:pt>
                <c:pt idx="384">
                  <c:v>33316</c:v>
                </c:pt>
                <c:pt idx="385">
                  <c:v>33317</c:v>
                </c:pt>
                <c:pt idx="386">
                  <c:v>33318</c:v>
                </c:pt>
                <c:pt idx="387">
                  <c:v>33319</c:v>
                </c:pt>
                <c:pt idx="388">
                  <c:v>33322</c:v>
                </c:pt>
                <c:pt idx="389">
                  <c:v>33323</c:v>
                </c:pt>
                <c:pt idx="390">
                  <c:v>33324</c:v>
                </c:pt>
                <c:pt idx="391">
                  <c:v>33325</c:v>
                </c:pt>
                <c:pt idx="392">
                  <c:v>33329</c:v>
                </c:pt>
                <c:pt idx="393">
                  <c:v>33330</c:v>
                </c:pt>
                <c:pt idx="394">
                  <c:v>33331</c:v>
                </c:pt>
                <c:pt idx="395">
                  <c:v>33332</c:v>
                </c:pt>
                <c:pt idx="396">
                  <c:v>33333</c:v>
                </c:pt>
                <c:pt idx="397">
                  <c:v>33336</c:v>
                </c:pt>
                <c:pt idx="398">
                  <c:v>33337</c:v>
                </c:pt>
                <c:pt idx="399">
                  <c:v>33338</c:v>
                </c:pt>
                <c:pt idx="400">
                  <c:v>33339</c:v>
                </c:pt>
                <c:pt idx="401">
                  <c:v>33340</c:v>
                </c:pt>
                <c:pt idx="402">
                  <c:v>33343</c:v>
                </c:pt>
                <c:pt idx="403">
                  <c:v>33344</c:v>
                </c:pt>
                <c:pt idx="404">
                  <c:v>33345</c:v>
                </c:pt>
                <c:pt idx="405">
                  <c:v>33346</c:v>
                </c:pt>
                <c:pt idx="406">
                  <c:v>33347</c:v>
                </c:pt>
                <c:pt idx="407">
                  <c:v>33350</c:v>
                </c:pt>
                <c:pt idx="408">
                  <c:v>33351</c:v>
                </c:pt>
                <c:pt idx="409">
                  <c:v>33352</c:v>
                </c:pt>
                <c:pt idx="410">
                  <c:v>33353</c:v>
                </c:pt>
                <c:pt idx="411">
                  <c:v>33354</c:v>
                </c:pt>
                <c:pt idx="412">
                  <c:v>33357</c:v>
                </c:pt>
                <c:pt idx="413">
                  <c:v>33358</c:v>
                </c:pt>
                <c:pt idx="414">
                  <c:v>33359</c:v>
                </c:pt>
                <c:pt idx="415">
                  <c:v>33360</c:v>
                </c:pt>
                <c:pt idx="416">
                  <c:v>33361</c:v>
                </c:pt>
                <c:pt idx="417">
                  <c:v>33364</c:v>
                </c:pt>
                <c:pt idx="418">
                  <c:v>33365</c:v>
                </c:pt>
                <c:pt idx="419">
                  <c:v>33366</c:v>
                </c:pt>
                <c:pt idx="420">
                  <c:v>33367</c:v>
                </c:pt>
                <c:pt idx="421">
                  <c:v>33368</c:v>
                </c:pt>
                <c:pt idx="422">
                  <c:v>33371</c:v>
                </c:pt>
                <c:pt idx="423">
                  <c:v>33372</c:v>
                </c:pt>
                <c:pt idx="424">
                  <c:v>33373</c:v>
                </c:pt>
                <c:pt idx="425">
                  <c:v>33374</c:v>
                </c:pt>
                <c:pt idx="426">
                  <c:v>33375</c:v>
                </c:pt>
                <c:pt idx="427">
                  <c:v>33378</c:v>
                </c:pt>
                <c:pt idx="428">
                  <c:v>33379</c:v>
                </c:pt>
                <c:pt idx="429">
                  <c:v>33380</c:v>
                </c:pt>
                <c:pt idx="430">
                  <c:v>33381</c:v>
                </c:pt>
                <c:pt idx="431">
                  <c:v>33382</c:v>
                </c:pt>
                <c:pt idx="432">
                  <c:v>33386</c:v>
                </c:pt>
                <c:pt idx="433">
                  <c:v>33387</c:v>
                </c:pt>
                <c:pt idx="434">
                  <c:v>33388</c:v>
                </c:pt>
                <c:pt idx="435">
                  <c:v>33389</c:v>
                </c:pt>
                <c:pt idx="436">
                  <c:v>33392</c:v>
                </c:pt>
                <c:pt idx="437">
                  <c:v>33393</c:v>
                </c:pt>
                <c:pt idx="438">
                  <c:v>33394</c:v>
                </c:pt>
                <c:pt idx="439">
                  <c:v>33395</c:v>
                </c:pt>
                <c:pt idx="440">
                  <c:v>33396</c:v>
                </c:pt>
                <c:pt idx="441">
                  <c:v>33399</c:v>
                </c:pt>
                <c:pt idx="442">
                  <c:v>33400</c:v>
                </c:pt>
                <c:pt idx="443">
                  <c:v>33401</c:v>
                </c:pt>
                <c:pt idx="444">
                  <c:v>33402</c:v>
                </c:pt>
                <c:pt idx="445">
                  <c:v>33403</c:v>
                </c:pt>
                <c:pt idx="446">
                  <c:v>33406</c:v>
                </c:pt>
                <c:pt idx="447">
                  <c:v>33407</c:v>
                </c:pt>
                <c:pt idx="448">
                  <c:v>33408</c:v>
                </c:pt>
                <c:pt idx="449">
                  <c:v>33409</c:v>
                </c:pt>
                <c:pt idx="450">
                  <c:v>33410</c:v>
                </c:pt>
                <c:pt idx="451">
                  <c:v>33413</c:v>
                </c:pt>
                <c:pt idx="452">
                  <c:v>33414</c:v>
                </c:pt>
                <c:pt idx="453">
                  <c:v>33415</c:v>
                </c:pt>
                <c:pt idx="454">
                  <c:v>33416</c:v>
                </c:pt>
                <c:pt idx="455">
                  <c:v>33417</c:v>
                </c:pt>
                <c:pt idx="456">
                  <c:v>33420</c:v>
                </c:pt>
                <c:pt idx="457">
                  <c:v>33421</c:v>
                </c:pt>
                <c:pt idx="458">
                  <c:v>33422</c:v>
                </c:pt>
                <c:pt idx="459">
                  <c:v>33424</c:v>
                </c:pt>
                <c:pt idx="460">
                  <c:v>33427</c:v>
                </c:pt>
                <c:pt idx="461">
                  <c:v>33428</c:v>
                </c:pt>
                <c:pt idx="462">
                  <c:v>33429</c:v>
                </c:pt>
                <c:pt idx="463">
                  <c:v>33430</c:v>
                </c:pt>
                <c:pt idx="464">
                  <c:v>33431</c:v>
                </c:pt>
                <c:pt idx="465">
                  <c:v>33434</c:v>
                </c:pt>
                <c:pt idx="466">
                  <c:v>33435</c:v>
                </c:pt>
                <c:pt idx="467">
                  <c:v>33436</c:v>
                </c:pt>
                <c:pt idx="468">
                  <c:v>33437</c:v>
                </c:pt>
                <c:pt idx="469">
                  <c:v>33438</c:v>
                </c:pt>
                <c:pt idx="470">
                  <c:v>33441</c:v>
                </c:pt>
                <c:pt idx="471">
                  <c:v>33442</c:v>
                </c:pt>
                <c:pt idx="472">
                  <c:v>33443</c:v>
                </c:pt>
                <c:pt idx="473">
                  <c:v>33444</c:v>
                </c:pt>
                <c:pt idx="474">
                  <c:v>33445</c:v>
                </c:pt>
                <c:pt idx="475">
                  <c:v>33448</c:v>
                </c:pt>
                <c:pt idx="476">
                  <c:v>33449</c:v>
                </c:pt>
                <c:pt idx="477">
                  <c:v>33450</c:v>
                </c:pt>
                <c:pt idx="478">
                  <c:v>33451</c:v>
                </c:pt>
                <c:pt idx="479">
                  <c:v>33452</c:v>
                </c:pt>
                <c:pt idx="480">
                  <c:v>33455</c:v>
                </c:pt>
                <c:pt idx="481">
                  <c:v>33456</c:v>
                </c:pt>
                <c:pt idx="482">
                  <c:v>33457</c:v>
                </c:pt>
                <c:pt idx="483">
                  <c:v>33458</c:v>
                </c:pt>
                <c:pt idx="484">
                  <c:v>33459</c:v>
                </c:pt>
                <c:pt idx="485">
                  <c:v>33462</c:v>
                </c:pt>
                <c:pt idx="486">
                  <c:v>33463</c:v>
                </c:pt>
                <c:pt idx="487">
                  <c:v>33464</c:v>
                </c:pt>
                <c:pt idx="488">
                  <c:v>33465</c:v>
                </c:pt>
                <c:pt idx="489">
                  <c:v>33466</c:v>
                </c:pt>
                <c:pt idx="490">
                  <c:v>33469</c:v>
                </c:pt>
                <c:pt idx="491">
                  <c:v>33470</c:v>
                </c:pt>
                <c:pt idx="492">
                  <c:v>33471</c:v>
                </c:pt>
                <c:pt idx="493">
                  <c:v>33472</c:v>
                </c:pt>
                <c:pt idx="494">
                  <c:v>33473</c:v>
                </c:pt>
                <c:pt idx="495">
                  <c:v>33476</c:v>
                </c:pt>
                <c:pt idx="496">
                  <c:v>33477</c:v>
                </c:pt>
                <c:pt idx="497">
                  <c:v>33478</c:v>
                </c:pt>
                <c:pt idx="498">
                  <c:v>33479</c:v>
                </c:pt>
                <c:pt idx="499">
                  <c:v>33480</c:v>
                </c:pt>
                <c:pt idx="500">
                  <c:v>33484</c:v>
                </c:pt>
                <c:pt idx="501">
                  <c:v>33485</c:v>
                </c:pt>
                <c:pt idx="502">
                  <c:v>33486</c:v>
                </c:pt>
                <c:pt idx="503">
                  <c:v>33487</c:v>
                </c:pt>
                <c:pt idx="504">
                  <c:v>33490</c:v>
                </c:pt>
                <c:pt idx="505">
                  <c:v>33491</c:v>
                </c:pt>
                <c:pt idx="506">
                  <c:v>33492</c:v>
                </c:pt>
                <c:pt idx="507">
                  <c:v>33493</c:v>
                </c:pt>
                <c:pt idx="508">
                  <c:v>33494</c:v>
                </c:pt>
                <c:pt idx="509">
                  <c:v>33497</c:v>
                </c:pt>
                <c:pt idx="510">
                  <c:v>33498</c:v>
                </c:pt>
                <c:pt idx="511">
                  <c:v>33499</c:v>
                </c:pt>
                <c:pt idx="512">
                  <c:v>33500</c:v>
                </c:pt>
                <c:pt idx="513">
                  <c:v>33501</c:v>
                </c:pt>
                <c:pt idx="514">
                  <c:v>33504</c:v>
                </c:pt>
                <c:pt idx="515">
                  <c:v>33505</c:v>
                </c:pt>
                <c:pt idx="516">
                  <c:v>33506</c:v>
                </c:pt>
                <c:pt idx="517">
                  <c:v>33507</c:v>
                </c:pt>
                <c:pt idx="518">
                  <c:v>33508</c:v>
                </c:pt>
                <c:pt idx="519">
                  <c:v>33511</c:v>
                </c:pt>
                <c:pt idx="520">
                  <c:v>33512</c:v>
                </c:pt>
                <c:pt idx="521">
                  <c:v>33513</c:v>
                </c:pt>
                <c:pt idx="522">
                  <c:v>33514</c:v>
                </c:pt>
                <c:pt idx="523">
                  <c:v>33515</c:v>
                </c:pt>
                <c:pt idx="524">
                  <c:v>33518</c:v>
                </c:pt>
                <c:pt idx="525">
                  <c:v>33519</c:v>
                </c:pt>
                <c:pt idx="526">
                  <c:v>33520</c:v>
                </c:pt>
                <c:pt idx="527">
                  <c:v>33521</c:v>
                </c:pt>
                <c:pt idx="528">
                  <c:v>33522</c:v>
                </c:pt>
                <c:pt idx="529">
                  <c:v>33525</c:v>
                </c:pt>
                <c:pt idx="530">
                  <c:v>33526</c:v>
                </c:pt>
                <c:pt idx="531">
                  <c:v>33527</c:v>
                </c:pt>
                <c:pt idx="532">
                  <c:v>33528</c:v>
                </c:pt>
                <c:pt idx="533">
                  <c:v>33529</c:v>
                </c:pt>
                <c:pt idx="534">
                  <c:v>33532</c:v>
                </c:pt>
                <c:pt idx="535">
                  <c:v>33533</c:v>
                </c:pt>
                <c:pt idx="536">
                  <c:v>33534</c:v>
                </c:pt>
                <c:pt idx="537">
                  <c:v>33535</c:v>
                </c:pt>
                <c:pt idx="538">
                  <c:v>33536</c:v>
                </c:pt>
                <c:pt idx="539">
                  <c:v>33539</c:v>
                </c:pt>
                <c:pt idx="540">
                  <c:v>33540</c:v>
                </c:pt>
                <c:pt idx="541">
                  <c:v>33541</c:v>
                </c:pt>
                <c:pt idx="542">
                  <c:v>33542</c:v>
                </c:pt>
                <c:pt idx="543">
                  <c:v>33543</c:v>
                </c:pt>
                <c:pt idx="544">
                  <c:v>33546</c:v>
                </c:pt>
                <c:pt idx="545">
                  <c:v>33547</c:v>
                </c:pt>
                <c:pt idx="546">
                  <c:v>33548</c:v>
                </c:pt>
                <c:pt idx="547">
                  <c:v>33549</c:v>
                </c:pt>
                <c:pt idx="548">
                  <c:v>33550</c:v>
                </c:pt>
                <c:pt idx="549">
                  <c:v>33553</c:v>
                </c:pt>
                <c:pt idx="550">
                  <c:v>33554</c:v>
                </c:pt>
                <c:pt idx="551">
                  <c:v>33555</c:v>
                </c:pt>
                <c:pt idx="552">
                  <c:v>33556</c:v>
                </c:pt>
                <c:pt idx="553">
                  <c:v>33557</c:v>
                </c:pt>
                <c:pt idx="554">
                  <c:v>33560</c:v>
                </c:pt>
                <c:pt idx="555">
                  <c:v>33561</c:v>
                </c:pt>
                <c:pt idx="556">
                  <c:v>33562</c:v>
                </c:pt>
                <c:pt idx="557">
                  <c:v>33563</c:v>
                </c:pt>
                <c:pt idx="558">
                  <c:v>33564</c:v>
                </c:pt>
                <c:pt idx="559">
                  <c:v>33567</c:v>
                </c:pt>
                <c:pt idx="560">
                  <c:v>33568</c:v>
                </c:pt>
                <c:pt idx="561">
                  <c:v>33569</c:v>
                </c:pt>
                <c:pt idx="562">
                  <c:v>33571</c:v>
                </c:pt>
                <c:pt idx="563">
                  <c:v>33574</c:v>
                </c:pt>
                <c:pt idx="564">
                  <c:v>33575</c:v>
                </c:pt>
                <c:pt idx="565">
                  <c:v>33576</c:v>
                </c:pt>
                <c:pt idx="566">
                  <c:v>33577</c:v>
                </c:pt>
                <c:pt idx="567">
                  <c:v>33578</c:v>
                </c:pt>
                <c:pt idx="568">
                  <c:v>33581</c:v>
                </c:pt>
                <c:pt idx="569">
                  <c:v>33582</c:v>
                </c:pt>
                <c:pt idx="570">
                  <c:v>33583</c:v>
                </c:pt>
                <c:pt idx="571">
                  <c:v>33584</c:v>
                </c:pt>
                <c:pt idx="572">
                  <c:v>33585</c:v>
                </c:pt>
                <c:pt idx="573">
                  <c:v>33588</c:v>
                </c:pt>
                <c:pt idx="574">
                  <c:v>33589</c:v>
                </c:pt>
                <c:pt idx="575">
                  <c:v>33590</c:v>
                </c:pt>
                <c:pt idx="576">
                  <c:v>33591</c:v>
                </c:pt>
                <c:pt idx="577">
                  <c:v>33592</c:v>
                </c:pt>
                <c:pt idx="578">
                  <c:v>33595</c:v>
                </c:pt>
                <c:pt idx="579">
                  <c:v>33596</c:v>
                </c:pt>
                <c:pt idx="580">
                  <c:v>33598</c:v>
                </c:pt>
                <c:pt idx="581">
                  <c:v>33599</c:v>
                </c:pt>
                <c:pt idx="582">
                  <c:v>33602</c:v>
                </c:pt>
                <c:pt idx="583">
                  <c:v>33603</c:v>
                </c:pt>
                <c:pt idx="584">
                  <c:v>33605</c:v>
                </c:pt>
                <c:pt idx="585">
                  <c:v>33606</c:v>
                </c:pt>
                <c:pt idx="586">
                  <c:v>33609</c:v>
                </c:pt>
                <c:pt idx="587">
                  <c:v>33610</c:v>
                </c:pt>
                <c:pt idx="588">
                  <c:v>33611</c:v>
                </c:pt>
                <c:pt idx="589">
                  <c:v>33612</c:v>
                </c:pt>
                <c:pt idx="590">
                  <c:v>33613</c:v>
                </c:pt>
                <c:pt idx="591">
                  <c:v>33616</c:v>
                </c:pt>
                <c:pt idx="592">
                  <c:v>33617</c:v>
                </c:pt>
                <c:pt idx="593">
                  <c:v>33618</c:v>
                </c:pt>
                <c:pt idx="594">
                  <c:v>33619</c:v>
                </c:pt>
                <c:pt idx="595">
                  <c:v>33620</c:v>
                </c:pt>
                <c:pt idx="596">
                  <c:v>33623</c:v>
                </c:pt>
                <c:pt idx="597">
                  <c:v>33624</c:v>
                </c:pt>
                <c:pt idx="598">
                  <c:v>33625</c:v>
                </c:pt>
                <c:pt idx="599">
                  <c:v>33626</c:v>
                </c:pt>
                <c:pt idx="600">
                  <c:v>33627</c:v>
                </c:pt>
                <c:pt idx="601">
                  <c:v>33630</c:v>
                </c:pt>
                <c:pt idx="602">
                  <c:v>33631</c:v>
                </c:pt>
                <c:pt idx="603">
                  <c:v>33632</c:v>
                </c:pt>
                <c:pt idx="604">
                  <c:v>33633</c:v>
                </c:pt>
                <c:pt idx="605">
                  <c:v>33634</c:v>
                </c:pt>
                <c:pt idx="606">
                  <c:v>33637</c:v>
                </c:pt>
                <c:pt idx="607">
                  <c:v>33638</c:v>
                </c:pt>
                <c:pt idx="608">
                  <c:v>33639</c:v>
                </c:pt>
                <c:pt idx="609">
                  <c:v>33640</c:v>
                </c:pt>
                <c:pt idx="610">
                  <c:v>33641</c:v>
                </c:pt>
                <c:pt idx="611">
                  <c:v>33644</c:v>
                </c:pt>
                <c:pt idx="612">
                  <c:v>33645</c:v>
                </c:pt>
                <c:pt idx="613">
                  <c:v>33646</c:v>
                </c:pt>
                <c:pt idx="614">
                  <c:v>33647</c:v>
                </c:pt>
                <c:pt idx="615">
                  <c:v>33648</c:v>
                </c:pt>
                <c:pt idx="616">
                  <c:v>33652</c:v>
                </c:pt>
                <c:pt idx="617">
                  <c:v>33653</c:v>
                </c:pt>
                <c:pt idx="618">
                  <c:v>33654</c:v>
                </c:pt>
                <c:pt idx="619">
                  <c:v>33655</c:v>
                </c:pt>
                <c:pt idx="620">
                  <c:v>33658</c:v>
                </c:pt>
                <c:pt idx="621">
                  <c:v>33659</c:v>
                </c:pt>
                <c:pt idx="622">
                  <c:v>33660</c:v>
                </c:pt>
                <c:pt idx="623">
                  <c:v>33661</c:v>
                </c:pt>
                <c:pt idx="624">
                  <c:v>33662</c:v>
                </c:pt>
                <c:pt idx="625">
                  <c:v>33665</c:v>
                </c:pt>
                <c:pt idx="626">
                  <c:v>33666</c:v>
                </c:pt>
                <c:pt idx="627">
                  <c:v>33667</c:v>
                </c:pt>
                <c:pt idx="628">
                  <c:v>33668</c:v>
                </c:pt>
                <c:pt idx="629">
                  <c:v>33669</c:v>
                </c:pt>
                <c:pt idx="630">
                  <c:v>33672</c:v>
                </c:pt>
                <c:pt idx="631">
                  <c:v>33673</c:v>
                </c:pt>
                <c:pt idx="632">
                  <c:v>33674</c:v>
                </c:pt>
                <c:pt idx="633">
                  <c:v>33675</c:v>
                </c:pt>
                <c:pt idx="634">
                  <c:v>33676</c:v>
                </c:pt>
                <c:pt idx="635">
                  <c:v>33679</c:v>
                </c:pt>
                <c:pt idx="636">
                  <c:v>33680</c:v>
                </c:pt>
                <c:pt idx="637">
                  <c:v>33681</c:v>
                </c:pt>
                <c:pt idx="638">
                  <c:v>33682</c:v>
                </c:pt>
                <c:pt idx="639">
                  <c:v>33683</c:v>
                </c:pt>
                <c:pt idx="640">
                  <c:v>33686</c:v>
                </c:pt>
                <c:pt idx="641">
                  <c:v>33687</c:v>
                </c:pt>
                <c:pt idx="642">
                  <c:v>33688</c:v>
                </c:pt>
                <c:pt idx="643">
                  <c:v>33689</c:v>
                </c:pt>
                <c:pt idx="644">
                  <c:v>33690</c:v>
                </c:pt>
                <c:pt idx="645">
                  <c:v>33693</c:v>
                </c:pt>
                <c:pt idx="646">
                  <c:v>33694</c:v>
                </c:pt>
                <c:pt idx="647">
                  <c:v>33695</c:v>
                </c:pt>
                <c:pt idx="648">
                  <c:v>33696</c:v>
                </c:pt>
                <c:pt idx="649">
                  <c:v>33697</c:v>
                </c:pt>
                <c:pt idx="650">
                  <c:v>33700</c:v>
                </c:pt>
                <c:pt idx="651">
                  <c:v>33701</c:v>
                </c:pt>
                <c:pt idx="652">
                  <c:v>33702</c:v>
                </c:pt>
                <c:pt idx="653">
                  <c:v>33703</c:v>
                </c:pt>
                <c:pt idx="654">
                  <c:v>33704</c:v>
                </c:pt>
                <c:pt idx="655">
                  <c:v>33707</c:v>
                </c:pt>
                <c:pt idx="656">
                  <c:v>33708</c:v>
                </c:pt>
                <c:pt idx="657">
                  <c:v>33709</c:v>
                </c:pt>
                <c:pt idx="658">
                  <c:v>33710</c:v>
                </c:pt>
                <c:pt idx="659">
                  <c:v>33714</c:v>
                </c:pt>
                <c:pt idx="660">
                  <c:v>33715</c:v>
                </c:pt>
                <c:pt idx="661">
                  <c:v>33716</c:v>
                </c:pt>
                <c:pt idx="662">
                  <c:v>33717</c:v>
                </c:pt>
                <c:pt idx="663">
                  <c:v>33718</c:v>
                </c:pt>
                <c:pt idx="664">
                  <c:v>33721</c:v>
                </c:pt>
                <c:pt idx="665">
                  <c:v>33722</c:v>
                </c:pt>
                <c:pt idx="666">
                  <c:v>33723</c:v>
                </c:pt>
                <c:pt idx="667">
                  <c:v>33724</c:v>
                </c:pt>
                <c:pt idx="668">
                  <c:v>33725</c:v>
                </c:pt>
                <c:pt idx="669">
                  <c:v>33728</c:v>
                </c:pt>
                <c:pt idx="670">
                  <c:v>33729</c:v>
                </c:pt>
                <c:pt idx="671">
                  <c:v>33730</c:v>
                </c:pt>
                <c:pt idx="672">
                  <c:v>33731</c:v>
                </c:pt>
                <c:pt idx="673">
                  <c:v>33732</c:v>
                </c:pt>
                <c:pt idx="674">
                  <c:v>33735</c:v>
                </c:pt>
                <c:pt idx="675">
                  <c:v>33736</c:v>
                </c:pt>
                <c:pt idx="676">
                  <c:v>33737</c:v>
                </c:pt>
                <c:pt idx="677">
                  <c:v>33738</c:v>
                </c:pt>
                <c:pt idx="678">
                  <c:v>33739</c:v>
                </c:pt>
                <c:pt idx="679">
                  <c:v>33742</c:v>
                </c:pt>
                <c:pt idx="680">
                  <c:v>33743</c:v>
                </c:pt>
                <c:pt idx="681">
                  <c:v>33744</c:v>
                </c:pt>
                <c:pt idx="682">
                  <c:v>33745</c:v>
                </c:pt>
                <c:pt idx="683">
                  <c:v>33746</c:v>
                </c:pt>
                <c:pt idx="684">
                  <c:v>33750</c:v>
                </c:pt>
                <c:pt idx="685">
                  <c:v>33751</c:v>
                </c:pt>
                <c:pt idx="686">
                  <c:v>33752</c:v>
                </c:pt>
                <c:pt idx="687">
                  <c:v>33753</c:v>
                </c:pt>
                <c:pt idx="688">
                  <c:v>33756</c:v>
                </c:pt>
                <c:pt idx="689">
                  <c:v>33757</c:v>
                </c:pt>
                <c:pt idx="690">
                  <c:v>33758</c:v>
                </c:pt>
                <c:pt idx="691">
                  <c:v>33759</c:v>
                </c:pt>
                <c:pt idx="692">
                  <c:v>33760</c:v>
                </c:pt>
                <c:pt idx="693">
                  <c:v>33763</c:v>
                </c:pt>
                <c:pt idx="694">
                  <c:v>33764</c:v>
                </c:pt>
                <c:pt idx="695">
                  <c:v>33765</c:v>
                </c:pt>
                <c:pt idx="696">
                  <c:v>33766</c:v>
                </c:pt>
                <c:pt idx="697">
                  <c:v>33767</c:v>
                </c:pt>
                <c:pt idx="698">
                  <c:v>33770</c:v>
                </c:pt>
                <c:pt idx="699">
                  <c:v>33771</c:v>
                </c:pt>
                <c:pt idx="700">
                  <c:v>33772</c:v>
                </c:pt>
                <c:pt idx="701">
                  <c:v>33773</c:v>
                </c:pt>
                <c:pt idx="702">
                  <c:v>33774</c:v>
                </c:pt>
                <c:pt idx="703">
                  <c:v>33777</c:v>
                </c:pt>
                <c:pt idx="704">
                  <c:v>33778</c:v>
                </c:pt>
                <c:pt idx="705">
                  <c:v>33779</c:v>
                </c:pt>
                <c:pt idx="706">
                  <c:v>33780</c:v>
                </c:pt>
                <c:pt idx="707">
                  <c:v>33781</c:v>
                </c:pt>
                <c:pt idx="708">
                  <c:v>33784</c:v>
                </c:pt>
                <c:pt idx="709">
                  <c:v>33785</c:v>
                </c:pt>
                <c:pt idx="710">
                  <c:v>33786</c:v>
                </c:pt>
                <c:pt idx="711">
                  <c:v>33787</c:v>
                </c:pt>
                <c:pt idx="712">
                  <c:v>33791</c:v>
                </c:pt>
                <c:pt idx="713">
                  <c:v>33792</c:v>
                </c:pt>
                <c:pt idx="714">
                  <c:v>33793</c:v>
                </c:pt>
                <c:pt idx="715">
                  <c:v>33794</c:v>
                </c:pt>
                <c:pt idx="716">
                  <c:v>33795</c:v>
                </c:pt>
                <c:pt idx="717">
                  <c:v>33798</c:v>
                </c:pt>
                <c:pt idx="718">
                  <c:v>33799</c:v>
                </c:pt>
                <c:pt idx="719">
                  <c:v>33800</c:v>
                </c:pt>
                <c:pt idx="720">
                  <c:v>33801</c:v>
                </c:pt>
                <c:pt idx="721">
                  <c:v>33802</c:v>
                </c:pt>
                <c:pt idx="722">
                  <c:v>33805</c:v>
                </c:pt>
                <c:pt idx="723">
                  <c:v>33806</c:v>
                </c:pt>
                <c:pt idx="724">
                  <c:v>33807</c:v>
                </c:pt>
                <c:pt idx="725">
                  <c:v>33808</c:v>
                </c:pt>
                <c:pt idx="726">
                  <c:v>33809</c:v>
                </c:pt>
                <c:pt idx="727">
                  <c:v>33812</c:v>
                </c:pt>
                <c:pt idx="728">
                  <c:v>33813</c:v>
                </c:pt>
                <c:pt idx="729">
                  <c:v>33814</c:v>
                </c:pt>
                <c:pt idx="730">
                  <c:v>33815</c:v>
                </c:pt>
                <c:pt idx="731">
                  <c:v>33816</c:v>
                </c:pt>
                <c:pt idx="732">
                  <c:v>33819</c:v>
                </c:pt>
                <c:pt idx="733">
                  <c:v>33820</c:v>
                </c:pt>
                <c:pt idx="734">
                  <c:v>33821</c:v>
                </c:pt>
                <c:pt idx="735">
                  <c:v>33822</c:v>
                </c:pt>
                <c:pt idx="736">
                  <c:v>33823</c:v>
                </c:pt>
                <c:pt idx="737">
                  <c:v>33826</c:v>
                </c:pt>
                <c:pt idx="738">
                  <c:v>33827</c:v>
                </c:pt>
                <c:pt idx="739">
                  <c:v>33828</c:v>
                </c:pt>
                <c:pt idx="740">
                  <c:v>33829</c:v>
                </c:pt>
                <c:pt idx="741">
                  <c:v>33830</c:v>
                </c:pt>
                <c:pt idx="742">
                  <c:v>33833</c:v>
                </c:pt>
                <c:pt idx="743">
                  <c:v>33834</c:v>
                </c:pt>
                <c:pt idx="744">
                  <c:v>33835</c:v>
                </c:pt>
                <c:pt idx="745">
                  <c:v>33836</c:v>
                </c:pt>
                <c:pt idx="746">
                  <c:v>33837</c:v>
                </c:pt>
                <c:pt idx="747">
                  <c:v>33840</c:v>
                </c:pt>
                <c:pt idx="748">
                  <c:v>33841</c:v>
                </c:pt>
                <c:pt idx="749">
                  <c:v>33842</c:v>
                </c:pt>
                <c:pt idx="750">
                  <c:v>33843</c:v>
                </c:pt>
                <c:pt idx="751">
                  <c:v>33844</c:v>
                </c:pt>
                <c:pt idx="752">
                  <c:v>33847</c:v>
                </c:pt>
                <c:pt idx="753">
                  <c:v>33848</c:v>
                </c:pt>
                <c:pt idx="754">
                  <c:v>33849</c:v>
                </c:pt>
                <c:pt idx="755">
                  <c:v>33850</c:v>
                </c:pt>
                <c:pt idx="756">
                  <c:v>33851</c:v>
                </c:pt>
                <c:pt idx="757">
                  <c:v>33855</c:v>
                </c:pt>
                <c:pt idx="758">
                  <c:v>33856</c:v>
                </c:pt>
                <c:pt idx="759">
                  <c:v>33857</c:v>
                </c:pt>
                <c:pt idx="760">
                  <c:v>33858</c:v>
                </c:pt>
                <c:pt idx="761">
                  <c:v>33861</c:v>
                </c:pt>
                <c:pt idx="762">
                  <c:v>33862</c:v>
                </c:pt>
                <c:pt idx="763">
                  <c:v>33863</c:v>
                </c:pt>
                <c:pt idx="764">
                  <c:v>33864</c:v>
                </c:pt>
                <c:pt idx="765">
                  <c:v>33865</c:v>
                </c:pt>
                <c:pt idx="766">
                  <c:v>33868</c:v>
                </c:pt>
                <c:pt idx="767">
                  <c:v>33869</c:v>
                </c:pt>
                <c:pt idx="768">
                  <c:v>33870</c:v>
                </c:pt>
                <c:pt idx="769">
                  <c:v>33871</c:v>
                </c:pt>
                <c:pt idx="770">
                  <c:v>33872</c:v>
                </c:pt>
                <c:pt idx="771">
                  <c:v>33875</c:v>
                </c:pt>
                <c:pt idx="772">
                  <c:v>33876</c:v>
                </c:pt>
                <c:pt idx="773">
                  <c:v>33877</c:v>
                </c:pt>
                <c:pt idx="774">
                  <c:v>33878</c:v>
                </c:pt>
                <c:pt idx="775">
                  <c:v>33879</c:v>
                </c:pt>
                <c:pt idx="776">
                  <c:v>33882</c:v>
                </c:pt>
                <c:pt idx="777">
                  <c:v>33883</c:v>
                </c:pt>
                <c:pt idx="778">
                  <c:v>33884</c:v>
                </c:pt>
                <c:pt idx="779">
                  <c:v>33885</c:v>
                </c:pt>
                <c:pt idx="780">
                  <c:v>33886</c:v>
                </c:pt>
                <c:pt idx="781">
                  <c:v>33889</c:v>
                </c:pt>
                <c:pt idx="782">
                  <c:v>33890</c:v>
                </c:pt>
                <c:pt idx="783">
                  <c:v>33891</c:v>
                </c:pt>
                <c:pt idx="784">
                  <c:v>33892</c:v>
                </c:pt>
                <c:pt idx="785">
                  <c:v>33893</c:v>
                </c:pt>
                <c:pt idx="786">
                  <c:v>33896</c:v>
                </c:pt>
                <c:pt idx="787">
                  <c:v>33897</c:v>
                </c:pt>
                <c:pt idx="788">
                  <c:v>33898</c:v>
                </c:pt>
                <c:pt idx="789">
                  <c:v>33899</c:v>
                </c:pt>
                <c:pt idx="790">
                  <c:v>33900</c:v>
                </c:pt>
                <c:pt idx="791">
                  <c:v>33903</c:v>
                </c:pt>
                <c:pt idx="792">
                  <c:v>33904</c:v>
                </c:pt>
                <c:pt idx="793">
                  <c:v>33905</c:v>
                </c:pt>
                <c:pt idx="794">
                  <c:v>33906</c:v>
                </c:pt>
                <c:pt idx="795">
                  <c:v>33907</c:v>
                </c:pt>
                <c:pt idx="796">
                  <c:v>33910</c:v>
                </c:pt>
                <c:pt idx="797">
                  <c:v>33911</c:v>
                </c:pt>
                <c:pt idx="798">
                  <c:v>33912</c:v>
                </c:pt>
                <c:pt idx="799">
                  <c:v>33913</c:v>
                </c:pt>
                <c:pt idx="800">
                  <c:v>33914</c:v>
                </c:pt>
                <c:pt idx="801">
                  <c:v>33917</c:v>
                </c:pt>
                <c:pt idx="802">
                  <c:v>33918</c:v>
                </c:pt>
                <c:pt idx="803">
                  <c:v>33919</c:v>
                </c:pt>
                <c:pt idx="804">
                  <c:v>33920</c:v>
                </c:pt>
                <c:pt idx="805">
                  <c:v>33921</c:v>
                </c:pt>
                <c:pt idx="806">
                  <c:v>33924</c:v>
                </c:pt>
                <c:pt idx="807">
                  <c:v>33925</c:v>
                </c:pt>
                <c:pt idx="808">
                  <c:v>33926</c:v>
                </c:pt>
                <c:pt idx="809">
                  <c:v>33927</c:v>
                </c:pt>
                <c:pt idx="810">
                  <c:v>33928</c:v>
                </c:pt>
                <c:pt idx="811">
                  <c:v>33931</c:v>
                </c:pt>
                <c:pt idx="812">
                  <c:v>33932</c:v>
                </c:pt>
                <c:pt idx="813">
                  <c:v>33933</c:v>
                </c:pt>
                <c:pt idx="814">
                  <c:v>33935</c:v>
                </c:pt>
                <c:pt idx="815">
                  <c:v>33938</c:v>
                </c:pt>
                <c:pt idx="816">
                  <c:v>33939</c:v>
                </c:pt>
                <c:pt idx="817">
                  <c:v>33940</c:v>
                </c:pt>
                <c:pt idx="818">
                  <c:v>33941</c:v>
                </c:pt>
                <c:pt idx="819">
                  <c:v>33942</c:v>
                </c:pt>
                <c:pt idx="820">
                  <c:v>33945</c:v>
                </c:pt>
                <c:pt idx="821">
                  <c:v>33946</c:v>
                </c:pt>
                <c:pt idx="822">
                  <c:v>33947</c:v>
                </c:pt>
                <c:pt idx="823">
                  <c:v>33948</c:v>
                </c:pt>
                <c:pt idx="824">
                  <c:v>33949</c:v>
                </c:pt>
                <c:pt idx="825">
                  <c:v>33952</c:v>
                </c:pt>
                <c:pt idx="826">
                  <c:v>33953</c:v>
                </c:pt>
                <c:pt idx="827">
                  <c:v>33954</c:v>
                </c:pt>
                <c:pt idx="828">
                  <c:v>33955</c:v>
                </c:pt>
                <c:pt idx="829">
                  <c:v>33956</c:v>
                </c:pt>
                <c:pt idx="830">
                  <c:v>33959</c:v>
                </c:pt>
                <c:pt idx="831">
                  <c:v>33960</c:v>
                </c:pt>
                <c:pt idx="832">
                  <c:v>33961</c:v>
                </c:pt>
                <c:pt idx="833">
                  <c:v>33962</c:v>
                </c:pt>
                <c:pt idx="834">
                  <c:v>33966</c:v>
                </c:pt>
                <c:pt idx="835">
                  <c:v>33967</c:v>
                </c:pt>
                <c:pt idx="836">
                  <c:v>33968</c:v>
                </c:pt>
                <c:pt idx="837">
                  <c:v>33969</c:v>
                </c:pt>
                <c:pt idx="838">
                  <c:v>33973</c:v>
                </c:pt>
                <c:pt idx="839">
                  <c:v>33974</c:v>
                </c:pt>
                <c:pt idx="840">
                  <c:v>33975</c:v>
                </c:pt>
                <c:pt idx="841">
                  <c:v>33976</c:v>
                </c:pt>
                <c:pt idx="842">
                  <c:v>33977</c:v>
                </c:pt>
                <c:pt idx="843">
                  <c:v>33980</c:v>
                </c:pt>
                <c:pt idx="844">
                  <c:v>33981</c:v>
                </c:pt>
                <c:pt idx="845">
                  <c:v>33982</c:v>
                </c:pt>
                <c:pt idx="846">
                  <c:v>33983</c:v>
                </c:pt>
                <c:pt idx="847">
                  <c:v>33984</c:v>
                </c:pt>
                <c:pt idx="848">
                  <c:v>33987</c:v>
                </c:pt>
                <c:pt idx="849">
                  <c:v>33988</c:v>
                </c:pt>
                <c:pt idx="850">
                  <c:v>33989</c:v>
                </c:pt>
                <c:pt idx="851">
                  <c:v>33990</c:v>
                </c:pt>
                <c:pt idx="852">
                  <c:v>33991</c:v>
                </c:pt>
                <c:pt idx="853">
                  <c:v>33994</c:v>
                </c:pt>
                <c:pt idx="854">
                  <c:v>33995</c:v>
                </c:pt>
                <c:pt idx="855">
                  <c:v>33996</c:v>
                </c:pt>
                <c:pt idx="856">
                  <c:v>33997</c:v>
                </c:pt>
                <c:pt idx="857">
                  <c:v>33998</c:v>
                </c:pt>
                <c:pt idx="858">
                  <c:v>34001</c:v>
                </c:pt>
                <c:pt idx="859">
                  <c:v>34002</c:v>
                </c:pt>
                <c:pt idx="860">
                  <c:v>34003</c:v>
                </c:pt>
                <c:pt idx="861">
                  <c:v>34004</c:v>
                </c:pt>
                <c:pt idx="862">
                  <c:v>34005</c:v>
                </c:pt>
                <c:pt idx="863">
                  <c:v>34008</c:v>
                </c:pt>
                <c:pt idx="864">
                  <c:v>34009</c:v>
                </c:pt>
                <c:pt idx="865">
                  <c:v>34010</c:v>
                </c:pt>
                <c:pt idx="866">
                  <c:v>34011</c:v>
                </c:pt>
                <c:pt idx="867">
                  <c:v>34012</c:v>
                </c:pt>
                <c:pt idx="868">
                  <c:v>34016</c:v>
                </c:pt>
                <c:pt idx="869">
                  <c:v>34017</c:v>
                </c:pt>
                <c:pt idx="870">
                  <c:v>34018</c:v>
                </c:pt>
                <c:pt idx="871">
                  <c:v>34019</c:v>
                </c:pt>
                <c:pt idx="872">
                  <c:v>34022</c:v>
                </c:pt>
                <c:pt idx="873">
                  <c:v>34023</c:v>
                </c:pt>
                <c:pt idx="874">
                  <c:v>34024</c:v>
                </c:pt>
                <c:pt idx="875">
                  <c:v>34025</c:v>
                </c:pt>
                <c:pt idx="876">
                  <c:v>34026</c:v>
                </c:pt>
                <c:pt idx="877">
                  <c:v>34029</c:v>
                </c:pt>
                <c:pt idx="878">
                  <c:v>34030</c:v>
                </c:pt>
                <c:pt idx="879">
                  <c:v>34031</c:v>
                </c:pt>
                <c:pt idx="880">
                  <c:v>34032</c:v>
                </c:pt>
                <c:pt idx="881">
                  <c:v>34033</c:v>
                </c:pt>
                <c:pt idx="882">
                  <c:v>34036</c:v>
                </c:pt>
                <c:pt idx="883">
                  <c:v>34037</c:v>
                </c:pt>
                <c:pt idx="884">
                  <c:v>34038</c:v>
                </c:pt>
                <c:pt idx="885">
                  <c:v>34039</c:v>
                </c:pt>
                <c:pt idx="886">
                  <c:v>34040</c:v>
                </c:pt>
                <c:pt idx="887">
                  <c:v>34043</c:v>
                </c:pt>
                <c:pt idx="888">
                  <c:v>34044</c:v>
                </c:pt>
                <c:pt idx="889">
                  <c:v>34045</c:v>
                </c:pt>
                <c:pt idx="890">
                  <c:v>34046</c:v>
                </c:pt>
                <c:pt idx="891">
                  <c:v>34047</c:v>
                </c:pt>
                <c:pt idx="892">
                  <c:v>34050</c:v>
                </c:pt>
                <c:pt idx="893">
                  <c:v>34051</c:v>
                </c:pt>
                <c:pt idx="894">
                  <c:v>34052</c:v>
                </c:pt>
                <c:pt idx="895">
                  <c:v>34053</c:v>
                </c:pt>
                <c:pt idx="896">
                  <c:v>34054</c:v>
                </c:pt>
                <c:pt idx="897">
                  <c:v>34057</c:v>
                </c:pt>
                <c:pt idx="898">
                  <c:v>34058</c:v>
                </c:pt>
                <c:pt idx="899">
                  <c:v>34059</c:v>
                </c:pt>
                <c:pt idx="900">
                  <c:v>34060</c:v>
                </c:pt>
                <c:pt idx="901">
                  <c:v>34061</c:v>
                </c:pt>
                <c:pt idx="902">
                  <c:v>34064</c:v>
                </c:pt>
                <c:pt idx="903">
                  <c:v>34065</c:v>
                </c:pt>
                <c:pt idx="904">
                  <c:v>34066</c:v>
                </c:pt>
                <c:pt idx="905">
                  <c:v>34067</c:v>
                </c:pt>
                <c:pt idx="906">
                  <c:v>34071</c:v>
                </c:pt>
                <c:pt idx="907">
                  <c:v>34072</c:v>
                </c:pt>
                <c:pt idx="908">
                  <c:v>34073</c:v>
                </c:pt>
                <c:pt idx="909">
                  <c:v>34074</c:v>
                </c:pt>
                <c:pt idx="910">
                  <c:v>34075</c:v>
                </c:pt>
                <c:pt idx="911">
                  <c:v>34078</c:v>
                </c:pt>
                <c:pt idx="912">
                  <c:v>34079</c:v>
                </c:pt>
                <c:pt idx="913">
                  <c:v>34080</c:v>
                </c:pt>
                <c:pt idx="914">
                  <c:v>34081</c:v>
                </c:pt>
                <c:pt idx="915">
                  <c:v>34082</c:v>
                </c:pt>
                <c:pt idx="916">
                  <c:v>34085</c:v>
                </c:pt>
                <c:pt idx="917">
                  <c:v>34086</c:v>
                </c:pt>
                <c:pt idx="918">
                  <c:v>34087</c:v>
                </c:pt>
                <c:pt idx="919">
                  <c:v>34088</c:v>
                </c:pt>
                <c:pt idx="920">
                  <c:v>34089</c:v>
                </c:pt>
                <c:pt idx="921">
                  <c:v>34092</c:v>
                </c:pt>
                <c:pt idx="922">
                  <c:v>34093</c:v>
                </c:pt>
                <c:pt idx="923">
                  <c:v>34094</c:v>
                </c:pt>
                <c:pt idx="924">
                  <c:v>34095</c:v>
                </c:pt>
                <c:pt idx="925">
                  <c:v>34096</c:v>
                </c:pt>
                <c:pt idx="926">
                  <c:v>34099</c:v>
                </c:pt>
                <c:pt idx="927">
                  <c:v>34100</c:v>
                </c:pt>
                <c:pt idx="928">
                  <c:v>34101</c:v>
                </c:pt>
                <c:pt idx="929">
                  <c:v>34102</c:v>
                </c:pt>
                <c:pt idx="930">
                  <c:v>34103</c:v>
                </c:pt>
                <c:pt idx="931">
                  <c:v>34106</c:v>
                </c:pt>
                <c:pt idx="932">
                  <c:v>34107</c:v>
                </c:pt>
                <c:pt idx="933">
                  <c:v>34108</c:v>
                </c:pt>
                <c:pt idx="934">
                  <c:v>34109</c:v>
                </c:pt>
                <c:pt idx="935">
                  <c:v>34110</c:v>
                </c:pt>
                <c:pt idx="936">
                  <c:v>34113</c:v>
                </c:pt>
                <c:pt idx="937">
                  <c:v>34114</c:v>
                </c:pt>
                <c:pt idx="938">
                  <c:v>34115</c:v>
                </c:pt>
                <c:pt idx="939">
                  <c:v>34116</c:v>
                </c:pt>
                <c:pt idx="940">
                  <c:v>34117</c:v>
                </c:pt>
                <c:pt idx="941">
                  <c:v>34121</c:v>
                </c:pt>
                <c:pt idx="942">
                  <c:v>34122</c:v>
                </c:pt>
                <c:pt idx="943">
                  <c:v>34123</c:v>
                </c:pt>
                <c:pt idx="944">
                  <c:v>34124</c:v>
                </c:pt>
                <c:pt idx="945">
                  <c:v>34127</c:v>
                </c:pt>
                <c:pt idx="946">
                  <c:v>34128</c:v>
                </c:pt>
                <c:pt idx="947">
                  <c:v>34129</c:v>
                </c:pt>
                <c:pt idx="948">
                  <c:v>34130</c:v>
                </c:pt>
                <c:pt idx="949">
                  <c:v>34131</c:v>
                </c:pt>
                <c:pt idx="950">
                  <c:v>34134</c:v>
                </c:pt>
                <c:pt idx="951">
                  <c:v>34135</c:v>
                </c:pt>
                <c:pt idx="952">
                  <c:v>34136</c:v>
                </c:pt>
                <c:pt idx="953">
                  <c:v>34137</c:v>
                </c:pt>
                <c:pt idx="954">
                  <c:v>34138</c:v>
                </c:pt>
                <c:pt idx="955">
                  <c:v>34141</c:v>
                </c:pt>
                <c:pt idx="956">
                  <c:v>34142</c:v>
                </c:pt>
                <c:pt idx="957">
                  <c:v>34143</c:v>
                </c:pt>
                <c:pt idx="958">
                  <c:v>34144</c:v>
                </c:pt>
                <c:pt idx="959">
                  <c:v>34145</c:v>
                </c:pt>
                <c:pt idx="960">
                  <c:v>34148</c:v>
                </c:pt>
                <c:pt idx="961">
                  <c:v>34149</c:v>
                </c:pt>
                <c:pt idx="962">
                  <c:v>34150</c:v>
                </c:pt>
                <c:pt idx="963">
                  <c:v>34151</c:v>
                </c:pt>
                <c:pt idx="964">
                  <c:v>34152</c:v>
                </c:pt>
                <c:pt idx="965">
                  <c:v>34156</c:v>
                </c:pt>
                <c:pt idx="966">
                  <c:v>34157</c:v>
                </c:pt>
                <c:pt idx="967">
                  <c:v>34158</c:v>
                </c:pt>
                <c:pt idx="968">
                  <c:v>34159</c:v>
                </c:pt>
                <c:pt idx="969">
                  <c:v>34162</c:v>
                </c:pt>
                <c:pt idx="970">
                  <c:v>34163</c:v>
                </c:pt>
                <c:pt idx="971">
                  <c:v>34164</c:v>
                </c:pt>
                <c:pt idx="972">
                  <c:v>34165</c:v>
                </c:pt>
                <c:pt idx="973">
                  <c:v>34166</c:v>
                </c:pt>
                <c:pt idx="974">
                  <c:v>34169</c:v>
                </c:pt>
                <c:pt idx="975">
                  <c:v>34170</c:v>
                </c:pt>
                <c:pt idx="976">
                  <c:v>34171</c:v>
                </c:pt>
                <c:pt idx="977">
                  <c:v>34172</c:v>
                </c:pt>
                <c:pt idx="978">
                  <c:v>34173</c:v>
                </c:pt>
                <c:pt idx="979">
                  <c:v>34176</c:v>
                </c:pt>
                <c:pt idx="980">
                  <c:v>34177</c:v>
                </c:pt>
                <c:pt idx="981">
                  <c:v>34178</c:v>
                </c:pt>
                <c:pt idx="982">
                  <c:v>34179</c:v>
                </c:pt>
                <c:pt idx="983">
                  <c:v>34180</c:v>
                </c:pt>
                <c:pt idx="984">
                  <c:v>34183</c:v>
                </c:pt>
                <c:pt idx="985">
                  <c:v>34184</c:v>
                </c:pt>
                <c:pt idx="986">
                  <c:v>34185</c:v>
                </c:pt>
                <c:pt idx="987">
                  <c:v>34186</c:v>
                </c:pt>
                <c:pt idx="988">
                  <c:v>34187</c:v>
                </c:pt>
                <c:pt idx="989">
                  <c:v>34190</c:v>
                </c:pt>
                <c:pt idx="990">
                  <c:v>34191</c:v>
                </c:pt>
                <c:pt idx="991">
                  <c:v>34192</c:v>
                </c:pt>
                <c:pt idx="992">
                  <c:v>34193</c:v>
                </c:pt>
                <c:pt idx="993">
                  <c:v>34194</c:v>
                </c:pt>
                <c:pt idx="994">
                  <c:v>34197</c:v>
                </c:pt>
                <c:pt idx="995">
                  <c:v>34198</c:v>
                </c:pt>
                <c:pt idx="996">
                  <c:v>34199</c:v>
                </c:pt>
                <c:pt idx="997">
                  <c:v>34200</c:v>
                </c:pt>
                <c:pt idx="998">
                  <c:v>34201</c:v>
                </c:pt>
                <c:pt idx="999">
                  <c:v>34204</c:v>
                </c:pt>
                <c:pt idx="1000">
                  <c:v>34205</c:v>
                </c:pt>
                <c:pt idx="1001">
                  <c:v>34206</c:v>
                </c:pt>
                <c:pt idx="1002">
                  <c:v>34207</c:v>
                </c:pt>
                <c:pt idx="1003">
                  <c:v>34208</c:v>
                </c:pt>
                <c:pt idx="1004">
                  <c:v>34211</c:v>
                </c:pt>
                <c:pt idx="1005">
                  <c:v>34212</c:v>
                </c:pt>
                <c:pt idx="1006">
                  <c:v>34213</c:v>
                </c:pt>
                <c:pt idx="1007">
                  <c:v>34214</c:v>
                </c:pt>
                <c:pt idx="1008">
                  <c:v>34215</c:v>
                </c:pt>
                <c:pt idx="1009">
                  <c:v>34219</c:v>
                </c:pt>
                <c:pt idx="1010">
                  <c:v>34220</c:v>
                </c:pt>
                <c:pt idx="1011">
                  <c:v>34221</c:v>
                </c:pt>
                <c:pt idx="1012">
                  <c:v>34222</c:v>
                </c:pt>
                <c:pt idx="1013">
                  <c:v>34225</c:v>
                </c:pt>
                <c:pt idx="1014">
                  <c:v>34226</c:v>
                </c:pt>
                <c:pt idx="1015">
                  <c:v>34227</c:v>
                </c:pt>
                <c:pt idx="1016">
                  <c:v>34228</c:v>
                </c:pt>
                <c:pt idx="1017">
                  <c:v>34229</c:v>
                </c:pt>
                <c:pt idx="1018">
                  <c:v>34232</c:v>
                </c:pt>
                <c:pt idx="1019">
                  <c:v>34233</c:v>
                </c:pt>
                <c:pt idx="1020">
                  <c:v>34234</c:v>
                </c:pt>
                <c:pt idx="1021">
                  <c:v>34235</c:v>
                </c:pt>
                <c:pt idx="1022">
                  <c:v>34236</c:v>
                </c:pt>
                <c:pt idx="1023">
                  <c:v>34239</c:v>
                </c:pt>
                <c:pt idx="1024">
                  <c:v>34240</c:v>
                </c:pt>
                <c:pt idx="1025">
                  <c:v>34241</c:v>
                </c:pt>
                <c:pt idx="1026">
                  <c:v>34242</c:v>
                </c:pt>
                <c:pt idx="1027">
                  <c:v>34243</c:v>
                </c:pt>
                <c:pt idx="1028">
                  <c:v>34246</c:v>
                </c:pt>
                <c:pt idx="1029">
                  <c:v>34247</c:v>
                </c:pt>
                <c:pt idx="1030">
                  <c:v>34248</c:v>
                </c:pt>
                <c:pt idx="1031">
                  <c:v>34249</c:v>
                </c:pt>
                <c:pt idx="1032">
                  <c:v>34250</c:v>
                </c:pt>
                <c:pt idx="1033">
                  <c:v>34253</c:v>
                </c:pt>
                <c:pt idx="1034">
                  <c:v>34254</c:v>
                </c:pt>
                <c:pt idx="1035">
                  <c:v>34255</c:v>
                </c:pt>
                <c:pt idx="1036">
                  <c:v>34256</c:v>
                </c:pt>
                <c:pt idx="1037">
                  <c:v>34257</c:v>
                </c:pt>
                <c:pt idx="1038">
                  <c:v>34260</c:v>
                </c:pt>
                <c:pt idx="1039">
                  <c:v>34261</c:v>
                </c:pt>
                <c:pt idx="1040">
                  <c:v>34262</c:v>
                </c:pt>
                <c:pt idx="1041">
                  <c:v>34263</c:v>
                </c:pt>
                <c:pt idx="1042">
                  <c:v>34264</c:v>
                </c:pt>
                <c:pt idx="1043">
                  <c:v>34267</c:v>
                </c:pt>
                <c:pt idx="1044">
                  <c:v>34268</c:v>
                </c:pt>
                <c:pt idx="1045">
                  <c:v>34269</c:v>
                </c:pt>
                <c:pt idx="1046">
                  <c:v>34270</c:v>
                </c:pt>
                <c:pt idx="1047">
                  <c:v>34271</c:v>
                </c:pt>
                <c:pt idx="1048">
                  <c:v>34274</c:v>
                </c:pt>
                <c:pt idx="1049">
                  <c:v>34275</c:v>
                </c:pt>
                <c:pt idx="1050">
                  <c:v>34276</c:v>
                </c:pt>
                <c:pt idx="1051">
                  <c:v>34277</c:v>
                </c:pt>
                <c:pt idx="1052">
                  <c:v>34278</c:v>
                </c:pt>
                <c:pt idx="1053">
                  <c:v>34281</c:v>
                </c:pt>
                <c:pt idx="1054">
                  <c:v>34282</c:v>
                </c:pt>
                <c:pt idx="1055">
                  <c:v>34283</c:v>
                </c:pt>
                <c:pt idx="1056">
                  <c:v>34284</c:v>
                </c:pt>
                <c:pt idx="1057">
                  <c:v>34285</c:v>
                </c:pt>
                <c:pt idx="1058">
                  <c:v>34288</c:v>
                </c:pt>
                <c:pt idx="1059">
                  <c:v>34289</c:v>
                </c:pt>
                <c:pt idx="1060">
                  <c:v>34290</c:v>
                </c:pt>
                <c:pt idx="1061">
                  <c:v>34291</c:v>
                </c:pt>
                <c:pt idx="1062">
                  <c:v>34292</c:v>
                </c:pt>
                <c:pt idx="1063">
                  <c:v>34295</c:v>
                </c:pt>
                <c:pt idx="1064">
                  <c:v>34296</c:v>
                </c:pt>
                <c:pt idx="1065">
                  <c:v>34297</c:v>
                </c:pt>
                <c:pt idx="1066">
                  <c:v>34299</c:v>
                </c:pt>
                <c:pt idx="1067">
                  <c:v>34302</c:v>
                </c:pt>
                <c:pt idx="1068">
                  <c:v>34303</c:v>
                </c:pt>
                <c:pt idx="1069">
                  <c:v>34304</c:v>
                </c:pt>
                <c:pt idx="1070">
                  <c:v>34305</c:v>
                </c:pt>
                <c:pt idx="1071">
                  <c:v>34306</c:v>
                </c:pt>
                <c:pt idx="1072">
                  <c:v>34309</c:v>
                </c:pt>
                <c:pt idx="1073">
                  <c:v>34310</c:v>
                </c:pt>
                <c:pt idx="1074">
                  <c:v>34311</c:v>
                </c:pt>
                <c:pt idx="1075">
                  <c:v>34312</c:v>
                </c:pt>
                <c:pt idx="1076">
                  <c:v>34313</c:v>
                </c:pt>
                <c:pt idx="1077">
                  <c:v>34316</c:v>
                </c:pt>
                <c:pt idx="1078">
                  <c:v>34317</c:v>
                </c:pt>
                <c:pt idx="1079">
                  <c:v>34318</c:v>
                </c:pt>
                <c:pt idx="1080">
                  <c:v>34319</c:v>
                </c:pt>
                <c:pt idx="1081">
                  <c:v>34320</c:v>
                </c:pt>
                <c:pt idx="1082">
                  <c:v>34323</c:v>
                </c:pt>
                <c:pt idx="1083">
                  <c:v>34324</c:v>
                </c:pt>
                <c:pt idx="1084">
                  <c:v>34325</c:v>
                </c:pt>
                <c:pt idx="1085">
                  <c:v>34326</c:v>
                </c:pt>
                <c:pt idx="1086">
                  <c:v>34330</c:v>
                </c:pt>
                <c:pt idx="1087">
                  <c:v>34331</c:v>
                </c:pt>
                <c:pt idx="1088">
                  <c:v>34332</c:v>
                </c:pt>
                <c:pt idx="1089">
                  <c:v>34333</c:v>
                </c:pt>
                <c:pt idx="1090">
                  <c:v>34334</c:v>
                </c:pt>
                <c:pt idx="1091">
                  <c:v>34337</c:v>
                </c:pt>
                <c:pt idx="1092">
                  <c:v>34338</c:v>
                </c:pt>
                <c:pt idx="1093">
                  <c:v>34339</c:v>
                </c:pt>
                <c:pt idx="1094">
                  <c:v>34340</c:v>
                </c:pt>
                <c:pt idx="1095">
                  <c:v>34341</c:v>
                </c:pt>
                <c:pt idx="1096">
                  <c:v>34344</c:v>
                </c:pt>
                <c:pt idx="1097">
                  <c:v>34345</c:v>
                </c:pt>
                <c:pt idx="1098">
                  <c:v>34346</c:v>
                </c:pt>
                <c:pt idx="1099">
                  <c:v>34347</c:v>
                </c:pt>
                <c:pt idx="1100">
                  <c:v>34348</c:v>
                </c:pt>
                <c:pt idx="1101">
                  <c:v>34351</c:v>
                </c:pt>
                <c:pt idx="1102">
                  <c:v>34352</c:v>
                </c:pt>
                <c:pt idx="1103">
                  <c:v>34353</c:v>
                </c:pt>
                <c:pt idx="1104">
                  <c:v>34354</c:v>
                </c:pt>
                <c:pt idx="1105">
                  <c:v>34355</c:v>
                </c:pt>
                <c:pt idx="1106">
                  <c:v>34358</c:v>
                </c:pt>
                <c:pt idx="1107">
                  <c:v>34359</c:v>
                </c:pt>
                <c:pt idx="1108">
                  <c:v>34360</c:v>
                </c:pt>
                <c:pt idx="1109">
                  <c:v>34361</c:v>
                </c:pt>
                <c:pt idx="1110">
                  <c:v>34362</c:v>
                </c:pt>
                <c:pt idx="1111">
                  <c:v>34365</c:v>
                </c:pt>
                <c:pt idx="1112">
                  <c:v>34366</c:v>
                </c:pt>
                <c:pt idx="1113">
                  <c:v>34367</c:v>
                </c:pt>
                <c:pt idx="1114">
                  <c:v>34368</c:v>
                </c:pt>
                <c:pt idx="1115">
                  <c:v>34369</c:v>
                </c:pt>
                <c:pt idx="1116">
                  <c:v>34372</c:v>
                </c:pt>
                <c:pt idx="1117">
                  <c:v>34373</c:v>
                </c:pt>
                <c:pt idx="1118">
                  <c:v>34374</c:v>
                </c:pt>
                <c:pt idx="1119">
                  <c:v>34375</c:v>
                </c:pt>
                <c:pt idx="1120">
                  <c:v>34376</c:v>
                </c:pt>
                <c:pt idx="1121">
                  <c:v>34379</c:v>
                </c:pt>
                <c:pt idx="1122">
                  <c:v>34380</c:v>
                </c:pt>
                <c:pt idx="1123">
                  <c:v>34381</c:v>
                </c:pt>
                <c:pt idx="1124">
                  <c:v>34382</c:v>
                </c:pt>
                <c:pt idx="1125">
                  <c:v>34383</c:v>
                </c:pt>
                <c:pt idx="1126">
                  <c:v>34387</c:v>
                </c:pt>
                <c:pt idx="1127">
                  <c:v>34388</c:v>
                </c:pt>
                <c:pt idx="1128">
                  <c:v>34389</c:v>
                </c:pt>
                <c:pt idx="1129">
                  <c:v>34390</c:v>
                </c:pt>
                <c:pt idx="1130">
                  <c:v>34393</c:v>
                </c:pt>
                <c:pt idx="1131">
                  <c:v>34394</c:v>
                </c:pt>
                <c:pt idx="1132">
                  <c:v>34395</c:v>
                </c:pt>
                <c:pt idx="1133">
                  <c:v>34396</c:v>
                </c:pt>
                <c:pt idx="1134">
                  <c:v>34397</c:v>
                </c:pt>
                <c:pt idx="1135">
                  <c:v>34400</c:v>
                </c:pt>
                <c:pt idx="1136">
                  <c:v>34401</c:v>
                </c:pt>
                <c:pt idx="1137">
                  <c:v>34402</c:v>
                </c:pt>
                <c:pt idx="1138">
                  <c:v>34403</c:v>
                </c:pt>
                <c:pt idx="1139">
                  <c:v>34404</c:v>
                </c:pt>
                <c:pt idx="1140">
                  <c:v>34407</c:v>
                </c:pt>
                <c:pt idx="1141">
                  <c:v>34408</c:v>
                </c:pt>
                <c:pt idx="1142">
                  <c:v>34409</c:v>
                </c:pt>
                <c:pt idx="1143">
                  <c:v>34410</c:v>
                </c:pt>
                <c:pt idx="1144">
                  <c:v>34411</c:v>
                </c:pt>
                <c:pt idx="1145">
                  <c:v>34414</c:v>
                </c:pt>
                <c:pt idx="1146">
                  <c:v>34415</c:v>
                </c:pt>
                <c:pt idx="1147">
                  <c:v>34416</c:v>
                </c:pt>
                <c:pt idx="1148">
                  <c:v>34417</c:v>
                </c:pt>
                <c:pt idx="1149">
                  <c:v>34418</c:v>
                </c:pt>
                <c:pt idx="1150">
                  <c:v>34421</c:v>
                </c:pt>
                <c:pt idx="1151">
                  <c:v>34422</c:v>
                </c:pt>
                <c:pt idx="1152">
                  <c:v>34423</c:v>
                </c:pt>
                <c:pt idx="1153">
                  <c:v>34424</c:v>
                </c:pt>
                <c:pt idx="1154">
                  <c:v>34428</c:v>
                </c:pt>
                <c:pt idx="1155">
                  <c:v>34429</c:v>
                </c:pt>
                <c:pt idx="1156">
                  <c:v>34430</c:v>
                </c:pt>
                <c:pt idx="1157">
                  <c:v>34431</c:v>
                </c:pt>
                <c:pt idx="1158">
                  <c:v>34432</c:v>
                </c:pt>
                <c:pt idx="1159">
                  <c:v>34435</c:v>
                </c:pt>
                <c:pt idx="1160">
                  <c:v>34436</c:v>
                </c:pt>
                <c:pt idx="1161">
                  <c:v>34437</c:v>
                </c:pt>
                <c:pt idx="1162">
                  <c:v>34438</c:v>
                </c:pt>
                <c:pt idx="1163">
                  <c:v>34439</c:v>
                </c:pt>
                <c:pt idx="1164">
                  <c:v>34442</c:v>
                </c:pt>
                <c:pt idx="1165">
                  <c:v>34443</c:v>
                </c:pt>
                <c:pt idx="1166">
                  <c:v>34444</c:v>
                </c:pt>
                <c:pt idx="1167">
                  <c:v>34445</c:v>
                </c:pt>
                <c:pt idx="1168">
                  <c:v>34446</c:v>
                </c:pt>
                <c:pt idx="1169">
                  <c:v>34449</c:v>
                </c:pt>
                <c:pt idx="1170">
                  <c:v>34450</c:v>
                </c:pt>
                <c:pt idx="1171">
                  <c:v>34452</c:v>
                </c:pt>
                <c:pt idx="1172">
                  <c:v>34453</c:v>
                </c:pt>
                <c:pt idx="1173">
                  <c:v>34456</c:v>
                </c:pt>
                <c:pt idx="1174">
                  <c:v>34457</c:v>
                </c:pt>
                <c:pt idx="1175">
                  <c:v>34458</c:v>
                </c:pt>
                <c:pt idx="1176">
                  <c:v>34459</c:v>
                </c:pt>
                <c:pt idx="1177">
                  <c:v>34460</c:v>
                </c:pt>
                <c:pt idx="1178">
                  <c:v>34463</c:v>
                </c:pt>
                <c:pt idx="1179">
                  <c:v>34464</c:v>
                </c:pt>
                <c:pt idx="1180">
                  <c:v>34465</c:v>
                </c:pt>
                <c:pt idx="1181">
                  <c:v>34466</c:v>
                </c:pt>
                <c:pt idx="1182">
                  <c:v>34467</c:v>
                </c:pt>
                <c:pt idx="1183">
                  <c:v>34470</c:v>
                </c:pt>
                <c:pt idx="1184">
                  <c:v>34471</c:v>
                </c:pt>
                <c:pt idx="1185">
                  <c:v>34472</c:v>
                </c:pt>
                <c:pt idx="1186">
                  <c:v>34473</c:v>
                </c:pt>
                <c:pt idx="1187">
                  <c:v>34474</c:v>
                </c:pt>
                <c:pt idx="1188">
                  <c:v>34477</c:v>
                </c:pt>
                <c:pt idx="1189">
                  <c:v>34478</c:v>
                </c:pt>
                <c:pt idx="1190">
                  <c:v>34479</c:v>
                </c:pt>
                <c:pt idx="1191">
                  <c:v>34480</c:v>
                </c:pt>
                <c:pt idx="1192">
                  <c:v>34481</c:v>
                </c:pt>
                <c:pt idx="1193">
                  <c:v>34485</c:v>
                </c:pt>
                <c:pt idx="1194">
                  <c:v>34486</c:v>
                </c:pt>
                <c:pt idx="1195">
                  <c:v>34487</c:v>
                </c:pt>
                <c:pt idx="1196">
                  <c:v>34488</c:v>
                </c:pt>
                <c:pt idx="1197">
                  <c:v>34491</c:v>
                </c:pt>
                <c:pt idx="1198">
                  <c:v>34492</c:v>
                </c:pt>
                <c:pt idx="1199">
                  <c:v>34493</c:v>
                </c:pt>
                <c:pt idx="1200">
                  <c:v>34494</c:v>
                </c:pt>
                <c:pt idx="1201">
                  <c:v>34495</c:v>
                </c:pt>
                <c:pt idx="1202">
                  <c:v>34498</c:v>
                </c:pt>
                <c:pt idx="1203">
                  <c:v>34499</c:v>
                </c:pt>
                <c:pt idx="1204">
                  <c:v>34500</c:v>
                </c:pt>
                <c:pt idx="1205">
                  <c:v>34501</c:v>
                </c:pt>
                <c:pt idx="1206">
                  <c:v>34502</c:v>
                </c:pt>
                <c:pt idx="1207">
                  <c:v>34505</c:v>
                </c:pt>
                <c:pt idx="1208">
                  <c:v>34506</c:v>
                </c:pt>
                <c:pt idx="1209">
                  <c:v>34507</c:v>
                </c:pt>
                <c:pt idx="1210">
                  <c:v>34508</c:v>
                </c:pt>
                <c:pt idx="1211">
                  <c:v>34509</c:v>
                </c:pt>
                <c:pt idx="1212">
                  <c:v>34512</c:v>
                </c:pt>
                <c:pt idx="1213">
                  <c:v>34513</c:v>
                </c:pt>
                <c:pt idx="1214">
                  <c:v>34514</c:v>
                </c:pt>
                <c:pt idx="1215">
                  <c:v>34515</c:v>
                </c:pt>
                <c:pt idx="1216">
                  <c:v>34516</c:v>
                </c:pt>
                <c:pt idx="1217">
                  <c:v>34520</c:v>
                </c:pt>
                <c:pt idx="1218">
                  <c:v>34521</c:v>
                </c:pt>
                <c:pt idx="1219">
                  <c:v>34522</c:v>
                </c:pt>
                <c:pt idx="1220">
                  <c:v>34523</c:v>
                </c:pt>
                <c:pt idx="1221">
                  <c:v>34526</c:v>
                </c:pt>
                <c:pt idx="1222">
                  <c:v>34527</c:v>
                </c:pt>
                <c:pt idx="1223">
                  <c:v>34528</c:v>
                </c:pt>
                <c:pt idx="1224">
                  <c:v>34529</c:v>
                </c:pt>
                <c:pt idx="1225">
                  <c:v>34530</c:v>
                </c:pt>
                <c:pt idx="1226">
                  <c:v>34533</c:v>
                </c:pt>
                <c:pt idx="1227">
                  <c:v>34534</c:v>
                </c:pt>
                <c:pt idx="1228">
                  <c:v>34535</c:v>
                </c:pt>
                <c:pt idx="1229">
                  <c:v>34536</c:v>
                </c:pt>
                <c:pt idx="1230">
                  <c:v>34537</c:v>
                </c:pt>
                <c:pt idx="1231">
                  <c:v>34540</c:v>
                </c:pt>
                <c:pt idx="1232">
                  <c:v>34541</c:v>
                </c:pt>
                <c:pt idx="1233">
                  <c:v>34542</c:v>
                </c:pt>
                <c:pt idx="1234">
                  <c:v>34543</c:v>
                </c:pt>
                <c:pt idx="1235">
                  <c:v>34544</c:v>
                </c:pt>
                <c:pt idx="1236">
                  <c:v>34547</c:v>
                </c:pt>
                <c:pt idx="1237">
                  <c:v>34548</c:v>
                </c:pt>
                <c:pt idx="1238">
                  <c:v>34549</c:v>
                </c:pt>
                <c:pt idx="1239">
                  <c:v>34550</c:v>
                </c:pt>
                <c:pt idx="1240">
                  <c:v>34551</c:v>
                </c:pt>
                <c:pt idx="1241">
                  <c:v>34554</c:v>
                </c:pt>
                <c:pt idx="1242">
                  <c:v>34555</c:v>
                </c:pt>
                <c:pt idx="1243">
                  <c:v>34556</c:v>
                </c:pt>
                <c:pt idx="1244">
                  <c:v>34557</c:v>
                </c:pt>
                <c:pt idx="1245">
                  <c:v>34558</c:v>
                </c:pt>
                <c:pt idx="1246">
                  <c:v>34561</c:v>
                </c:pt>
                <c:pt idx="1247">
                  <c:v>34562</c:v>
                </c:pt>
                <c:pt idx="1248">
                  <c:v>34563</c:v>
                </c:pt>
                <c:pt idx="1249">
                  <c:v>34564</c:v>
                </c:pt>
                <c:pt idx="1250">
                  <c:v>34565</c:v>
                </c:pt>
                <c:pt idx="1251">
                  <c:v>34568</c:v>
                </c:pt>
                <c:pt idx="1252">
                  <c:v>34569</c:v>
                </c:pt>
                <c:pt idx="1253">
                  <c:v>34570</c:v>
                </c:pt>
                <c:pt idx="1254">
                  <c:v>34571</c:v>
                </c:pt>
                <c:pt idx="1255">
                  <c:v>34572</c:v>
                </c:pt>
                <c:pt idx="1256">
                  <c:v>34575</c:v>
                </c:pt>
                <c:pt idx="1257">
                  <c:v>34576</c:v>
                </c:pt>
                <c:pt idx="1258">
                  <c:v>34577</c:v>
                </c:pt>
                <c:pt idx="1259">
                  <c:v>34578</c:v>
                </c:pt>
                <c:pt idx="1260">
                  <c:v>34579</c:v>
                </c:pt>
                <c:pt idx="1261">
                  <c:v>34583</c:v>
                </c:pt>
                <c:pt idx="1262">
                  <c:v>34584</c:v>
                </c:pt>
                <c:pt idx="1263">
                  <c:v>34585</c:v>
                </c:pt>
                <c:pt idx="1264">
                  <c:v>34586</c:v>
                </c:pt>
                <c:pt idx="1265">
                  <c:v>34589</c:v>
                </c:pt>
                <c:pt idx="1266">
                  <c:v>34590</c:v>
                </c:pt>
                <c:pt idx="1267">
                  <c:v>34591</c:v>
                </c:pt>
                <c:pt idx="1268">
                  <c:v>34592</c:v>
                </c:pt>
                <c:pt idx="1269">
                  <c:v>34593</c:v>
                </c:pt>
                <c:pt idx="1270">
                  <c:v>34596</c:v>
                </c:pt>
                <c:pt idx="1271">
                  <c:v>34597</c:v>
                </c:pt>
                <c:pt idx="1272">
                  <c:v>34598</c:v>
                </c:pt>
                <c:pt idx="1273">
                  <c:v>34599</c:v>
                </c:pt>
                <c:pt idx="1274">
                  <c:v>34600</c:v>
                </c:pt>
                <c:pt idx="1275">
                  <c:v>34603</c:v>
                </c:pt>
                <c:pt idx="1276">
                  <c:v>34604</c:v>
                </c:pt>
                <c:pt idx="1277">
                  <c:v>34605</c:v>
                </c:pt>
                <c:pt idx="1278">
                  <c:v>34606</c:v>
                </c:pt>
                <c:pt idx="1279">
                  <c:v>34607</c:v>
                </c:pt>
                <c:pt idx="1280">
                  <c:v>34610</c:v>
                </c:pt>
                <c:pt idx="1281">
                  <c:v>34611</c:v>
                </c:pt>
                <c:pt idx="1282">
                  <c:v>34612</c:v>
                </c:pt>
                <c:pt idx="1283">
                  <c:v>34613</c:v>
                </c:pt>
                <c:pt idx="1284">
                  <c:v>34614</c:v>
                </c:pt>
                <c:pt idx="1285">
                  <c:v>34617</c:v>
                </c:pt>
                <c:pt idx="1286">
                  <c:v>34618</c:v>
                </c:pt>
                <c:pt idx="1287">
                  <c:v>34619</c:v>
                </c:pt>
                <c:pt idx="1288">
                  <c:v>34620</c:v>
                </c:pt>
                <c:pt idx="1289">
                  <c:v>34621</c:v>
                </c:pt>
                <c:pt idx="1290">
                  <c:v>34624</c:v>
                </c:pt>
                <c:pt idx="1291">
                  <c:v>34625</c:v>
                </c:pt>
                <c:pt idx="1292">
                  <c:v>34626</c:v>
                </c:pt>
                <c:pt idx="1293">
                  <c:v>34627</c:v>
                </c:pt>
                <c:pt idx="1294">
                  <c:v>34628</c:v>
                </c:pt>
                <c:pt idx="1295">
                  <c:v>34631</c:v>
                </c:pt>
                <c:pt idx="1296">
                  <c:v>34632</c:v>
                </c:pt>
                <c:pt idx="1297">
                  <c:v>34633</c:v>
                </c:pt>
                <c:pt idx="1298">
                  <c:v>34634</c:v>
                </c:pt>
                <c:pt idx="1299">
                  <c:v>34635</c:v>
                </c:pt>
                <c:pt idx="1300">
                  <c:v>34638</c:v>
                </c:pt>
                <c:pt idx="1301">
                  <c:v>34639</c:v>
                </c:pt>
                <c:pt idx="1302">
                  <c:v>34640</c:v>
                </c:pt>
                <c:pt idx="1303">
                  <c:v>34641</c:v>
                </c:pt>
                <c:pt idx="1304">
                  <c:v>34642</c:v>
                </c:pt>
                <c:pt idx="1305">
                  <c:v>34645</c:v>
                </c:pt>
                <c:pt idx="1306">
                  <c:v>34646</c:v>
                </c:pt>
                <c:pt idx="1307">
                  <c:v>34647</c:v>
                </c:pt>
                <c:pt idx="1308">
                  <c:v>34648</c:v>
                </c:pt>
                <c:pt idx="1309">
                  <c:v>34649</c:v>
                </c:pt>
                <c:pt idx="1310">
                  <c:v>34652</c:v>
                </c:pt>
                <c:pt idx="1311">
                  <c:v>34653</c:v>
                </c:pt>
                <c:pt idx="1312">
                  <c:v>34654</c:v>
                </c:pt>
                <c:pt idx="1313">
                  <c:v>34655</c:v>
                </c:pt>
                <c:pt idx="1314">
                  <c:v>34656</c:v>
                </c:pt>
                <c:pt idx="1315">
                  <c:v>34659</c:v>
                </c:pt>
                <c:pt idx="1316">
                  <c:v>34660</c:v>
                </c:pt>
                <c:pt idx="1317">
                  <c:v>34661</c:v>
                </c:pt>
                <c:pt idx="1318">
                  <c:v>34663</c:v>
                </c:pt>
                <c:pt idx="1319">
                  <c:v>34666</c:v>
                </c:pt>
                <c:pt idx="1320">
                  <c:v>34667</c:v>
                </c:pt>
                <c:pt idx="1321">
                  <c:v>34668</c:v>
                </c:pt>
                <c:pt idx="1322">
                  <c:v>34669</c:v>
                </c:pt>
                <c:pt idx="1323">
                  <c:v>34670</c:v>
                </c:pt>
                <c:pt idx="1324">
                  <c:v>34673</c:v>
                </c:pt>
                <c:pt idx="1325">
                  <c:v>34674</c:v>
                </c:pt>
                <c:pt idx="1326">
                  <c:v>34675</c:v>
                </c:pt>
                <c:pt idx="1327">
                  <c:v>34676</c:v>
                </c:pt>
                <c:pt idx="1328">
                  <c:v>34677</c:v>
                </c:pt>
                <c:pt idx="1329">
                  <c:v>34680</c:v>
                </c:pt>
                <c:pt idx="1330">
                  <c:v>34681</c:v>
                </c:pt>
                <c:pt idx="1331">
                  <c:v>34682</c:v>
                </c:pt>
                <c:pt idx="1332">
                  <c:v>34683</c:v>
                </c:pt>
                <c:pt idx="1333">
                  <c:v>34684</c:v>
                </c:pt>
                <c:pt idx="1334">
                  <c:v>34687</c:v>
                </c:pt>
                <c:pt idx="1335">
                  <c:v>34688</c:v>
                </c:pt>
                <c:pt idx="1336">
                  <c:v>34689</c:v>
                </c:pt>
                <c:pt idx="1337">
                  <c:v>34690</c:v>
                </c:pt>
                <c:pt idx="1338">
                  <c:v>34691</c:v>
                </c:pt>
                <c:pt idx="1339">
                  <c:v>34695</c:v>
                </c:pt>
                <c:pt idx="1340">
                  <c:v>34696</c:v>
                </c:pt>
                <c:pt idx="1341">
                  <c:v>34697</c:v>
                </c:pt>
                <c:pt idx="1342">
                  <c:v>34698</c:v>
                </c:pt>
                <c:pt idx="1343">
                  <c:v>34702</c:v>
                </c:pt>
                <c:pt idx="1344">
                  <c:v>34703</c:v>
                </c:pt>
                <c:pt idx="1345">
                  <c:v>34704</c:v>
                </c:pt>
                <c:pt idx="1346">
                  <c:v>34705</c:v>
                </c:pt>
                <c:pt idx="1347">
                  <c:v>34708</c:v>
                </c:pt>
                <c:pt idx="1348">
                  <c:v>34709</c:v>
                </c:pt>
                <c:pt idx="1349">
                  <c:v>34710</c:v>
                </c:pt>
                <c:pt idx="1350">
                  <c:v>34711</c:v>
                </c:pt>
                <c:pt idx="1351">
                  <c:v>34712</c:v>
                </c:pt>
                <c:pt idx="1352">
                  <c:v>34715</c:v>
                </c:pt>
                <c:pt idx="1353">
                  <c:v>34716</c:v>
                </c:pt>
                <c:pt idx="1354">
                  <c:v>34717</c:v>
                </c:pt>
                <c:pt idx="1355">
                  <c:v>34718</c:v>
                </c:pt>
                <c:pt idx="1356">
                  <c:v>34719</c:v>
                </c:pt>
                <c:pt idx="1357">
                  <c:v>34722</c:v>
                </c:pt>
                <c:pt idx="1358">
                  <c:v>34723</c:v>
                </c:pt>
                <c:pt idx="1359">
                  <c:v>34724</c:v>
                </c:pt>
                <c:pt idx="1360">
                  <c:v>34725</c:v>
                </c:pt>
                <c:pt idx="1361">
                  <c:v>34726</c:v>
                </c:pt>
                <c:pt idx="1362">
                  <c:v>34729</c:v>
                </c:pt>
                <c:pt idx="1363">
                  <c:v>34730</c:v>
                </c:pt>
                <c:pt idx="1364">
                  <c:v>34731</c:v>
                </c:pt>
                <c:pt idx="1365">
                  <c:v>34732</c:v>
                </c:pt>
                <c:pt idx="1366">
                  <c:v>34733</c:v>
                </c:pt>
                <c:pt idx="1367">
                  <c:v>34736</c:v>
                </c:pt>
                <c:pt idx="1368">
                  <c:v>34737</c:v>
                </c:pt>
                <c:pt idx="1369">
                  <c:v>34738</c:v>
                </c:pt>
                <c:pt idx="1370">
                  <c:v>34739</c:v>
                </c:pt>
                <c:pt idx="1371">
                  <c:v>34740</c:v>
                </c:pt>
                <c:pt idx="1372">
                  <c:v>34743</c:v>
                </c:pt>
                <c:pt idx="1373">
                  <c:v>34744</c:v>
                </c:pt>
                <c:pt idx="1374">
                  <c:v>34745</c:v>
                </c:pt>
                <c:pt idx="1375">
                  <c:v>34746</c:v>
                </c:pt>
                <c:pt idx="1376">
                  <c:v>34747</c:v>
                </c:pt>
                <c:pt idx="1377">
                  <c:v>34751</c:v>
                </c:pt>
                <c:pt idx="1378">
                  <c:v>34752</c:v>
                </c:pt>
                <c:pt idx="1379">
                  <c:v>34753</c:v>
                </c:pt>
                <c:pt idx="1380">
                  <c:v>34754</c:v>
                </c:pt>
                <c:pt idx="1381">
                  <c:v>34757</c:v>
                </c:pt>
                <c:pt idx="1382">
                  <c:v>34758</c:v>
                </c:pt>
                <c:pt idx="1383">
                  <c:v>34759</c:v>
                </c:pt>
                <c:pt idx="1384">
                  <c:v>34760</c:v>
                </c:pt>
                <c:pt idx="1385">
                  <c:v>34761</c:v>
                </c:pt>
                <c:pt idx="1386">
                  <c:v>34764</c:v>
                </c:pt>
                <c:pt idx="1387">
                  <c:v>34765</c:v>
                </c:pt>
                <c:pt idx="1388">
                  <c:v>34766</c:v>
                </c:pt>
                <c:pt idx="1389">
                  <c:v>34767</c:v>
                </c:pt>
                <c:pt idx="1390">
                  <c:v>34768</c:v>
                </c:pt>
                <c:pt idx="1391">
                  <c:v>34771</c:v>
                </c:pt>
                <c:pt idx="1392">
                  <c:v>34772</c:v>
                </c:pt>
                <c:pt idx="1393">
                  <c:v>34773</c:v>
                </c:pt>
                <c:pt idx="1394">
                  <c:v>34774</c:v>
                </c:pt>
                <c:pt idx="1395">
                  <c:v>34775</c:v>
                </c:pt>
                <c:pt idx="1396">
                  <c:v>34778</c:v>
                </c:pt>
                <c:pt idx="1397">
                  <c:v>34779</c:v>
                </c:pt>
                <c:pt idx="1398">
                  <c:v>34780</c:v>
                </c:pt>
                <c:pt idx="1399">
                  <c:v>34781</c:v>
                </c:pt>
                <c:pt idx="1400">
                  <c:v>34782</c:v>
                </c:pt>
                <c:pt idx="1401">
                  <c:v>34785</c:v>
                </c:pt>
                <c:pt idx="1402">
                  <c:v>34786</c:v>
                </c:pt>
                <c:pt idx="1403">
                  <c:v>34787</c:v>
                </c:pt>
                <c:pt idx="1404">
                  <c:v>34788</c:v>
                </c:pt>
                <c:pt idx="1405">
                  <c:v>34789</c:v>
                </c:pt>
                <c:pt idx="1406">
                  <c:v>34792</c:v>
                </c:pt>
                <c:pt idx="1407">
                  <c:v>34793</c:v>
                </c:pt>
                <c:pt idx="1408">
                  <c:v>34794</c:v>
                </c:pt>
                <c:pt idx="1409">
                  <c:v>34795</c:v>
                </c:pt>
                <c:pt idx="1410">
                  <c:v>34796</c:v>
                </c:pt>
                <c:pt idx="1411">
                  <c:v>34799</c:v>
                </c:pt>
                <c:pt idx="1412">
                  <c:v>34800</c:v>
                </c:pt>
                <c:pt idx="1413">
                  <c:v>34801</c:v>
                </c:pt>
                <c:pt idx="1414">
                  <c:v>34802</c:v>
                </c:pt>
                <c:pt idx="1415">
                  <c:v>34806</c:v>
                </c:pt>
                <c:pt idx="1416">
                  <c:v>34807</c:v>
                </c:pt>
                <c:pt idx="1417">
                  <c:v>34808</c:v>
                </c:pt>
                <c:pt idx="1418">
                  <c:v>34809</c:v>
                </c:pt>
                <c:pt idx="1419">
                  <c:v>34810</c:v>
                </c:pt>
                <c:pt idx="1420">
                  <c:v>34813</c:v>
                </c:pt>
                <c:pt idx="1421">
                  <c:v>34814</c:v>
                </c:pt>
                <c:pt idx="1422">
                  <c:v>34815</c:v>
                </c:pt>
                <c:pt idx="1423">
                  <c:v>34816</c:v>
                </c:pt>
                <c:pt idx="1424">
                  <c:v>34817</c:v>
                </c:pt>
                <c:pt idx="1425">
                  <c:v>34820</c:v>
                </c:pt>
                <c:pt idx="1426">
                  <c:v>34821</c:v>
                </c:pt>
                <c:pt idx="1427">
                  <c:v>34822</c:v>
                </c:pt>
                <c:pt idx="1428">
                  <c:v>34823</c:v>
                </c:pt>
                <c:pt idx="1429">
                  <c:v>34824</c:v>
                </c:pt>
                <c:pt idx="1430">
                  <c:v>34827</c:v>
                </c:pt>
                <c:pt idx="1431">
                  <c:v>34828</c:v>
                </c:pt>
                <c:pt idx="1432">
                  <c:v>34829</c:v>
                </c:pt>
                <c:pt idx="1433">
                  <c:v>34830</c:v>
                </c:pt>
                <c:pt idx="1434">
                  <c:v>34831</c:v>
                </c:pt>
                <c:pt idx="1435">
                  <c:v>34834</c:v>
                </c:pt>
                <c:pt idx="1436">
                  <c:v>34835</c:v>
                </c:pt>
                <c:pt idx="1437">
                  <c:v>34836</c:v>
                </c:pt>
                <c:pt idx="1438">
                  <c:v>34837</c:v>
                </c:pt>
                <c:pt idx="1439">
                  <c:v>34838</c:v>
                </c:pt>
                <c:pt idx="1440">
                  <c:v>34841</c:v>
                </c:pt>
                <c:pt idx="1441">
                  <c:v>34842</c:v>
                </c:pt>
                <c:pt idx="1442">
                  <c:v>34843</c:v>
                </c:pt>
                <c:pt idx="1443">
                  <c:v>34844</c:v>
                </c:pt>
                <c:pt idx="1444">
                  <c:v>34845</c:v>
                </c:pt>
                <c:pt idx="1445">
                  <c:v>34849</c:v>
                </c:pt>
                <c:pt idx="1446">
                  <c:v>34850</c:v>
                </c:pt>
                <c:pt idx="1447">
                  <c:v>34851</c:v>
                </c:pt>
                <c:pt idx="1448">
                  <c:v>34852</c:v>
                </c:pt>
                <c:pt idx="1449">
                  <c:v>34855</c:v>
                </c:pt>
                <c:pt idx="1450">
                  <c:v>34856</c:v>
                </c:pt>
                <c:pt idx="1451">
                  <c:v>34857</c:v>
                </c:pt>
                <c:pt idx="1452">
                  <c:v>34858</c:v>
                </c:pt>
                <c:pt idx="1453">
                  <c:v>34859</c:v>
                </c:pt>
                <c:pt idx="1454">
                  <c:v>34862</c:v>
                </c:pt>
                <c:pt idx="1455">
                  <c:v>34863</c:v>
                </c:pt>
                <c:pt idx="1456">
                  <c:v>34864</c:v>
                </c:pt>
                <c:pt idx="1457">
                  <c:v>34865</c:v>
                </c:pt>
                <c:pt idx="1458">
                  <c:v>34866</c:v>
                </c:pt>
                <c:pt idx="1459">
                  <c:v>34869</c:v>
                </c:pt>
                <c:pt idx="1460">
                  <c:v>34870</c:v>
                </c:pt>
                <c:pt idx="1461">
                  <c:v>34871</c:v>
                </c:pt>
                <c:pt idx="1462">
                  <c:v>34872</c:v>
                </c:pt>
                <c:pt idx="1463">
                  <c:v>34873</c:v>
                </c:pt>
                <c:pt idx="1464">
                  <c:v>34876</c:v>
                </c:pt>
                <c:pt idx="1465">
                  <c:v>34877</c:v>
                </c:pt>
                <c:pt idx="1466">
                  <c:v>34878</c:v>
                </c:pt>
                <c:pt idx="1467">
                  <c:v>34879</c:v>
                </c:pt>
                <c:pt idx="1468">
                  <c:v>34880</c:v>
                </c:pt>
                <c:pt idx="1469">
                  <c:v>34883</c:v>
                </c:pt>
                <c:pt idx="1470">
                  <c:v>34885</c:v>
                </c:pt>
                <c:pt idx="1471">
                  <c:v>34886</c:v>
                </c:pt>
                <c:pt idx="1472">
                  <c:v>34887</c:v>
                </c:pt>
                <c:pt idx="1473">
                  <c:v>34890</c:v>
                </c:pt>
                <c:pt idx="1474">
                  <c:v>34891</c:v>
                </c:pt>
                <c:pt idx="1475">
                  <c:v>34892</c:v>
                </c:pt>
                <c:pt idx="1476">
                  <c:v>34893</c:v>
                </c:pt>
                <c:pt idx="1477">
                  <c:v>34894</c:v>
                </c:pt>
                <c:pt idx="1478">
                  <c:v>34897</c:v>
                </c:pt>
                <c:pt idx="1479">
                  <c:v>34898</c:v>
                </c:pt>
                <c:pt idx="1480">
                  <c:v>34899</c:v>
                </c:pt>
                <c:pt idx="1481">
                  <c:v>34900</c:v>
                </c:pt>
                <c:pt idx="1482">
                  <c:v>34901</c:v>
                </c:pt>
                <c:pt idx="1483">
                  <c:v>34904</c:v>
                </c:pt>
                <c:pt idx="1484">
                  <c:v>34905</c:v>
                </c:pt>
                <c:pt idx="1485">
                  <c:v>34906</c:v>
                </c:pt>
                <c:pt idx="1486">
                  <c:v>34907</c:v>
                </c:pt>
                <c:pt idx="1487">
                  <c:v>34908</c:v>
                </c:pt>
                <c:pt idx="1488">
                  <c:v>34911</c:v>
                </c:pt>
                <c:pt idx="1489">
                  <c:v>34912</c:v>
                </c:pt>
                <c:pt idx="1490">
                  <c:v>34913</c:v>
                </c:pt>
                <c:pt idx="1491">
                  <c:v>34914</c:v>
                </c:pt>
                <c:pt idx="1492">
                  <c:v>34915</c:v>
                </c:pt>
                <c:pt idx="1493">
                  <c:v>34918</c:v>
                </c:pt>
                <c:pt idx="1494">
                  <c:v>34919</c:v>
                </c:pt>
                <c:pt idx="1495">
                  <c:v>34920</c:v>
                </c:pt>
                <c:pt idx="1496">
                  <c:v>34921</c:v>
                </c:pt>
                <c:pt idx="1497">
                  <c:v>34922</c:v>
                </c:pt>
                <c:pt idx="1498">
                  <c:v>34925</c:v>
                </c:pt>
                <c:pt idx="1499">
                  <c:v>34926</c:v>
                </c:pt>
                <c:pt idx="1500">
                  <c:v>34927</c:v>
                </c:pt>
                <c:pt idx="1501">
                  <c:v>34928</c:v>
                </c:pt>
                <c:pt idx="1502">
                  <c:v>34929</c:v>
                </c:pt>
                <c:pt idx="1503">
                  <c:v>34932</c:v>
                </c:pt>
                <c:pt idx="1504">
                  <c:v>34933</c:v>
                </c:pt>
                <c:pt idx="1505">
                  <c:v>34934</c:v>
                </c:pt>
                <c:pt idx="1506">
                  <c:v>34935</c:v>
                </c:pt>
                <c:pt idx="1507">
                  <c:v>34936</c:v>
                </c:pt>
                <c:pt idx="1508">
                  <c:v>34939</c:v>
                </c:pt>
                <c:pt idx="1509">
                  <c:v>34940</c:v>
                </c:pt>
                <c:pt idx="1510">
                  <c:v>34941</c:v>
                </c:pt>
                <c:pt idx="1511">
                  <c:v>34942</c:v>
                </c:pt>
                <c:pt idx="1512">
                  <c:v>34943</c:v>
                </c:pt>
                <c:pt idx="1513">
                  <c:v>34947</c:v>
                </c:pt>
                <c:pt idx="1514">
                  <c:v>34948</c:v>
                </c:pt>
                <c:pt idx="1515">
                  <c:v>34949</c:v>
                </c:pt>
                <c:pt idx="1516">
                  <c:v>34950</c:v>
                </c:pt>
                <c:pt idx="1517">
                  <c:v>34953</c:v>
                </c:pt>
                <c:pt idx="1518">
                  <c:v>34954</c:v>
                </c:pt>
                <c:pt idx="1519">
                  <c:v>34955</c:v>
                </c:pt>
                <c:pt idx="1520">
                  <c:v>34956</c:v>
                </c:pt>
                <c:pt idx="1521">
                  <c:v>34957</c:v>
                </c:pt>
                <c:pt idx="1522">
                  <c:v>34960</c:v>
                </c:pt>
                <c:pt idx="1523">
                  <c:v>34961</c:v>
                </c:pt>
                <c:pt idx="1524">
                  <c:v>34962</c:v>
                </c:pt>
                <c:pt idx="1525">
                  <c:v>34963</c:v>
                </c:pt>
                <c:pt idx="1526">
                  <c:v>34964</c:v>
                </c:pt>
                <c:pt idx="1527">
                  <c:v>34967</c:v>
                </c:pt>
                <c:pt idx="1528">
                  <c:v>34968</c:v>
                </c:pt>
                <c:pt idx="1529">
                  <c:v>34969</c:v>
                </c:pt>
                <c:pt idx="1530">
                  <c:v>34970</c:v>
                </c:pt>
                <c:pt idx="1531">
                  <c:v>34971</c:v>
                </c:pt>
                <c:pt idx="1532">
                  <c:v>34974</c:v>
                </c:pt>
                <c:pt idx="1533">
                  <c:v>34975</c:v>
                </c:pt>
                <c:pt idx="1534">
                  <c:v>34976</c:v>
                </c:pt>
                <c:pt idx="1535">
                  <c:v>34977</c:v>
                </c:pt>
                <c:pt idx="1536">
                  <c:v>34978</c:v>
                </c:pt>
                <c:pt idx="1537">
                  <c:v>34981</c:v>
                </c:pt>
                <c:pt idx="1538">
                  <c:v>34982</c:v>
                </c:pt>
                <c:pt idx="1539">
                  <c:v>34983</c:v>
                </c:pt>
                <c:pt idx="1540">
                  <c:v>34984</c:v>
                </c:pt>
                <c:pt idx="1541">
                  <c:v>34985</c:v>
                </c:pt>
                <c:pt idx="1542">
                  <c:v>34988</c:v>
                </c:pt>
                <c:pt idx="1543">
                  <c:v>34989</c:v>
                </c:pt>
                <c:pt idx="1544">
                  <c:v>34990</c:v>
                </c:pt>
                <c:pt idx="1545">
                  <c:v>34991</c:v>
                </c:pt>
                <c:pt idx="1546">
                  <c:v>34992</c:v>
                </c:pt>
                <c:pt idx="1547">
                  <c:v>34995</c:v>
                </c:pt>
                <c:pt idx="1548">
                  <c:v>34996</c:v>
                </c:pt>
                <c:pt idx="1549">
                  <c:v>34997</c:v>
                </c:pt>
                <c:pt idx="1550">
                  <c:v>34998</c:v>
                </c:pt>
                <c:pt idx="1551">
                  <c:v>34999</c:v>
                </c:pt>
                <c:pt idx="1552">
                  <c:v>35002</c:v>
                </c:pt>
                <c:pt idx="1553">
                  <c:v>35003</c:v>
                </c:pt>
                <c:pt idx="1554">
                  <c:v>35004</c:v>
                </c:pt>
                <c:pt idx="1555">
                  <c:v>35005</c:v>
                </c:pt>
                <c:pt idx="1556">
                  <c:v>35006</c:v>
                </c:pt>
                <c:pt idx="1557">
                  <c:v>35009</c:v>
                </c:pt>
                <c:pt idx="1558">
                  <c:v>35010</c:v>
                </c:pt>
                <c:pt idx="1559">
                  <c:v>35011</c:v>
                </c:pt>
                <c:pt idx="1560">
                  <c:v>35012</c:v>
                </c:pt>
                <c:pt idx="1561">
                  <c:v>35013</c:v>
                </c:pt>
                <c:pt idx="1562">
                  <c:v>35016</c:v>
                </c:pt>
                <c:pt idx="1563">
                  <c:v>35017</c:v>
                </c:pt>
                <c:pt idx="1564">
                  <c:v>35018</c:v>
                </c:pt>
                <c:pt idx="1565">
                  <c:v>35019</c:v>
                </c:pt>
                <c:pt idx="1566">
                  <c:v>35020</c:v>
                </c:pt>
                <c:pt idx="1567">
                  <c:v>35023</c:v>
                </c:pt>
                <c:pt idx="1568">
                  <c:v>35024</c:v>
                </c:pt>
                <c:pt idx="1569">
                  <c:v>35025</c:v>
                </c:pt>
                <c:pt idx="1570">
                  <c:v>35027</c:v>
                </c:pt>
                <c:pt idx="1571">
                  <c:v>35030</c:v>
                </c:pt>
                <c:pt idx="1572">
                  <c:v>35031</c:v>
                </c:pt>
                <c:pt idx="1573">
                  <c:v>35032</c:v>
                </c:pt>
                <c:pt idx="1574">
                  <c:v>35033</c:v>
                </c:pt>
                <c:pt idx="1575">
                  <c:v>35034</c:v>
                </c:pt>
                <c:pt idx="1576">
                  <c:v>35037</c:v>
                </c:pt>
                <c:pt idx="1577">
                  <c:v>35038</c:v>
                </c:pt>
                <c:pt idx="1578">
                  <c:v>35039</c:v>
                </c:pt>
                <c:pt idx="1579">
                  <c:v>35040</c:v>
                </c:pt>
                <c:pt idx="1580">
                  <c:v>35041</c:v>
                </c:pt>
                <c:pt idx="1581">
                  <c:v>35044</c:v>
                </c:pt>
                <c:pt idx="1582">
                  <c:v>35045</c:v>
                </c:pt>
                <c:pt idx="1583">
                  <c:v>35046</c:v>
                </c:pt>
                <c:pt idx="1584">
                  <c:v>35047</c:v>
                </c:pt>
                <c:pt idx="1585">
                  <c:v>35048</c:v>
                </c:pt>
                <c:pt idx="1586">
                  <c:v>35051</c:v>
                </c:pt>
                <c:pt idx="1587">
                  <c:v>35052</c:v>
                </c:pt>
                <c:pt idx="1588">
                  <c:v>35053</c:v>
                </c:pt>
                <c:pt idx="1589">
                  <c:v>35054</c:v>
                </c:pt>
                <c:pt idx="1590">
                  <c:v>35055</c:v>
                </c:pt>
                <c:pt idx="1591">
                  <c:v>35059</c:v>
                </c:pt>
                <c:pt idx="1592">
                  <c:v>35060</c:v>
                </c:pt>
                <c:pt idx="1593">
                  <c:v>35061</c:v>
                </c:pt>
                <c:pt idx="1594">
                  <c:v>35062</c:v>
                </c:pt>
                <c:pt idx="1595">
                  <c:v>35066</c:v>
                </c:pt>
                <c:pt idx="1596">
                  <c:v>35067</c:v>
                </c:pt>
                <c:pt idx="1597">
                  <c:v>35068</c:v>
                </c:pt>
                <c:pt idx="1598">
                  <c:v>35069</c:v>
                </c:pt>
                <c:pt idx="1599">
                  <c:v>35072</c:v>
                </c:pt>
                <c:pt idx="1600">
                  <c:v>35073</c:v>
                </c:pt>
                <c:pt idx="1601">
                  <c:v>35074</c:v>
                </c:pt>
                <c:pt idx="1602">
                  <c:v>35075</c:v>
                </c:pt>
                <c:pt idx="1603">
                  <c:v>35076</c:v>
                </c:pt>
                <c:pt idx="1604">
                  <c:v>35079</c:v>
                </c:pt>
                <c:pt idx="1605">
                  <c:v>35080</c:v>
                </c:pt>
                <c:pt idx="1606">
                  <c:v>35081</c:v>
                </c:pt>
                <c:pt idx="1607">
                  <c:v>35082</c:v>
                </c:pt>
                <c:pt idx="1608">
                  <c:v>35083</c:v>
                </c:pt>
                <c:pt idx="1609">
                  <c:v>35086</c:v>
                </c:pt>
                <c:pt idx="1610">
                  <c:v>35087</c:v>
                </c:pt>
                <c:pt idx="1611">
                  <c:v>35088</c:v>
                </c:pt>
                <c:pt idx="1612">
                  <c:v>35089</c:v>
                </c:pt>
                <c:pt idx="1613">
                  <c:v>35090</c:v>
                </c:pt>
                <c:pt idx="1614">
                  <c:v>35093</c:v>
                </c:pt>
                <c:pt idx="1615">
                  <c:v>35094</c:v>
                </c:pt>
                <c:pt idx="1616">
                  <c:v>35095</c:v>
                </c:pt>
                <c:pt idx="1617">
                  <c:v>35096</c:v>
                </c:pt>
                <c:pt idx="1618">
                  <c:v>35097</c:v>
                </c:pt>
                <c:pt idx="1619">
                  <c:v>35100</c:v>
                </c:pt>
                <c:pt idx="1620">
                  <c:v>35101</c:v>
                </c:pt>
                <c:pt idx="1621">
                  <c:v>35102</c:v>
                </c:pt>
                <c:pt idx="1622">
                  <c:v>35103</c:v>
                </c:pt>
                <c:pt idx="1623">
                  <c:v>35104</c:v>
                </c:pt>
                <c:pt idx="1624">
                  <c:v>35107</c:v>
                </c:pt>
                <c:pt idx="1625">
                  <c:v>35108</c:v>
                </c:pt>
                <c:pt idx="1626">
                  <c:v>35109</c:v>
                </c:pt>
                <c:pt idx="1627">
                  <c:v>35110</c:v>
                </c:pt>
                <c:pt idx="1628">
                  <c:v>35111</c:v>
                </c:pt>
                <c:pt idx="1629">
                  <c:v>35115</c:v>
                </c:pt>
                <c:pt idx="1630">
                  <c:v>35116</c:v>
                </c:pt>
                <c:pt idx="1631">
                  <c:v>35117</c:v>
                </c:pt>
                <c:pt idx="1632">
                  <c:v>35118</c:v>
                </c:pt>
                <c:pt idx="1633">
                  <c:v>35121</c:v>
                </c:pt>
                <c:pt idx="1634">
                  <c:v>35122</c:v>
                </c:pt>
                <c:pt idx="1635">
                  <c:v>35123</c:v>
                </c:pt>
                <c:pt idx="1636">
                  <c:v>35124</c:v>
                </c:pt>
                <c:pt idx="1637">
                  <c:v>35125</c:v>
                </c:pt>
                <c:pt idx="1638">
                  <c:v>35128</c:v>
                </c:pt>
                <c:pt idx="1639">
                  <c:v>35129</c:v>
                </c:pt>
                <c:pt idx="1640">
                  <c:v>35130</c:v>
                </c:pt>
                <c:pt idx="1641">
                  <c:v>35131</c:v>
                </c:pt>
                <c:pt idx="1642">
                  <c:v>35132</c:v>
                </c:pt>
                <c:pt idx="1643">
                  <c:v>35135</c:v>
                </c:pt>
                <c:pt idx="1644">
                  <c:v>35136</c:v>
                </c:pt>
                <c:pt idx="1645">
                  <c:v>35137</c:v>
                </c:pt>
                <c:pt idx="1646">
                  <c:v>35138</c:v>
                </c:pt>
                <c:pt idx="1647">
                  <c:v>35139</c:v>
                </c:pt>
                <c:pt idx="1648">
                  <c:v>35142</c:v>
                </c:pt>
                <c:pt idx="1649">
                  <c:v>35143</c:v>
                </c:pt>
                <c:pt idx="1650">
                  <c:v>35144</c:v>
                </c:pt>
                <c:pt idx="1651">
                  <c:v>35145</c:v>
                </c:pt>
                <c:pt idx="1652">
                  <c:v>35146</c:v>
                </c:pt>
                <c:pt idx="1653">
                  <c:v>35149</c:v>
                </c:pt>
                <c:pt idx="1654">
                  <c:v>35150</c:v>
                </c:pt>
                <c:pt idx="1655">
                  <c:v>35151</c:v>
                </c:pt>
                <c:pt idx="1656">
                  <c:v>35152</c:v>
                </c:pt>
                <c:pt idx="1657">
                  <c:v>35153</c:v>
                </c:pt>
                <c:pt idx="1658">
                  <c:v>35156</c:v>
                </c:pt>
                <c:pt idx="1659">
                  <c:v>35157</c:v>
                </c:pt>
                <c:pt idx="1660">
                  <c:v>35158</c:v>
                </c:pt>
                <c:pt idx="1661">
                  <c:v>35159</c:v>
                </c:pt>
                <c:pt idx="1662">
                  <c:v>35163</c:v>
                </c:pt>
                <c:pt idx="1663">
                  <c:v>35164</c:v>
                </c:pt>
                <c:pt idx="1664">
                  <c:v>35165</c:v>
                </c:pt>
                <c:pt idx="1665">
                  <c:v>35166</c:v>
                </c:pt>
                <c:pt idx="1666">
                  <c:v>35167</c:v>
                </c:pt>
                <c:pt idx="1667">
                  <c:v>35170</c:v>
                </c:pt>
                <c:pt idx="1668">
                  <c:v>35171</c:v>
                </c:pt>
                <c:pt idx="1669">
                  <c:v>35172</c:v>
                </c:pt>
                <c:pt idx="1670">
                  <c:v>35173</c:v>
                </c:pt>
                <c:pt idx="1671">
                  <c:v>35174</c:v>
                </c:pt>
                <c:pt idx="1672">
                  <c:v>35177</c:v>
                </c:pt>
                <c:pt idx="1673">
                  <c:v>35178</c:v>
                </c:pt>
                <c:pt idx="1674">
                  <c:v>35179</c:v>
                </c:pt>
                <c:pt idx="1675">
                  <c:v>35180</c:v>
                </c:pt>
                <c:pt idx="1676">
                  <c:v>35181</c:v>
                </c:pt>
                <c:pt idx="1677">
                  <c:v>35184</c:v>
                </c:pt>
                <c:pt idx="1678">
                  <c:v>35185</c:v>
                </c:pt>
                <c:pt idx="1679">
                  <c:v>35186</c:v>
                </c:pt>
                <c:pt idx="1680">
                  <c:v>35187</c:v>
                </c:pt>
                <c:pt idx="1681">
                  <c:v>35188</c:v>
                </c:pt>
                <c:pt idx="1682">
                  <c:v>35191</c:v>
                </c:pt>
                <c:pt idx="1683">
                  <c:v>35192</c:v>
                </c:pt>
                <c:pt idx="1684">
                  <c:v>35193</c:v>
                </c:pt>
                <c:pt idx="1685">
                  <c:v>35194</c:v>
                </c:pt>
                <c:pt idx="1686">
                  <c:v>35195</c:v>
                </c:pt>
                <c:pt idx="1687">
                  <c:v>35198</c:v>
                </c:pt>
                <c:pt idx="1688">
                  <c:v>35199</c:v>
                </c:pt>
                <c:pt idx="1689">
                  <c:v>35200</c:v>
                </c:pt>
                <c:pt idx="1690">
                  <c:v>35201</c:v>
                </c:pt>
                <c:pt idx="1691">
                  <c:v>35202</c:v>
                </c:pt>
                <c:pt idx="1692">
                  <c:v>35205</c:v>
                </c:pt>
                <c:pt idx="1693">
                  <c:v>35206</c:v>
                </c:pt>
                <c:pt idx="1694">
                  <c:v>35207</c:v>
                </c:pt>
                <c:pt idx="1695">
                  <c:v>35208</c:v>
                </c:pt>
                <c:pt idx="1696">
                  <c:v>35209</c:v>
                </c:pt>
                <c:pt idx="1697">
                  <c:v>35213</c:v>
                </c:pt>
                <c:pt idx="1698">
                  <c:v>35214</c:v>
                </c:pt>
                <c:pt idx="1699">
                  <c:v>35215</c:v>
                </c:pt>
                <c:pt idx="1700">
                  <c:v>35216</c:v>
                </c:pt>
                <c:pt idx="1701">
                  <c:v>35219</c:v>
                </c:pt>
                <c:pt idx="1702">
                  <c:v>35220</c:v>
                </c:pt>
                <c:pt idx="1703">
                  <c:v>35221</c:v>
                </c:pt>
                <c:pt idx="1704">
                  <c:v>35222</c:v>
                </c:pt>
                <c:pt idx="1705">
                  <c:v>35223</c:v>
                </c:pt>
                <c:pt idx="1706">
                  <c:v>35226</c:v>
                </c:pt>
                <c:pt idx="1707">
                  <c:v>35227</c:v>
                </c:pt>
                <c:pt idx="1708">
                  <c:v>35228</c:v>
                </c:pt>
                <c:pt idx="1709">
                  <c:v>35229</c:v>
                </c:pt>
                <c:pt idx="1710">
                  <c:v>35230</c:v>
                </c:pt>
                <c:pt idx="1711">
                  <c:v>35233</c:v>
                </c:pt>
                <c:pt idx="1712">
                  <c:v>35234</c:v>
                </c:pt>
                <c:pt idx="1713">
                  <c:v>35235</c:v>
                </c:pt>
                <c:pt idx="1714">
                  <c:v>35236</c:v>
                </c:pt>
                <c:pt idx="1715">
                  <c:v>35237</c:v>
                </c:pt>
                <c:pt idx="1716">
                  <c:v>35240</c:v>
                </c:pt>
                <c:pt idx="1717">
                  <c:v>35241</c:v>
                </c:pt>
                <c:pt idx="1718">
                  <c:v>35242</c:v>
                </c:pt>
                <c:pt idx="1719">
                  <c:v>35243</c:v>
                </c:pt>
                <c:pt idx="1720">
                  <c:v>35244</c:v>
                </c:pt>
                <c:pt idx="1721">
                  <c:v>35247</c:v>
                </c:pt>
                <c:pt idx="1722">
                  <c:v>35248</c:v>
                </c:pt>
                <c:pt idx="1723">
                  <c:v>35249</c:v>
                </c:pt>
                <c:pt idx="1724">
                  <c:v>35251</c:v>
                </c:pt>
                <c:pt idx="1725">
                  <c:v>35254</c:v>
                </c:pt>
                <c:pt idx="1726">
                  <c:v>35255</c:v>
                </c:pt>
                <c:pt idx="1727">
                  <c:v>35256</c:v>
                </c:pt>
                <c:pt idx="1728">
                  <c:v>35257</c:v>
                </c:pt>
                <c:pt idx="1729">
                  <c:v>35258</c:v>
                </c:pt>
                <c:pt idx="1730">
                  <c:v>35261</c:v>
                </c:pt>
                <c:pt idx="1731">
                  <c:v>35262</c:v>
                </c:pt>
                <c:pt idx="1732">
                  <c:v>35263</c:v>
                </c:pt>
                <c:pt idx="1733">
                  <c:v>35264</c:v>
                </c:pt>
                <c:pt idx="1734">
                  <c:v>35265</c:v>
                </c:pt>
                <c:pt idx="1735">
                  <c:v>35268</c:v>
                </c:pt>
                <c:pt idx="1736">
                  <c:v>35269</c:v>
                </c:pt>
                <c:pt idx="1737">
                  <c:v>35270</c:v>
                </c:pt>
                <c:pt idx="1738">
                  <c:v>35271</c:v>
                </c:pt>
                <c:pt idx="1739">
                  <c:v>35272</c:v>
                </c:pt>
                <c:pt idx="1740">
                  <c:v>35275</c:v>
                </c:pt>
                <c:pt idx="1741">
                  <c:v>35276</c:v>
                </c:pt>
                <c:pt idx="1742">
                  <c:v>35277</c:v>
                </c:pt>
                <c:pt idx="1743">
                  <c:v>35278</c:v>
                </c:pt>
                <c:pt idx="1744">
                  <c:v>35279</c:v>
                </c:pt>
                <c:pt idx="1745">
                  <c:v>35282</c:v>
                </c:pt>
                <c:pt idx="1746">
                  <c:v>35283</c:v>
                </c:pt>
                <c:pt idx="1747">
                  <c:v>35284</c:v>
                </c:pt>
                <c:pt idx="1748">
                  <c:v>35285</c:v>
                </c:pt>
                <c:pt idx="1749">
                  <c:v>35286</c:v>
                </c:pt>
                <c:pt idx="1750">
                  <c:v>35289</c:v>
                </c:pt>
                <c:pt idx="1751">
                  <c:v>35290</c:v>
                </c:pt>
                <c:pt idx="1752">
                  <c:v>35291</c:v>
                </c:pt>
                <c:pt idx="1753">
                  <c:v>35292</c:v>
                </c:pt>
                <c:pt idx="1754">
                  <c:v>35293</c:v>
                </c:pt>
                <c:pt idx="1755">
                  <c:v>35296</c:v>
                </c:pt>
                <c:pt idx="1756">
                  <c:v>35297</c:v>
                </c:pt>
                <c:pt idx="1757">
                  <c:v>35298</c:v>
                </c:pt>
                <c:pt idx="1758">
                  <c:v>35299</c:v>
                </c:pt>
                <c:pt idx="1759">
                  <c:v>35300</c:v>
                </c:pt>
                <c:pt idx="1760">
                  <c:v>35303</c:v>
                </c:pt>
                <c:pt idx="1761">
                  <c:v>35304</c:v>
                </c:pt>
                <c:pt idx="1762">
                  <c:v>35305</c:v>
                </c:pt>
                <c:pt idx="1763">
                  <c:v>35306</c:v>
                </c:pt>
                <c:pt idx="1764">
                  <c:v>35307</c:v>
                </c:pt>
                <c:pt idx="1765">
                  <c:v>35311</c:v>
                </c:pt>
                <c:pt idx="1766">
                  <c:v>35312</c:v>
                </c:pt>
                <c:pt idx="1767">
                  <c:v>35313</c:v>
                </c:pt>
                <c:pt idx="1768">
                  <c:v>35314</c:v>
                </c:pt>
                <c:pt idx="1769">
                  <c:v>35317</c:v>
                </c:pt>
                <c:pt idx="1770">
                  <c:v>35318</c:v>
                </c:pt>
                <c:pt idx="1771">
                  <c:v>35319</c:v>
                </c:pt>
                <c:pt idx="1772">
                  <c:v>35320</c:v>
                </c:pt>
                <c:pt idx="1773">
                  <c:v>35321</c:v>
                </c:pt>
                <c:pt idx="1774">
                  <c:v>35324</c:v>
                </c:pt>
                <c:pt idx="1775">
                  <c:v>35325</c:v>
                </c:pt>
                <c:pt idx="1776">
                  <c:v>35326</c:v>
                </c:pt>
                <c:pt idx="1777">
                  <c:v>35327</c:v>
                </c:pt>
                <c:pt idx="1778">
                  <c:v>35328</c:v>
                </c:pt>
                <c:pt idx="1779">
                  <c:v>35331</c:v>
                </c:pt>
                <c:pt idx="1780">
                  <c:v>35332</c:v>
                </c:pt>
                <c:pt idx="1781">
                  <c:v>35333</c:v>
                </c:pt>
                <c:pt idx="1782">
                  <c:v>35334</c:v>
                </c:pt>
                <c:pt idx="1783">
                  <c:v>35335</c:v>
                </c:pt>
                <c:pt idx="1784">
                  <c:v>35338</c:v>
                </c:pt>
                <c:pt idx="1785">
                  <c:v>35339</c:v>
                </c:pt>
                <c:pt idx="1786">
                  <c:v>35340</c:v>
                </c:pt>
                <c:pt idx="1787">
                  <c:v>35341</c:v>
                </c:pt>
                <c:pt idx="1788">
                  <c:v>35342</c:v>
                </c:pt>
                <c:pt idx="1789">
                  <c:v>35345</c:v>
                </c:pt>
                <c:pt idx="1790">
                  <c:v>35346</c:v>
                </c:pt>
                <c:pt idx="1791">
                  <c:v>35347</c:v>
                </c:pt>
                <c:pt idx="1792">
                  <c:v>35348</c:v>
                </c:pt>
                <c:pt idx="1793">
                  <c:v>35349</c:v>
                </c:pt>
                <c:pt idx="1794">
                  <c:v>35352</c:v>
                </c:pt>
                <c:pt idx="1795">
                  <c:v>35353</c:v>
                </c:pt>
                <c:pt idx="1796">
                  <c:v>35354</c:v>
                </c:pt>
                <c:pt idx="1797">
                  <c:v>35355</c:v>
                </c:pt>
                <c:pt idx="1798">
                  <c:v>35356</c:v>
                </c:pt>
                <c:pt idx="1799">
                  <c:v>35359</c:v>
                </c:pt>
                <c:pt idx="1800">
                  <c:v>35360</c:v>
                </c:pt>
                <c:pt idx="1801">
                  <c:v>35361</c:v>
                </c:pt>
                <c:pt idx="1802">
                  <c:v>35362</c:v>
                </c:pt>
                <c:pt idx="1803">
                  <c:v>35363</c:v>
                </c:pt>
                <c:pt idx="1804">
                  <c:v>35366</c:v>
                </c:pt>
                <c:pt idx="1805">
                  <c:v>35367</c:v>
                </c:pt>
                <c:pt idx="1806">
                  <c:v>35368</c:v>
                </c:pt>
                <c:pt idx="1807">
                  <c:v>35369</c:v>
                </c:pt>
                <c:pt idx="1808">
                  <c:v>35370</c:v>
                </c:pt>
                <c:pt idx="1809">
                  <c:v>35373</c:v>
                </c:pt>
                <c:pt idx="1810">
                  <c:v>35374</c:v>
                </c:pt>
                <c:pt idx="1811">
                  <c:v>35375</c:v>
                </c:pt>
                <c:pt idx="1812">
                  <c:v>35376</c:v>
                </c:pt>
                <c:pt idx="1813">
                  <c:v>35377</c:v>
                </c:pt>
                <c:pt idx="1814">
                  <c:v>35380</c:v>
                </c:pt>
                <c:pt idx="1815">
                  <c:v>35381</c:v>
                </c:pt>
                <c:pt idx="1816">
                  <c:v>35382</c:v>
                </c:pt>
                <c:pt idx="1817">
                  <c:v>35383</c:v>
                </c:pt>
                <c:pt idx="1818">
                  <c:v>35384</c:v>
                </c:pt>
                <c:pt idx="1819">
                  <c:v>35387</c:v>
                </c:pt>
                <c:pt idx="1820">
                  <c:v>35388</c:v>
                </c:pt>
                <c:pt idx="1821">
                  <c:v>35389</c:v>
                </c:pt>
                <c:pt idx="1822">
                  <c:v>35390</c:v>
                </c:pt>
                <c:pt idx="1823">
                  <c:v>35391</c:v>
                </c:pt>
                <c:pt idx="1824">
                  <c:v>35394</c:v>
                </c:pt>
                <c:pt idx="1825">
                  <c:v>35395</c:v>
                </c:pt>
                <c:pt idx="1826">
                  <c:v>35396</c:v>
                </c:pt>
                <c:pt idx="1827">
                  <c:v>35398</c:v>
                </c:pt>
                <c:pt idx="1828">
                  <c:v>35401</c:v>
                </c:pt>
                <c:pt idx="1829">
                  <c:v>35402</c:v>
                </c:pt>
                <c:pt idx="1830">
                  <c:v>35403</c:v>
                </c:pt>
                <c:pt idx="1831">
                  <c:v>35404</c:v>
                </c:pt>
                <c:pt idx="1832">
                  <c:v>35405</c:v>
                </c:pt>
                <c:pt idx="1833">
                  <c:v>35408</c:v>
                </c:pt>
                <c:pt idx="1834">
                  <c:v>35409</c:v>
                </c:pt>
                <c:pt idx="1835">
                  <c:v>35410</c:v>
                </c:pt>
                <c:pt idx="1836">
                  <c:v>35411</c:v>
                </c:pt>
                <c:pt idx="1837">
                  <c:v>35412</c:v>
                </c:pt>
                <c:pt idx="1838">
                  <c:v>35415</c:v>
                </c:pt>
                <c:pt idx="1839">
                  <c:v>35416</c:v>
                </c:pt>
                <c:pt idx="1840">
                  <c:v>35417</c:v>
                </c:pt>
                <c:pt idx="1841">
                  <c:v>35418</c:v>
                </c:pt>
                <c:pt idx="1842">
                  <c:v>35419</c:v>
                </c:pt>
                <c:pt idx="1843">
                  <c:v>35422</c:v>
                </c:pt>
                <c:pt idx="1844">
                  <c:v>35423</c:v>
                </c:pt>
                <c:pt idx="1845">
                  <c:v>35425</c:v>
                </c:pt>
                <c:pt idx="1846">
                  <c:v>35426</c:v>
                </c:pt>
                <c:pt idx="1847">
                  <c:v>35429</c:v>
                </c:pt>
                <c:pt idx="1848">
                  <c:v>35430</c:v>
                </c:pt>
                <c:pt idx="1849">
                  <c:v>35432</c:v>
                </c:pt>
                <c:pt idx="1850">
                  <c:v>35433</c:v>
                </c:pt>
                <c:pt idx="1851">
                  <c:v>35436</c:v>
                </c:pt>
                <c:pt idx="1852">
                  <c:v>35437</c:v>
                </c:pt>
                <c:pt idx="1853">
                  <c:v>35438</c:v>
                </c:pt>
                <c:pt idx="1854">
                  <c:v>35439</c:v>
                </c:pt>
                <c:pt idx="1855">
                  <c:v>35440</c:v>
                </c:pt>
                <c:pt idx="1856">
                  <c:v>35443</c:v>
                </c:pt>
                <c:pt idx="1857">
                  <c:v>35444</c:v>
                </c:pt>
                <c:pt idx="1858">
                  <c:v>35445</c:v>
                </c:pt>
                <c:pt idx="1859">
                  <c:v>35446</c:v>
                </c:pt>
                <c:pt idx="1860">
                  <c:v>35447</c:v>
                </c:pt>
                <c:pt idx="1861">
                  <c:v>35450</c:v>
                </c:pt>
                <c:pt idx="1862">
                  <c:v>35451</c:v>
                </c:pt>
                <c:pt idx="1863">
                  <c:v>35452</c:v>
                </c:pt>
                <c:pt idx="1864">
                  <c:v>35453</c:v>
                </c:pt>
                <c:pt idx="1865">
                  <c:v>35454</c:v>
                </c:pt>
                <c:pt idx="1866">
                  <c:v>35457</c:v>
                </c:pt>
                <c:pt idx="1867">
                  <c:v>35458</c:v>
                </c:pt>
                <c:pt idx="1868">
                  <c:v>35459</c:v>
                </c:pt>
                <c:pt idx="1869">
                  <c:v>35460</c:v>
                </c:pt>
                <c:pt idx="1870">
                  <c:v>35461</c:v>
                </c:pt>
                <c:pt idx="1871">
                  <c:v>35464</c:v>
                </c:pt>
                <c:pt idx="1872">
                  <c:v>35465</c:v>
                </c:pt>
                <c:pt idx="1873">
                  <c:v>35466</c:v>
                </c:pt>
                <c:pt idx="1874">
                  <c:v>35467</c:v>
                </c:pt>
                <c:pt idx="1875">
                  <c:v>35468</c:v>
                </c:pt>
                <c:pt idx="1876">
                  <c:v>35471</c:v>
                </c:pt>
                <c:pt idx="1877">
                  <c:v>35472</c:v>
                </c:pt>
                <c:pt idx="1878">
                  <c:v>35473</c:v>
                </c:pt>
                <c:pt idx="1879">
                  <c:v>35474</c:v>
                </c:pt>
                <c:pt idx="1880">
                  <c:v>35475</c:v>
                </c:pt>
                <c:pt idx="1881">
                  <c:v>35479</c:v>
                </c:pt>
                <c:pt idx="1882">
                  <c:v>35480</c:v>
                </c:pt>
                <c:pt idx="1883">
                  <c:v>35481</c:v>
                </c:pt>
                <c:pt idx="1884">
                  <c:v>35482</c:v>
                </c:pt>
                <c:pt idx="1885">
                  <c:v>35485</c:v>
                </c:pt>
                <c:pt idx="1886">
                  <c:v>35486</c:v>
                </c:pt>
                <c:pt idx="1887">
                  <c:v>35487</c:v>
                </c:pt>
                <c:pt idx="1888">
                  <c:v>35488</c:v>
                </c:pt>
                <c:pt idx="1889">
                  <c:v>35489</c:v>
                </c:pt>
                <c:pt idx="1890">
                  <c:v>35492</c:v>
                </c:pt>
                <c:pt idx="1891">
                  <c:v>35493</c:v>
                </c:pt>
                <c:pt idx="1892">
                  <c:v>35494</c:v>
                </c:pt>
                <c:pt idx="1893">
                  <c:v>35495</c:v>
                </c:pt>
                <c:pt idx="1894">
                  <c:v>35496</c:v>
                </c:pt>
                <c:pt idx="1895">
                  <c:v>35499</c:v>
                </c:pt>
                <c:pt idx="1896">
                  <c:v>35500</c:v>
                </c:pt>
                <c:pt idx="1897">
                  <c:v>35501</c:v>
                </c:pt>
                <c:pt idx="1898">
                  <c:v>35502</c:v>
                </c:pt>
                <c:pt idx="1899">
                  <c:v>35503</c:v>
                </c:pt>
                <c:pt idx="1900">
                  <c:v>35506</c:v>
                </c:pt>
                <c:pt idx="1901">
                  <c:v>35507</c:v>
                </c:pt>
                <c:pt idx="1902">
                  <c:v>35508</c:v>
                </c:pt>
                <c:pt idx="1903">
                  <c:v>35509</c:v>
                </c:pt>
                <c:pt idx="1904">
                  <c:v>35510</c:v>
                </c:pt>
                <c:pt idx="1905">
                  <c:v>35513</c:v>
                </c:pt>
                <c:pt idx="1906">
                  <c:v>35514</c:v>
                </c:pt>
                <c:pt idx="1907">
                  <c:v>35515</c:v>
                </c:pt>
                <c:pt idx="1908">
                  <c:v>35516</c:v>
                </c:pt>
                <c:pt idx="1909">
                  <c:v>35520</c:v>
                </c:pt>
                <c:pt idx="1910">
                  <c:v>35521</c:v>
                </c:pt>
                <c:pt idx="1911">
                  <c:v>35522</c:v>
                </c:pt>
                <c:pt idx="1912">
                  <c:v>35523</c:v>
                </c:pt>
                <c:pt idx="1913">
                  <c:v>35524</c:v>
                </c:pt>
                <c:pt idx="1914">
                  <c:v>35527</c:v>
                </c:pt>
                <c:pt idx="1915">
                  <c:v>35528</c:v>
                </c:pt>
                <c:pt idx="1916">
                  <c:v>35529</c:v>
                </c:pt>
                <c:pt idx="1917">
                  <c:v>35530</c:v>
                </c:pt>
                <c:pt idx="1918">
                  <c:v>35531</c:v>
                </c:pt>
                <c:pt idx="1919">
                  <c:v>35534</c:v>
                </c:pt>
                <c:pt idx="1920">
                  <c:v>35535</c:v>
                </c:pt>
                <c:pt idx="1921">
                  <c:v>35536</c:v>
                </c:pt>
                <c:pt idx="1922">
                  <c:v>35537</c:v>
                </c:pt>
                <c:pt idx="1923">
                  <c:v>35538</c:v>
                </c:pt>
                <c:pt idx="1924">
                  <c:v>35541</c:v>
                </c:pt>
                <c:pt idx="1925">
                  <c:v>35542</c:v>
                </c:pt>
                <c:pt idx="1926">
                  <c:v>35543</c:v>
                </c:pt>
                <c:pt idx="1927">
                  <c:v>35544</c:v>
                </c:pt>
                <c:pt idx="1928">
                  <c:v>35545</c:v>
                </c:pt>
                <c:pt idx="1929">
                  <c:v>35548</c:v>
                </c:pt>
                <c:pt idx="1930">
                  <c:v>35549</c:v>
                </c:pt>
                <c:pt idx="1931">
                  <c:v>35550</c:v>
                </c:pt>
                <c:pt idx="1932">
                  <c:v>35551</c:v>
                </c:pt>
                <c:pt idx="1933">
                  <c:v>35552</c:v>
                </c:pt>
                <c:pt idx="1934">
                  <c:v>35555</c:v>
                </c:pt>
                <c:pt idx="1935">
                  <c:v>35556</c:v>
                </c:pt>
                <c:pt idx="1936">
                  <c:v>35557</c:v>
                </c:pt>
                <c:pt idx="1937">
                  <c:v>35558</c:v>
                </c:pt>
                <c:pt idx="1938">
                  <c:v>35559</c:v>
                </c:pt>
                <c:pt idx="1939">
                  <c:v>35562</c:v>
                </c:pt>
                <c:pt idx="1940">
                  <c:v>35563</c:v>
                </c:pt>
                <c:pt idx="1941">
                  <c:v>35564</c:v>
                </c:pt>
                <c:pt idx="1942">
                  <c:v>35565</c:v>
                </c:pt>
                <c:pt idx="1943">
                  <c:v>35566</c:v>
                </c:pt>
                <c:pt idx="1944">
                  <c:v>35569</c:v>
                </c:pt>
                <c:pt idx="1945">
                  <c:v>35570</c:v>
                </c:pt>
                <c:pt idx="1946">
                  <c:v>35571</c:v>
                </c:pt>
                <c:pt idx="1947">
                  <c:v>35572</c:v>
                </c:pt>
                <c:pt idx="1948">
                  <c:v>35573</c:v>
                </c:pt>
                <c:pt idx="1949">
                  <c:v>35577</c:v>
                </c:pt>
                <c:pt idx="1950">
                  <c:v>35578</c:v>
                </c:pt>
                <c:pt idx="1951">
                  <c:v>35579</c:v>
                </c:pt>
                <c:pt idx="1952">
                  <c:v>35580</c:v>
                </c:pt>
                <c:pt idx="1953">
                  <c:v>35583</c:v>
                </c:pt>
                <c:pt idx="1954">
                  <c:v>35584</c:v>
                </c:pt>
                <c:pt idx="1955">
                  <c:v>35585</c:v>
                </c:pt>
                <c:pt idx="1956">
                  <c:v>35586</c:v>
                </c:pt>
                <c:pt idx="1957">
                  <c:v>35587</c:v>
                </c:pt>
                <c:pt idx="1958">
                  <c:v>35590</c:v>
                </c:pt>
                <c:pt idx="1959">
                  <c:v>35591</c:v>
                </c:pt>
                <c:pt idx="1960">
                  <c:v>35592</c:v>
                </c:pt>
                <c:pt idx="1961">
                  <c:v>35593</c:v>
                </c:pt>
                <c:pt idx="1962">
                  <c:v>35594</c:v>
                </c:pt>
                <c:pt idx="1963">
                  <c:v>35597</c:v>
                </c:pt>
                <c:pt idx="1964">
                  <c:v>35598</c:v>
                </c:pt>
                <c:pt idx="1965">
                  <c:v>35599</c:v>
                </c:pt>
                <c:pt idx="1966">
                  <c:v>35600</c:v>
                </c:pt>
                <c:pt idx="1967">
                  <c:v>35601</c:v>
                </c:pt>
                <c:pt idx="1968">
                  <c:v>35604</c:v>
                </c:pt>
                <c:pt idx="1969">
                  <c:v>35605</c:v>
                </c:pt>
                <c:pt idx="1970">
                  <c:v>35606</c:v>
                </c:pt>
                <c:pt idx="1971">
                  <c:v>35607</c:v>
                </c:pt>
                <c:pt idx="1972">
                  <c:v>35608</c:v>
                </c:pt>
                <c:pt idx="1973">
                  <c:v>35611</c:v>
                </c:pt>
                <c:pt idx="1974">
                  <c:v>35612</c:v>
                </c:pt>
                <c:pt idx="1975">
                  <c:v>35613</c:v>
                </c:pt>
                <c:pt idx="1976">
                  <c:v>35614</c:v>
                </c:pt>
                <c:pt idx="1977">
                  <c:v>35618</c:v>
                </c:pt>
                <c:pt idx="1978">
                  <c:v>35619</c:v>
                </c:pt>
                <c:pt idx="1979">
                  <c:v>35620</c:v>
                </c:pt>
                <c:pt idx="1980">
                  <c:v>35621</c:v>
                </c:pt>
                <c:pt idx="1981">
                  <c:v>35622</c:v>
                </c:pt>
                <c:pt idx="1982">
                  <c:v>35625</c:v>
                </c:pt>
                <c:pt idx="1983">
                  <c:v>35626</c:v>
                </c:pt>
                <c:pt idx="1984">
                  <c:v>35627</c:v>
                </c:pt>
                <c:pt idx="1985">
                  <c:v>35628</c:v>
                </c:pt>
                <c:pt idx="1986">
                  <c:v>35629</c:v>
                </c:pt>
                <c:pt idx="1987">
                  <c:v>35632</c:v>
                </c:pt>
                <c:pt idx="1988">
                  <c:v>35633</c:v>
                </c:pt>
                <c:pt idx="1989">
                  <c:v>35634</c:v>
                </c:pt>
                <c:pt idx="1990">
                  <c:v>35635</c:v>
                </c:pt>
                <c:pt idx="1991">
                  <c:v>35636</c:v>
                </c:pt>
                <c:pt idx="1992">
                  <c:v>35639</c:v>
                </c:pt>
                <c:pt idx="1993">
                  <c:v>35640</c:v>
                </c:pt>
                <c:pt idx="1994">
                  <c:v>35641</c:v>
                </c:pt>
                <c:pt idx="1995">
                  <c:v>35642</c:v>
                </c:pt>
                <c:pt idx="1996">
                  <c:v>35643</c:v>
                </c:pt>
                <c:pt idx="1997">
                  <c:v>35646</c:v>
                </c:pt>
                <c:pt idx="1998">
                  <c:v>35647</c:v>
                </c:pt>
                <c:pt idx="1999">
                  <c:v>35648</c:v>
                </c:pt>
                <c:pt idx="2000">
                  <c:v>35649</c:v>
                </c:pt>
                <c:pt idx="2001">
                  <c:v>35650</c:v>
                </c:pt>
                <c:pt idx="2002">
                  <c:v>35653</c:v>
                </c:pt>
                <c:pt idx="2003">
                  <c:v>35654</c:v>
                </c:pt>
                <c:pt idx="2004">
                  <c:v>35655</c:v>
                </c:pt>
                <c:pt idx="2005">
                  <c:v>35656</c:v>
                </c:pt>
                <c:pt idx="2006">
                  <c:v>35657</c:v>
                </c:pt>
                <c:pt idx="2007">
                  <c:v>35660</c:v>
                </c:pt>
                <c:pt idx="2008">
                  <c:v>35661</c:v>
                </c:pt>
                <c:pt idx="2009">
                  <c:v>35662</c:v>
                </c:pt>
                <c:pt idx="2010">
                  <c:v>35663</c:v>
                </c:pt>
                <c:pt idx="2011">
                  <c:v>35664</c:v>
                </c:pt>
                <c:pt idx="2012">
                  <c:v>35667</c:v>
                </c:pt>
                <c:pt idx="2013">
                  <c:v>35668</c:v>
                </c:pt>
                <c:pt idx="2014">
                  <c:v>35669</c:v>
                </c:pt>
                <c:pt idx="2015">
                  <c:v>35670</c:v>
                </c:pt>
                <c:pt idx="2016">
                  <c:v>35671</c:v>
                </c:pt>
                <c:pt idx="2017">
                  <c:v>35675</c:v>
                </c:pt>
                <c:pt idx="2018">
                  <c:v>35676</c:v>
                </c:pt>
                <c:pt idx="2019">
                  <c:v>35677</c:v>
                </c:pt>
                <c:pt idx="2020">
                  <c:v>35678</c:v>
                </c:pt>
                <c:pt idx="2021">
                  <c:v>35681</c:v>
                </c:pt>
                <c:pt idx="2022">
                  <c:v>35682</c:v>
                </c:pt>
                <c:pt idx="2023">
                  <c:v>35683</c:v>
                </c:pt>
                <c:pt idx="2024">
                  <c:v>35684</c:v>
                </c:pt>
                <c:pt idx="2025">
                  <c:v>35685</c:v>
                </c:pt>
                <c:pt idx="2026">
                  <c:v>35688</c:v>
                </c:pt>
                <c:pt idx="2027">
                  <c:v>35689</c:v>
                </c:pt>
                <c:pt idx="2028">
                  <c:v>35690</c:v>
                </c:pt>
                <c:pt idx="2029">
                  <c:v>35691</c:v>
                </c:pt>
                <c:pt idx="2030">
                  <c:v>35692</c:v>
                </c:pt>
                <c:pt idx="2031">
                  <c:v>35695</c:v>
                </c:pt>
                <c:pt idx="2032">
                  <c:v>35696</c:v>
                </c:pt>
                <c:pt idx="2033">
                  <c:v>35697</c:v>
                </c:pt>
                <c:pt idx="2034">
                  <c:v>35698</c:v>
                </c:pt>
                <c:pt idx="2035">
                  <c:v>35699</c:v>
                </c:pt>
                <c:pt idx="2036">
                  <c:v>35702</c:v>
                </c:pt>
                <c:pt idx="2037">
                  <c:v>35703</c:v>
                </c:pt>
                <c:pt idx="2038">
                  <c:v>35704</c:v>
                </c:pt>
                <c:pt idx="2039">
                  <c:v>35705</c:v>
                </c:pt>
                <c:pt idx="2040">
                  <c:v>35706</c:v>
                </c:pt>
                <c:pt idx="2041">
                  <c:v>35709</c:v>
                </c:pt>
                <c:pt idx="2042">
                  <c:v>35710</c:v>
                </c:pt>
                <c:pt idx="2043">
                  <c:v>35711</c:v>
                </c:pt>
                <c:pt idx="2044">
                  <c:v>35712</c:v>
                </c:pt>
                <c:pt idx="2045">
                  <c:v>35713</c:v>
                </c:pt>
                <c:pt idx="2046">
                  <c:v>35716</c:v>
                </c:pt>
                <c:pt idx="2047">
                  <c:v>35717</c:v>
                </c:pt>
                <c:pt idx="2048">
                  <c:v>35718</c:v>
                </c:pt>
                <c:pt idx="2049">
                  <c:v>35719</c:v>
                </c:pt>
                <c:pt idx="2050">
                  <c:v>35720</c:v>
                </c:pt>
                <c:pt idx="2051">
                  <c:v>35723</c:v>
                </c:pt>
                <c:pt idx="2052">
                  <c:v>35724</c:v>
                </c:pt>
                <c:pt idx="2053">
                  <c:v>35725</c:v>
                </c:pt>
                <c:pt idx="2054">
                  <c:v>35726</c:v>
                </c:pt>
                <c:pt idx="2055">
                  <c:v>35727</c:v>
                </c:pt>
                <c:pt idx="2056">
                  <c:v>35730</c:v>
                </c:pt>
                <c:pt idx="2057">
                  <c:v>35731</c:v>
                </c:pt>
                <c:pt idx="2058">
                  <c:v>35732</c:v>
                </c:pt>
                <c:pt idx="2059">
                  <c:v>35733</c:v>
                </c:pt>
                <c:pt idx="2060">
                  <c:v>35734</c:v>
                </c:pt>
                <c:pt idx="2061">
                  <c:v>35737</c:v>
                </c:pt>
                <c:pt idx="2062">
                  <c:v>35738</c:v>
                </c:pt>
                <c:pt idx="2063">
                  <c:v>35739</c:v>
                </c:pt>
                <c:pt idx="2064">
                  <c:v>35740</c:v>
                </c:pt>
                <c:pt idx="2065">
                  <c:v>35741</c:v>
                </c:pt>
                <c:pt idx="2066">
                  <c:v>35744</c:v>
                </c:pt>
                <c:pt idx="2067">
                  <c:v>35745</c:v>
                </c:pt>
                <c:pt idx="2068">
                  <c:v>35746</c:v>
                </c:pt>
                <c:pt idx="2069">
                  <c:v>35747</c:v>
                </c:pt>
                <c:pt idx="2070">
                  <c:v>35748</c:v>
                </c:pt>
                <c:pt idx="2071">
                  <c:v>35751</c:v>
                </c:pt>
                <c:pt idx="2072">
                  <c:v>35752</c:v>
                </c:pt>
                <c:pt idx="2073">
                  <c:v>35753</c:v>
                </c:pt>
                <c:pt idx="2074">
                  <c:v>35754</c:v>
                </c:pt>
                <c:pt idx="2075">
                  <c:v>35755</c:v>
                </c:pt>
                <c:pt idx="2076">
                  <c:v>35758</c:v>
                </c:pt>
                <c:pt idx="2077">
                  <c:v>35759</c:v>
                </c:pt>
                <c:pt idx="2078">
                  <c:v>35760</c:v>
                </c:pt>
                <c:pt idx="2079">
                  <c:v>35762</c:v>
                </c:pt>
                <c:pt idx="2080">
                  <c:v>35765</c:v>
                </c:pt>
                <c:pt idx="2081">
                  <c:v>35766</c:v>
                </c:pt>
                <c:pt idx="2082">
                  <c:v>35767</c:v>
                </c:pt>
                <c:pt idx="2083">
                  <c:v>35768</c:v>
                </c:pt>
                <c:pt idx="2084">
                  <c:v>35769</c:v>
                </c:pt>
                <c:pt idx="2085">
                  <c:v>35772</c:v>
                </c:pt>
                <c:pt idx="2086">
                  <c:v>35773</c:v>
                </c:pt>
                <c:pt idx="2087">
                  <c:v>35774</c:v>
                </c:pt>
                <c:pt idx="2088">
                  <c:v>35775</c:v>
                </c:pt>
                <c:pt idx="2089">
                  <c:v>35776</c:v>
                </c:pt>
                <c:pt idx="2090">
                  <c:v>35779</c:v>
                </c:pt>
                <c:pt idx="2091">
                  <c:v>35780</c:v>
                </c:pt>
                <c:pt idx="2092">
                  <c:v>35781</c:v>
                </c:pt>
                <c:pt idx="2093">
                  <c:v>35782</c:v>
                </c:pt>
                <c:pt idx="2094">
                  <c:v>35783</c:v>
                </c:pt>
                <c:pt idx="2095">
                  <c:v>35786</c:v>
                </c:pt>
                <c:pt idx="2096">
                  <c:v>35787</c:v>
                </c:pt>
                <c:pt idx="2097">
                  <c:v>35788</c:v>
                </c:pt>
                <c:pt idx="2098">
                  <c:v>35790</c:v>
                </c:pt>
                <c:pt idx="2099">
                  <c:v>35793</c:v>
                </c:pt>
                <c:pt idx="2100">
                  <c:v>35794</c:v>
                </c:pt>
                <c:pt idx="2101">
                  <c:v>35795</c:v>
                </c:pt>
                <c:pt idx="2102">
                  <c:v>35797</c:v>
                </c:pt>
                <c:pt idx="2103">
                  <c:v>35800</c:v>
                </c:pt>
                <c:pt idx="2104">
                  <c:v>35801</c:v>
                </c:pt>
                <c:pt idx="2105">
                  <c:v>35802</c:v>
                </c:pt>
                <c:pt idx="2106">
                  <c:v>35803</c:v>
                </c:pt>
                <c:pt idx="2107">
                  <c:v>35804</c:v>
                </c:pt>
                <c:pt idx="2108">
                  <c:v>35807</c:v>
                </c:pt>
                <c:pt idx="2109">
                  <c:v>35808</c:v>
                </c:pt>
                <c:pt idx="2110">
                  <c:v>35809</c:v>
                </c:pt>
                <c:pt idx="2111">
                  <c:v>35810</c:v>
                </c:pt>
                <c:pt idx="2112">
                  <c:v>35811</c:v>
                </c:pt>
                <c:pt idx="2113">
                  <c:v>35815</c:v>
                </c:pt>
                <c:pt idx="2114">
                  <c:v>35816</c:v>
                </c:pt>
                <c:pt idx="2115">
                  <c:v>35817</c:v>
                </c:pt>
                <c:pt idx="2116">
                  <c:v>35818</c:v>
                </c:pt>
                <c:pt idx="2117">
                  <c:v>35821</c:v>
                </c:pt>
                <c:pt idx="2118">
                  <c:v>35822</c:v>
                </c:pt>
                <c:pt idx="2119">
                  <c:v>35823</c:v>
                </c:pt>
                <c:pt idx="2120">
                  <c:v>35824</c:v>
                </c:pt>
                <c:pt idx="2121">
                  <c:v>35825</c:v>
                </c:pt>
                <c:pt idx="2122">
                  <c:v>35828</c:v>
                </c:pt>
                <c:pt idx="2123">
                  <c:v>35829</c:v>
                </c:pt>
                <c:pt idx="2124">
                  <c:v>35830</c:v>
                </c:pt>
                <c:pt idx="2125">
                  <c:v>35831</c:v>
                </c:pt>
                <c:pt idx="2126">
                  <c:v>35832</c:v>
                </c:pt>
                <c:pt idx="2127">
                  <c:v>35835</c:v>
                </c:pt>
                <c:pt idx="2128">
                  <c:v>35836</c:v>
                </c:pt>
                <c:pt idx="2129">
                  <c:v>35837</c:v>
                </c:pt>
                <c:pt idx="2130">
                  <c:v>35838</c:v>
                </c:pt>
                <c:pt idx="2131">
                  <c:v>35839</c:v>
                </c:pt>
                <c:pt idx="2132">
                  <c:v>35843</c:v>
                </c:pt>
                <c:pt idx="2133">
                  <c:v>35844</c:v>
                </c:pt>
                <c:pt idx="2134">
                  <c:v>35845</c:v>
                </c:pt>
                <c:pt idx="2135">
                  <c:v>35846</c:v>
                </c:pt>
                <c:pt idx="2136">
                  <c:v>35849</c:v>
                </c:pt>
                <c:pt idx="2137">
                  <c:v>35850</c:v>
                </c:pt>
                <c:pt idx="2138">
                  <c:v>35851</c:v>
                </c:pt>
                <c:pt idx="2139">
                  <c:v>35852</c:v>
                </c:pt>
                <c:pt idx="2140">
                  <c:v>35853</c:v>
                </c:pt>
                <c:pt idx="2141">
                  <c:v>35856</c:v>
                </c:pt>
                <c:pt idx="2142">
                  <c:v>35857</c:v>
                </c:pt>
                <c:pt idx="2143">
                  <c:v>35858</c:v>
                </c:pt>
                <c:pt idx="2144">
                  <c:v>35859</c:v>
                </c:pt>
                <c:pt idx="2145">
                  <c:v>35860</c:v>
                </c:pt>
                <c:pt idx="2146">
                  <c:v>35863</c:v>
                </c:pt>
                <c:pt idx="2147">
                  <c:v>35864</c:v>
                </c:pt>
                <c:pt idx="2148">
                  <c:v>35865</c:v>
                </c:pt>
                <c:pt idx="2149">
                  <c:v>35866</c:v>
                </c:pt>
                <c:pt idx="2150">
                  <c:v>35867</c:v>
                </c:pt>
                <c:pt idx="2151">
                  <c:v>35870</c:v>
                </c:pt>
                <c:pt idx="2152">
                  <c:v>35871</c:v>
                </c:pt>
                <c:pt idx="2153">
                  <c:v>35872</c:v>
                </c:pt>
                <c:pt idx="2154">
                  <c:v>35873</c:v>
                </c:pt>
                <c:pt idx="2155">
                  <c:v>35874</c:v>
                </c:pt>
                <c:pt idx="2156">
                  <c:v>35877</c:v>
                </c:pt>
                <c:pt idx="2157">
                  <c:v>35878</c:v>
                </c:pt>
                <c:pt idx="2158">
                  <c:v>35879</c:v>
                </c:pt>
                <c:pt idx="2159">
                  <c:v>35880</c:v>
                </c:pt>
                <c:pt idx="2160">
                  <c:v>35881</c:v>
                </c:pt>
                <c:pt idx="2161">
                  <c:v>35884</c:v>
                </c:pt>
                <c:pt idx="2162">
                  <c:v>35885</c:v>
                </c:pt>
                <c:pt idx="2163">
                  <c:v>35886</c:v>
                </c:pt>
                <c:pt idx="2164">
                  <c:v>35887</c:v>
                </c:pt>
                <c:pt idx="2165">
                  <c:v>35888</c:v>
                </c:pt>
                <c:pt idx="2166">
                  <c:v>35891</c:v>
                </c:pt>
                <c:pt idx="2167">
                  <c:v>35892</c:v>
                </c:pt>
                <c:pt idx="2168">
                  <c:v>35893</c:v>
                </c:pt>
                <c:pt idx="2169">
                  <c:v>35894</c:v>
                </c:pt>
                <c:pt idx="2170">
                  <c:v>35898</c:v>
                </c:pt>
                <c:pt idx="2171">
                  <c:v>35899</c:v>
                </c:pt>
                <c:pt idx="2172">
                  <c:v>35900</c:v>
                </c:pt>
                <c:pt idx="2173">
                  <c:v>35901</c:v>
                </c:pt>
                <c:pt idx="2174">
                  <c:v>35902</c:v>
                </c:pt>
                <c:pt idx="2175">
                  <c:v>35905</c:v>
                </c:pt>
                <c:pt idx="2176">
                  <c:v>35906</c:v>
                </c:pt>
                <c:pt idx="2177">
                  <c:v>35907</c:v>
                </c:pt>
                <c:pt idx="2178">
                  <c:v>35908</c:v>
                </c:pt>
                <c:pt idx="2179">
                  <c:v>35909</c:v>
                </c:pt>
                <c:pt idx="2180">
                  <c:v>35912</c:v>
                </c:pt>
                <c:pt idx="2181">
                  <c:v>35913</c:v>
                </c:pt>
                <c:pt idx="2182">
                  <c:v>35914</c:v>
                </c:pt>
                <c:pt idx="2183">
                  <c:v>35915</c:v>
                </c:pt>
                <c:pt idx="2184">
                  <c:v>35916</c:v>
                </c:pt>
                <c:pt idx="2185">
                  <c:v>35919</c:v>
                </c:pt>
                <c:pt idx="2186">
                  <c:v>35920</c:v>
                </c:pt>
                <c:pt idx="2187">
                  <c:v>35921</c:v>
                </c:pt>
                <c:pt idx="2188">
                  <c:v>35922</c:v>
                </c:pt>
                <c:pt idx="2189">
                  <c:v>35923</c:v>
                </c:pt>
                <c:pt idx="2190">
                  <c:v>35926</c:v>
                </c:pt>
                <c:pt idx="2191">
                  <c:v>35927</c:v>
                </c:pt>
                <c:pt idx="2192">
                  <c:v>35928</c:v>
                </c:pt>
                <c:pt idx="2193">
                  <c:v>35929</c:v>
                </c:pt>
                <c:pt idx="2194">
                  <c:v>35930</c:v>
                </c:pt>
                <c:pt idx="2195">
                  <c:v>35933</c:v>
                </c:pt>
                <c:pt idx="2196">
                  <c:v>35934</c:v>
                </c:pt>
                <c:pt idx="2197">
                  <c:v>35935</c:v>
                </c:pt>
                <c:pt idx="2198">
                  <c:v>35936</c:v>
                </c:pt>
                <c:pt idx="2199">
                  <c:v>35937</c:v>
                </c:pt>
                <c:pt idx="2200">
                  <c:v>35941</c:v>
                </c:pt>
                <c:pt idx="2201">
                  <c:v>35942</c:v>
                </c:pt>
                <c:pt idx="2202">
                  <c:v>35943</c:v>
                </c:pt>
                <c:pt idx="2203">
                  <c:v>35944</c:v>
                </c:pt>
                <c:pt idx="2204">
                  <c:v>35947</c:v>
                </c:pt>
                <c:pt idx="2205">
                  <c:v>35948</c:v>
                </c:pt>
                <c:pt idx="2206">
                  <c:v>35949</c:v>
                </c:pt>
                <c:pt idx="2207">
                  <c:v>35950</c:v>
                </c:pt>
                <c:pt idx="2208">
                  <c:v>35951</c:v>
                </c:pt>
                <c:pt idx="2209">
                  <c:v>35954</c:v>
                </c:pt>
                <c:pt idx="2210">
                  <c:v>35955</c:v>
                </c:pt>
                <c:pt idx="2211">
                  <c:v>35956</c:v>
                </c:pt>
                <c:pt idx="2212">
                  <c:v>35957</c:v>
                </c:pt>
                <c:pt idx="2213">
                  <c:v>35958</c:v>
                </c:pt>
                <c:pt idx="2214">
                  <c:v>35961</c:v>
                </c:pt>
                <c:pt idx="2215">
                  <c:v>35962</c:v>
                </c:pt>
                <c:pt idx="2216">
                  <c:v>35963</c:v>
                </c:pt>
                <c:pt idx="2217">
                  <c:v>35964</c:v>
                </c:pt>
                <c:pt idx="2218">
                  <c:v>35965</c:v>
                </c:pt>
                <c:pt idx="2219">
                  <c:v>35968</c:v>
                </c:pt>
                <c:pt idx="2220">
                  <c:v>35969</c:v>
                </c:pt>
                <c:pt idx="2221">
                  <c:v>35970</c:v>
                </c:pt>
                <c:pt idx="2222">
                  <c:v>35971</c:v>
                </c:pt>
                <c:pt idx="2223">
                  <c:v>35972</c:v>
                </c:pt>
                <c:pt idx="2224">
                  <c:v>35975</c:v>
                </c:pt>
                <c:pt idx="2225">
                  <c:v>35976</c:v>
                </c:pt>
                <c:pt idx="2226">
                  <c:v>35977</c:v>
                </c:pt>
                <c:pt idx="2227">
                  <c:v>35978</c:v>
                </c:pt>
                <c:pt idx="2228">
                  <c:v>35982</c:v>
                </c:pt>
                <c:pt idx="2229">
                  <c:v>35983</c:v>
                </c:pt>
                <c:pt idx="2230">
                  <c:v>35984</c:v>
                </c:pt>
                <c:pt idx="2231">
                  <c:v>35985</c:v>
                </c:pt>
                <c:pt idx="2232">
                  <c:v>35986</c:v>
                </c:pt>
                <c:pt idx="2233">
                  <c:v>35989</c:v>
                </c:pt>
                <c:pt idx="2234">
                  <c:v>35990</c:v>
                </c:pt>
                <c:pt idx="2235">
                  <c:v>35991</c:v>
                </c:pt>
                <c:pt idx="2236">
                  <c:v>35992</c:v>
                </c:pt>
                <c:pt idx="2237">
                  <c:v>35993</c:v>
                </c:pt>
                <c:pt idx="2238">
                  <c:v>35996</c:v>
                </c:pt>
                <c:pt idx="2239">
                  <c:v>35997</c:v>
                </c:pt>
                <c:pt idx="2240">
                  <c:v>35998</c:v>
                </c:pt>
                <c:pt idx="2241">
                  <c:v>35999</c:v>
                </c:pt>
                <c:pt idx="2242">
                  <c:v>36000</c:v>
                </c:pt>
                <c:pt idx="2243">
                  <c:v>36003</c:v>
                </c:pt>
                <c:pt idx="2244">
                  <c:v>36004</c:v>
                </c:pt>
                <c:pt idx="2245">
                  <c:v>36005</c:v>
                </c:pt>
                <c:pt idx="2246">
                  <c:v>36006</c:v>
                </c:pt>
                <c:pt idx="2247">
                  <c:v>36007</c:v>
                </c:pt>
                <c:pt idx="2248">
                  <c:v>36010</c:v>
                </c:pt>
                <c:pt idx="2249">
                  <c:v>36011</c:v>
                </c:pt>
                <c:pt idx="2250">
                  <c:v>36012</c:v>
                </c:pt>
                <c:pt idx="2251">
                  <c:v>36013</c:v>
                </c:pt>
                <c:pt idx="2252">
                  <c:v>36014</c:v>
                </c:pt>
                <c:pt idx="2253">
                  <c:v>36017</c:v>
                </c:pt>
                <c:pt idx="2254">
                  <c:v>36018</c:v>
                </c:pt>
                <c:pt idx="2255">
                  <c:v>36019</c:v>
                </c:pt>
                <c:pt idx="2256">
                  <c:v>36020</c:v>
                </c:pt>
                <c:pt idx="2257">
                  <c:v>36021</c:v>
                </c:pt>
                <c:pt idx="2258">
                  <c:v>36024</c:v>
                </c:pt>
                <c:pt idx="2259">
                  <c:v>36025</c:v>
                </c:pt>
                <c:pt idx="2260">
                  <c:v>36026</c:v>
                </c:pt>
                <c:pt idx="2261">
                  <c:v>36027</c:v>
                </c:pt>
                <c:pt idx="2262">
                  <c:v>36028</c:v>
                </c:pt>
                <c:pt idx="2263">
                  <c:v>36031</c:v>
                </c:pt>
                <c:pt idx="2264">
                  <c:v>36032</c:v>
                </c:pt>
                <c:pt idx="2265">
                  <c:v>36033</c:v>
                </c:pt>
                <c:pt idx="2266">
                  <c:v>36034</c:v>
                </c:pt>
                <c:pt idx="2267">
                  <c:v>36035</c:v>
                </c:pt>
                <c:pt idx="2268">
                  <c:v>36038</c:v>
                </c:pt>
                <c:pt idx="2269">
                  <c:v>36039</c:v>
                </c:pt>
                <c:pt idx="2270">
                  <c:v>36040</c:v>
                </c:pt>
                <c:pt idx="2271">
                  <c:v>36041</c:v>
                </c:pt>
                <c:pt idx="2272">
                  <c:v>36042</c:v>
                </c:pt>
                <c:pt idx="2273">
                  <c:v>36046</c:v>
                </c:pt>
                <c:pt idx="2274">
                  <c:v>36047</c:v>
                </c:pt>
                <c:pt idx="2275">
                  <c:v>36048</c:v>
                </c:pt>
                <c:pt idx="2276">
                  <c:v>36049</c:v>
                </c:pt>
                <c:pt idx="2277">
                  <c:v>36052</c:v>
                </c:pt>
                <c:pt idx="2278">
                  <c:v>36053</c:v>
                </c:pt>
                <c:pt idx="2279">
                  <c:v>36054</c:v>
                </c:pt>
                <c:pt idx="2280">
                  <c:v>36055</c:v>
                </c:pt>
                <c:pt idx="2281">
                  <c:v>36056</c:v>
                </c:pt>
                <c:pt idx="2282">
                  <c:v>36059</c:v>
                </c:pt>
                <c:pt idx="2283">
                  <c:v>36060</c:v>
                </c:pt>
                <c:pt idx="2284">
                  <c:v>36061</c:v>
                </c:pt>
                <c:pt idx="2285">
                  <c:v>36062</c:v>
                </c:pt>
                <c:pt idx="2286">
                  <c:v>36063</c:v>
                </c:pt>
                <c:pt idx="2287">
                  <c:v>36066</c:v>
                </c:pt>
                <c:pt idx="2288">
                  <c:v>36067</c:v>
                </c:pt>
                <c:pt idx="2289">
                  <c:v>36068</c:v>
                </c:pt>
                <c:pt idx="2290">
                  <c:v>36069</c:v>
                </c:pt>
                <c:pt idx="2291">
                  <c:v>36070</c:v>
                </c:pt>
                <c:pt idx="2292">
                  <c:v>36073</c:v>
                </c:pt>
                <c:pt idx="2293">
                  <c:v>36074</c:v>
                </c:pt>
                <c:pt idx="2294">
                  <c:v>36075</c:v>
                </c:pt>
                <c:pt idx="2295">
                  <c:v>36076</c:v>
                </c:pt>
                <c:pt idx="2296">
                  <c:v>36077</c:v>
                </c:pt>
                <c:pt idx="2297">
                  <c:v>36080</c:v>
                </c:pt>
                <c:pt idx="2298">
                  <c:v>36081</c:v>
                </c:pt>
                <c:pt idx="2299">
                  <c:v>36082</c:v>
                </c:pt>
                <c:pt idx="2300">
                  <c:v>36083</c:v>
                </c:pt>
                <c:pt idx="2301">
                  <c:v>36084</c:v>
                </c:pt>
                <c:pt idx="2302">
                  <c:v>36087</c:v>
                </c:pt>
                <c:pt idx="2303">
                  <c:v>36088</c:v>
                </c:pt>
                <c:pt idx="2304">
                  <c:v>36089</c:v>
                </c:pt>
                <c:pt idx="2305">
                  <c:v>36090</c:v>
                </c:pt>
                <c:pt idx="2306">
                  <c:v>36091</c:v>
                </c:pt>
                <c:pt idx="2307">
                  <c:v>36094</c:v>
                </c:pt>
                <c:pt idx="2308">
                  <c:v>36095</c:v>
                </c:pt>
                <c:pt idx="2309">
                  <c:v>36096</c:v>
                </c:pt>
                <c:pt idx="2310">
                  <c:v>36097</c:v>
                </c:pt>
                <c:pt idx="2311">
                  <c:v>36098</c:v>
                </c:pt>
                <c:pt idx="2312">
                  <c:v>36101</c:v>
                </c:pt>
                <c:pt idx="2313">
                  <c:v>36102</c:v>
                </c:pt>
                <c:pt idx="2314">
                  <c:v>36103</c:v>
                </c:pt>
                <c:pt idx="2315">
                  <c:v>36104</c:v>
                </c:pt>
                <c:pt idx="2316">
                  <c:v>36105</c:v>
                </c:pt>
                <c:pt idx="2317">
                  <c:v>36108</c:v>
                </c:pt>
                <c:pt idx="2318">
                  <c:v>36109</c:v>
                </c:pt>
                <c:pt idx="2319">
                  <c:v>36110</c:v>
                </c:pt>
                <c:pt idx="2320">
                  <c:v>36111</c:v>
                </c:pt>
                <c:pt idx="2321">
                  <c:v>36112</c:v>
                </c:pt>
                <c:pt idx="2322">
                  <c:v>36115</c:v>
                </c:pt>
                <c:pt idx="2323">
                  <c:v>36116</c:v>
                </c:pt>
                <c:pt idx="2324">
                  <c:v>36117</c:v>
                </c:pt>
                <c:pt idx="2325">
                  <c:v>36118</c:v>
                </c:pt>
                <c:pt idx="2326">
                  <c:v>36119</c:v>
                </c:pt>
                <c:pt idx="2327">
                  <c:v>36122</c:v>
                </c:pt>
                <c:pt idx="2328">
                  <c:v>36123</c:v>
                </c:pt>
                <c:pt idx="2329">
                  <c:v>36124</c:v>
                </c:pt>
                <c:pt idx="2330">
                  <c:v>36126</c:v>
                </c:pt>
                <c:pt idx="2331">
                  <c:v>36129</c:v>
                </c:pt>
                <c:pt idx="2332">
                  <c:v>36130</c:v>
                </c:pt>
                <c:pt idx="2333">
                  <c:v>36131</c:v>
                </c:pt>
                <c:pt idx="2334">
                  <c:v>36132</c:v>
                </c:pt>
                <c:pt idx="2335">
                  <c:v>36133</c:v>
                </c:pt>
                <c:pt idx="2336">
                  <c:v>36136</c:v>
                </c:pt>
                <c:pt idx="2337">
                  <c:v>36137</c:v>
                </c:pt>
                <c:pt idx="2338">
                  <c:v>36138</c:v>
                </c:pt>
                <c:pt idx="2339">
                  <c:v>36139</c:v>
                </c:pt>
                <c:pt idx="2340">
                  <c:v>36140</c:v>
                </c:pt>
                <c:pt idx="2341">
                  <c:v>36143</c:v>
                </c:pt>
                <c:pt idx="2342">
                  <c:v>36144</c:v>
                </c:pt>
                <c:pt idx="2343">
                  <c:v>36145</c:v>
                </c:pt>
                <c:pt idx="2344">
                  <c:v>36146</c:v>
                </c:pt>
                <c:pt idx="2345">
                  <c:v>36147</c:v>
                </c:pt>
                <c:pt idx="2346">
                  <c:v>36150</c:v>
                </c:pt>
                <c:pt idx="2347">
                  <c:v>36151</c:v>
                </c:pt>
                <c:pt idx="2348">
                  <c:v>36152</c:v>
                </c:pt>
                <c:pt idx="2349">
                  <c:v>36153</c:v>
                </c:pt>
                <c:pt idx="2350">
                  <c:v>36157</c:v>
                </c:pt>
                <c:pt idx="2351">
                  <c:v>36158</c:v>
                </c:pt>
                <c:pt idx="2352">
                  <c:v>36159</c:v>
                </c:pt>
                <c:pt idx="2353">
                  <c:v>36160</c:v>
                </c:pt>
                <c:pt idx="2354">
                  <c:v>36164</c:v>
                </c:pt>
                <c:pt idx="2355">
                  <c:v>36165</c:v>
                </c:pt>
                <c:pt idx="2356">
                  <c:v>36166</c:v>
                </c:pt>
                <c:pt idx="2357">
                  <c:v>36167</c:v>
                </c:pt>
                <c:pt idx="2358">
                  <c:v>36168</c:v>
                </c:pt>
                <c:pt idx="2359">
                  <c:v>36171</c:v>
                </c:pt>
                <c:pt idx="2360">
                  <c:v>36172</c:v>
                </c:pt>
                <c:pt idx="2361">
                  <c:v>36173</c:v>
                </c:pt>
                <c:pt idx="2362">
                  <c:v>36174</c:v>
                </c:pt>
                <c:pt idx="2363">
                  <c:v>36175</c:v>
                </c:pt>
                <c:pt idx="2364">
                  <c:v>36179</c:v>
                </c:pt>
                <c:pt idx="2365">
                  <c:v>36180</c:v>
                </c:pt>
                <c:pt idx="2366">
                  <c:v>36181</c:v>
                </c:pt>
                <c:pt idx="2367">
                  <c:v>36182</c:v>
                </c:pt>
                <c:pt idx="2368">
                  <c:v>36185</c:v>
                </c:pt>
                <c:pt idx="2369">
                  <c:v>36186</c:v>
                </c:pt>
                <c:pt idx="2370">
                  <c:v>36187</c:v>
                </c:pt>
                <c:pt idx="2371">
                  <c:v>36188</c:v>
                </c:pt>
                <c:pt idx="2372">
                  <c:v>36189</c:v>
                </c:pt>
                <c:pt idx="2373">
                  <c:v>36192</c:v>
                </c:pt>
                <c:pt idx="2374">
                  <c:v>36193</c:v>
                </c:pt>
                <c:pt idx="2375">
                  <c:v>36194</c:v>
                </c:pt>
                <c:pt idx="2376">
                  <c:v>36195</c:v>
                </c:pt>
                <c:pt idx="2377">
                  <c:v>36196</c:v>
                </c:pt>
                <c:pt idx="2378">
                  <c:v>36199</c:v>
                </c:pt>
                <c:pt idx="2379">
                  <c:v>36200</c:v>
                </c:pt>
                <c:pt idx="2380">
                  <c:v>36201</c:v>
                </c:pt>
                <c:pt idx="2381">
                  <c:v>36202</c:v>
                </c:pt>
                <c:pt idx="2382">
                  <c:v>36203</c:v>
                </c:pt>
                <c:pt idx="2383">
                  <c:v>36207</c:v>
                </c:pt>
                <c:pt idx="2384">
                  <c:v>36208</c:v>
                </c:pt>
                <c:pt idx="2385">
                  <c:v>36209</c:v>
                </c:pt>
                <c:pt idx="2386">
                  <c:v>36210</c:v>
                </c:pt>
                <c:pt idx="2387">
                  <c:v>36213</c:v>
                </c:pt>
                <c:pt idx="2388">
                  <c:v>36214</c:v>
                </c:pt>
                <c:pt idx="2389">
                  <c:v>36215</c:v>
                </c:pt>
                <c:pt idx="2390">
                  <c:v>36216</c:v>
                </c:pt>
                <c:pt idx="2391">
                  <c:v>36217</c:v>
                </c:pt>
                <c:pt idx="2392">
                  <c:v>36220</c:v>
                </c:pt>
                <c:pt idx="2393">
                  <c:v>36221</c:v>
                </c:pt>
                <c:pt idx="2394">
                  <c:v>36222</c:v>
                </c:pt>
                <c:pt idx="2395">
                  <c:v>36223</c:v>
                </c:pt>
                <c:pt idx="2396">
                  <c:v>36224</c:v>
                </c:pt>
                <c:pt idx="2397">
                  <c:v>36227</c:v>
                </c:pt>
                <c:pt idx="2398">
                  <c:v>36228</c:v>
                </c:pt>
                <c:pt idx="2399">
                  <c:v>36229</c:v>
                </c:pt>
                <c:pt idx="2400">
                  <c:v>36230</c:v>
                </c:pt>
                <c:pt idx="2401">
                  <c:v>36231</c:v>
                </c:pt>
                <c:pt idx="2402">
                  <c:v>36234</c:v>
                </c:pt>
                <c:pt idx="2403">
                  <c:v>36235</c:v>
                </c:pt>
                <c:pt idx="2404">
                  <c:v>36236</c:v>
                </c:pt>
                <c:pt idx="2405">
                  <c:v>36237</c:v>
                </c:pt>
                <c:pt idx="2406">
                  <c:v>36238</c:v>
                </c:pt>
                <c:pt idx="2407">
                  <c:v>36241</c:v>
                </c:pt>
                <c:pt idx="2408">
                  <c:v>36242</c:v>
                </c:pt>
                <c:pt idx="2409">
                  <c:v>36243</c:v>
                </c:pt>
                <c:pt idx="2410">
                  <c:v>36244</c:v>
                </c:pt>
                <c:pt idx="2411">
                  <c:v>36245</c:v>
                </c:pt>
                <c:pt idx="2412">
                  <c:v>36248</c:v>
                </c:pt>
                <c:pt idx="2413">
                  <c:v>36249</c:v>
                </c:pt>
                <c:pt idx="2414">
                  <c:v>36250</c:v>
                </c:pt>
                <c:pt idx="2415">
                  <c:v>36251</c:v>
                </c:pt>
                <c:pt idx="2416">
                  <c:v>36255</c:v>
                </c:pt>
                <c:pt idx="2417">
                  <c:v>36256</c:v>
                </c:pt>
                <c:pt idx="2418">
                  <c:v>36257</c:v>
                </c:pt>
                <c:pt idx="2419">
                  <c:v>36258</c:v>
                </c:pt>
                <c:pt idx="2420">
                  <c:v>36259</c:v>
                </c:pt>
                <c:pt idx="2421">
                  <c:v>36262</c:v>
                </c:pt>
                <c:pt idx="2422">
                  <c:v>36263</c:v>
                </c:pt>
                <c:pt idx="2423">
                  <c:v>36264</c:v>
                </c:pt>
                <c:pt idx="2424">
                  <c:v>36265</c:v>
                </c:pt>
                <c:pt idx="2425">
                  <c:v>36266</c:v>
                </c:pt>
                <c:pt idx="2426">
                  <c:v>36269</c:v>
                </c:pt>
                <c:pt idx="2427">
                  <c:v>36270</c:v>
                </c:pt>
                <c:pt idx="2428">
                  <c:v>36271</c:v>
                </c:pt>
                <c:pt idx="2429">
                  <c:v>36272</c:v>
                </c:pt>
                <c:pt idx="2430">
                  <c:v>36273</c:v>
                </c:pt>
                <c:pt idx="2431">
                  <c:v>36276</c:v>
                </c:pt>
                <c:pt idx="2432">
                  <c:v>36277</c:v>
                </c:pt>
                <c:pt idx="2433">
                  <c:v>36278</c:v>
                </c:pt>
                <c:pt idx="2434">
                  <c:v>36279</c:v>
                </c:pt>
                <c:pt idx="2435">
                  <c:v>36280</c:v>
                </c:pt>
                <c:pt idx="2436">
                  <c:v>36283</c:v>
                </c:pt>
                <c:pt idx="2437">
                  <c:v>36284</c:v>
                </c:pt>
                <c:pt idx="2438">
                  <c:v>36285</c:v>
                </c:pt>
                <c:pt idx="2439">
                  <c:v>36286</c:v>
                </c:pt>
                <c:pt idx="2440">
                  <c:v>36287</c:v>
                </c:pt>
                <c:pt idx="2441">
                  <c:v>36290</c:v>
                </c:pt>
                <c:pt idx="2442">
                  <c:v>36291</c:v>
                </c:pt>
                <c:pt idx="2443">
                  <c:v>36292</c:v>
                </c:pt>
                <c:pt idx="2444">
                  <c:v>36293</c:v>
                </c:pt>
                <c:pt idx="2445">
                  <c:v>36294</c:v>
                </c:pt>
                <c:pt idx="2446">
                  <c:v>36297</c:v>
                </c:pt>
                <c:pt idx="2447">
                  <c:v>36298</c:v>
                </c:pt>
                <c:pt idx="2448">
                  <c:v>36299</c:v>
                </c:pt>
                <c:pt idx="2449">
                  <c:v>36300</c:v>
                </c:pt>
                <c:pt idx="2450">
                  <c:v>36301</c:v>
                </c:pt>
                <c:pt idx="2451">
                  <c:v>36304</c:v>
                </c:pt>
                <c:pt idx="2452">
                  <c:v>36305</c:v>
                </c:pt>
                <c:pt idx="2453">
                  <c:v>36306</c:v>
                </c:pt>
                <c:pt idx="2454">
                  <c:v>36307</c:v>
                </c:pt>
                <c:pt idx="2455">
                  <c:v>36308</c:v>
                </c:pt>
                <c:pt idx="2456">
                  <c:v>36312</c:v>
                </c:pt>
                <c:pt idx="2457">
                  <c:v>36313</c:v>
                </c:pt>
                <c:pt idx="2458">
                  <c:v>36314</c:v>
                </c:pt>
                <c:pt idx="2459">
                  <c:v>36315</c:v>
                </c:pt>
                <c:pt idx="2460">
                  <c:v>36318</c:v>
                </c:pt>
                <c:pt idx="2461">
                  <c:v>36319</c:v>
                </c:pt>
                <c:pt idx="2462">
                  <c:v>36320</c:v>
                </c:pt>
                <c:pt idx="2463">
                  <c:v>36321</c:v>
                </c:pt>
                <c:pt idx="2464">
                  <c:v>36322</c:v>
                </c:pt>
                <c:pt idx="2465">
                  <c:v>36325</c:v>
                </c:pt>
                <c:pt idx="2466">
                  <c:v>36326</c:v>
                </c:pt>
                <c:pt idx="2467">
                  <c:v>36327</c:v>
                </c:pt>
                <c:pt idx="2468">
                  <c:v>36328</c:v>
                </c:pt>
                <c:pt idx="2469">
                  <c:v>36329</c:v>
                </c:pt>
                <c:pt idx="2470">
                  <c:v>36332</c:v>
                </c:pt>
                <c:pt idx="2471">
                  <c:v>36333</c:v>
                </c:pt>
                <c:pt idx="2472">
                  <c:v>36334</c:v>
                </c:pt>
                <c:pt idx="2473">
                  <c:v>36335</c:v>
                </c:pt>
                <c:pt idx="2474">
                  <c:v>36336</c:v>
                </c:pt>
                <c:pt idx="2475">
                  <c:v>36339</c:v>
                </c:pt>
                <c:pt idx="2476">
                  <c:v>36340</c:v>
                </c:pt>
                <c:pt idx="2477">
                  <c:v>36341</c:v>
                </c:pt>
                <c:pt idx="2478">
                  <c:v>36342</c:v>
                </c:pt>
                <c:pt idx="2479">
                  <c:v>36343</c:v>
                </c:pt>
                <c:pt idx="2480">
                  <c:v>36347</c:v>
                </c:pt>
                <c:pt idx="2481">
                  <c:v>36348</c:v>
                </c:pt>
                <c:pt idx="2482">
                  <c:v>36349</c:v>
                </c:pt>
                <c:pt idx="2483">
                  <c:v>36350</c:v>
                </c:pt>
                <c:pt idx="2484">
                  <c:v>36353</c:v>
                </c:pt>
                <c:pt idx="2485">
                  <c:v>36354</c:v>
                </c:pt>
                <c:pt idx="2486">
                  <c:v>36355</c:v>
                </c:pt>
                <c:pt idx="2487">
                  <c:v>36356</c:v>
                </c:pt>
                <c:pt idx="2488">
                  <c:v>36357</c:v>
                </c:pt>
                <c:pt idx="2489">
                  <c:v>36360</c:v>
                </c:pt>
                <c:pt idx="2490">
                  <c:v>36361</c:v>
                </c:pt>
                <c:pt idx="2491">
                  <c:v>36362</c:v>
                </c:pt>
                <c:pt idx="2492">
                  <c:v>36363</c:v>
                </c:pt>
                <c:pt idx="2493">
                  <c:v>36364</c:v>
                </c:pt>
                <c:pt idx="2494">
                  <c:v>36367</c:v>
                </c:pt>
                <c:pt idx="2495">
                  <c:v>36368</c:v>
                </c:pt>
                <c:pt idx="2496">
                  <c:v>36369</c:v>
                </c:pt>
                <c:pt idx="2497">
                  <c:v>36370</c:v>
                </c:pt>
                <c:pt idx="2498">
                  <c:v>36371</c:v>
                </c:pt>
                <c:pt idx="2499">
                  <c:v>36374</c:v>
                </c:pt>
                <c:pt idx="2500">
                  <c:v>36375</c:v>
                </c:pt>
                <c:pt idx="2501">
                  <c:v>36376</c:v>
                </c:pt>
                <c:pt idx="2502">
                  <c:v>36377</c:v>
                </c:pt>
                <c:pt idx="2503">
                  <c:v>36378</c:v>
                </c:pt>
                <c:pt idx="2504">
                  <c:v>36381</c:v>
                </c:pt>
                <c:pt idx="2505">
                  <c:v>36382</c:v>
                </c:pt>
                <c:pt idx="2506">
                  <c:v>36383</c:v>
                </c:pt>
                <c:pt idx="2507">
                  <c:v>36384</c:v>
                </c:pt>
                <c:pt idx="2508">
                  <c:v>36385</c:v>
                </c:pt>
                <c:pt idx="2509">
                  <c:v>36388</c:v>
                </c:pt>
                <c:pt idx="2510">
                  <c:v>36389</c:v>
                </c:pt>
                <c:pt idx="2511">
                  <c:v>36390</c:v>
                </c:pt>
                <c:pt idx="2512">
                  <c:v>36391</c:v>
                </c:pt>
                <c:pt idx="2513">
                  <c:v>36392</c:v>
                </c:pt>
                <c:pt idx="2514">
                  <c:v>36395</c:v>
                </c:pt>
                <c:pt idx="2515">
                  <c:v>36396</c:v>
                </c:pt>
                <c:pt idx="2516">
                  <c:v>36397</c:v>
                </c:pt>
                <c:pt idx="2517">
                  <c:v>36398</c:v>
                </c:pt>
                <c:pt idx="2518">
                  <c:v>36399</c:v>
                </c:pt>
                <c:pt idx="2519">
                  <c:v>36402</c:v>
                </c:pt>
                <c:pt idx="2520">
                  <c:v>36403</c:v>
                </c:pt>
                <c:pt idx="2521">
                  <c:v>36404</c:v>
                </c:pt>
                <c:pt idx="2522">
                  <c:v>36405</c:v>
                </c:pt>
                <c:pt idx="2523">
                  <c:v>36406</c:v>
                </c:pt>
                <c:pt idx="2524">
                  <c:v>36410</c:v>
                </c:pt>
                <c:pt idx="2525">
                  <c:v>36411</c:v>
                </c:pt>
                <c:pt idx="2526">
                  <c:v>36412</c:v>
                </c:pt>
                <c:pt idx="2527">
                  <c:v>36413</c:v>
                </c:pt>
                <c:pt idx="2528">
                  <c:v>36416</c:v>
                </c:pt>
                <c:pt idx="2529">
                  <c:v>36417</c:v>
                </c:pt>
                <c:pt idx="2530">
                  <c:v>36418</c:v>
                </c:pt>
                <c:pt idx="2531">
                  <c:v>36419</c:v>
                </c:pt>
                <c:pt idx="2532">
                  <c:v>36420</c:v>
                </c:pt>
                <c:pt idx="2533">
                  <c:v>36423</c:v>
                </c:pt>
                <c:pt idx="2534">
                  <c:v>36424</c:v>
                </c:pt>
                <c:pt idx="2535">
                  <c:v>36425</c:v>
                </c:pt>
                <c:pt idx="2536">
                  <c:v>36426</c:v>
                </c:pt>
                <c:pt idx="2537">
                  <c:v>36427</c:v>
                </c:pt>
                <c:pt idx="2538">
                  <c:v>36430</c:v>
                </c:pt>
                <c:pt idx="2539">
                  <c:v>36431</c:v>
                </c:pt>
                <c:pt idx="2540">
                  <c:v>36432</c:v>
                </c:pt>
                <c:pt idx="2541">
                  <c:v>36433</c:v>
                </c:pt>
                <c:pt idx="2542">
                  <c:v>36434</c:v>
                </c:pt>
                <c:pt idx="2543">
                  <c:v>36437</c:v>
                </c:pt>
                <c:pt idx="2544">
                  <c:v>36438</c:v>
                </c:pt>
                <c:pt idx="2545">
                  <c:v>36439</c:v>
                </c:pt>
                <c:pt idx="2546">
                  <c:v>36440</c:v>
                </c:pt>
                <c:pt idx="2547">
                  <c:v>36441</c:v>
                </c:pt>
                <c:pt idx="2548">
                  <c:v>36444</c:v>
                </c:pt>
                <c:pt idx="2549">
                  <c:v>36445</c:v>
                </c:pt>
                <c:pt idx="2550">
                  <c:v>36446</c:v>
                </c:pt>
                <c:pt idx="2551">
                  <c:v>36447</c:v>
                </c:pt>
                <c:pt idx="2552">
                  <c:v>36448</c:v>
                </c:pt>
                <c:pt idx="2553">
                  <c:v>36451</c:v>
                </c:pt>
                <c:pt idx="2554">
                  <c:v>36452</c:v>
                </c:pt>
                <c:pt idx="2555">
                  <c:v>36453</c:v>
                </c:pt>
                <c:pt idx="2556">
                  <c:v>36454</c:v>
                </c:pt>
                <c:pt idx="2557">
                  <c:v>36455</c:v>
                </c:pt>
                <c:pt idx="2558">
                  <c:v>36458</c:v>
                </c:pt>
                <c:pt idx="2559">
                  <c:v>36459</c:v>
                </c:pt>
                <c:pt idx="2560">
                  <c:v>36460</c:v>
                </c:pt>
                <c:pt idx="2561">
                  <c:v>36461</c:v>
                </c:pt>
                <c:pt idx="2562">
                  <c:v>36462</c:v>
                </c:pt>
                <c:pt idx="2563">
                  <c:v>36465</c:v>
                </c:pt>
                <c:pt idx="2564">
                  <c:v>36466</c:v>
                </c:pt>
                <c:pt idx="2565">
                  <c:v>36467</c:v>
                </c:pt>
                <c:pt idx="2566">
                  <c:v>36468</c:v>
                </c:pt>
                <c:pt idx="2567">
                  <c:v>36469</c:v>
                </c:pt>
                <c:pt idx="2568">
                  <c:v>36472</c:v>
                </c:pt>
                <c:pt idx="2569">
                  <c:v>36473</c:v>
                </c:pt>
                <c:pt idx="2570">
                  <c:v>36474</c:v>
                </c:pt>
                <c:pt idx="2571">
                  <c:v>36475</c:v>
                </c:pt>
                <c:pt idx="2572">
                  <c:v>36476</c:v>
                </c:pt>
                <c:pt idx="2573">
                  <c:v>36479</c:v>
                </c:pt>
                <c:pt idx="2574">
                  <c:v>36480</c:v>
                </c:pt>
                <c:pt idx="2575">
                  <c:v>36481</c:v>
                </c:pt>
                <c:pt idx="2576">
                  <c:v>36482</c:v>
                </c:pt>
                <c:pt idx="2577">
                  <c:v>36483</c:v>
                </c:pt>
                <c:pt idx="2578">
                  <c:v>36486</c:v>
                </c:pt>
                <c:pt idx="2579">
                  <c:v>36487</c:v>
                </c:pt>
                <c:pt idx="2580">
                  <c:v>36488</c:v>
                </c:pt>
                <c:pt idx="2581">
                  <c:v>36490</c:v>
                </c:pt>
                <c:pt idx="2582">
                  <c:v>36493</c:v>
                </c:pt>
                <c:pt idx="2583">
                  <c:v>36494</c:v>
                </c:pt>
                <c:pt idx="2584">
                  <c:v>36495</c:v>
                </c:pt>
                <c:pt idx="2585">
                  <c:v>36496</c:v>
                </c:pt>
                <c:pt idx="2586">
                  <c:v>36497</c:v>
                </c:pt>
                <c:pt idx="2587">
                  <c:v>36500</c:v>
                </c:pt>
                <c:pt idx="2588">
                  <c:v>36501</c:v>
                </c:pt>
                <c:pt idx="2589">
                  <c:v>36502</c:v>
                </c:pt>
                <c:pt idx="2590">
                  <c:v>36503</c:v>
                </c:pt>
                <c:pt idx="2591">
                  <c:v>36504</c:v>
                </c:pt>
                <c:pt idx="2592">
                  <c:v>36507</c:v>
                </c:pt>
                <c:pt idx="2593">
                  <c:v>36508</c:v>
                </c:pt>
                <c:pt idx="2594">
                  <c:v>36509</c:v>
                </c:pt>
                <c:pt idx="2595">
                  <c:v>36510</c:v>
                </c:pt>
                <c:pt idx="2596">
                  <c:v>36511</c:v>
                </c:pt>
                <c:pt idx="2597">
                  <c:v>36514</c:v>
                </c:pt>
                <c:pt idx="2598">
                  <c:v>36515</c:v>
                </c:pt>
                <c:pt idx="2599">
                  <c:v>36516</c:v>
                </c:pt>
                <c:pt idx="2600">
                  <c:v>36517</c:v>
                </c:pt>
                <c:pt idx="2601">
                  <c:v>36521</c:v>
                </c:pt>
                <c:pt idx="2602">
                  <c:v>36522</c:v>
                </c:pt>
                <c:pt idx="2603">
                  <c:v>36523</c:v>
                </c:pt>
                <c:pt idx="2604">
                  <c:v>36524</c:v>
                </c:pt>
                <c:pt idx="2605">
                  <c:v>36525</c:v>
                </c:pt>
                <c:pt idx="2606">
                  <c:v>36528</c:v>
                </c:pt>
                <c:pt idx="2607">
                  <c:v>36529</c:v>
                </c:pt>
                <c:pt idx="2608">
                  <c:v>36530</c:v>
                </c:pt>
                <c:pt idx="2609">
                  <c:v>36531</c:v>
                </c:pt>
                <c:pt idx="2610">
                  <c:v>36532</c:v>
                </c:pt>
                <c:pt idx="2611">
                  <c:v>36535</c:v>
                </c:pt>
                <c:pt idx="2612">
                  <c:v>36536</c:v>
                </c:pt>
                <c:pt idx="2613">
                  <c:v>36537</c:v>
                </c:pt>
                <c:pt idx="2614">
                  <c:v>36538</c:v>
                </c:pt>
                <c:pt idx="2615">
                  <c:v>36539</c:v>
                </c:pt>
                <c:pt idx="2616">
                  <c:v>36543</c:v>
                </c:pt>
                <c:pt idx="2617">
                  <c:v>36544</c:v>
                </c:pt>
                <c:pt idx="2618">
                  <c:v>36545</c:v>
                </c:pt>
                <c:pt idx="2619">
                  <c:v>36546</c:v>
                </c:pt>
                <c:pt idx="2620">
                  <c:v>36549</c:v>
                </c:pt>
                <c:pt idx="2621">
                  <c:v>36550</c:v>
                </c:pt>
                <c:pt idx="2622">
                  <c:v>36551</c:v>
                </c:pt>
                <c:pt idx="2623">
                  <c:v>36552</c:v>
                </c:pt>
                <c:pt idx="2624">
                  <c:v>36553</c:v>
                </c:pt>
                <c:pt idx="2625">
                  <c:v>36556</c:v>
                </c:pt>
                <c:pt idx="2626">
                  <c:v>36557</c:v>
                </c:pt>
                <c:pt idx="2627">
                  <c:v>36558</c:v>
                </c:pt>
                <c:pt idx="2628">
                  <c:v>36559</c:v>
                </c:pt>
                <c:pt idx="2629">
                  <c:v>36560</c:v>
                </c:pt>
                <c:pt idx="2630">
                  <c:v>36563</c:v>
                </c:pt>
                <c:pt idx="2631">
                  <c:v>36564</c:v>
                </c:pt>
                <c:pt idx="2632">
                  <c:v>36565</c:v>
                </c:pt>
                <c:pt idx="2633">
                  <c:v>36566</c:v>
                </c:pt>
                <c:pt idx="2634">
                  <c:v>36567</c:v>
                </c:pt>
                <c:pt idx="2635">
                  <c:v>36570</c:v>
                </c:pt>
                <c:pt idx="2636">
                  <c:v>36571</c:v>
                </c:pt>
                <c:pt idx="2637">
                  <c:v>36572</c:v>
                </c:pt>
                <c:pt idx="2638">
                  <c:v>36573</c:v>
                </c:pt>
                <c:pt idx="2639">
                  <c:v>36574</c:v>
                </c:pt>
                <c:pt idx="2640">
                  <c:v>36578</c:v>
                </c:pt>
                <c:pt idx="2641">
                  <c:v>36579</c:v>
                </c:pt>
                <c:pt idx="2642">
                  <c:v>36580</c:v>
                </c:pt>
                <c:pt idx="2643">
                  <c:v>36581</c:v>
                </c:pt>
                <c:pt idx="2644">
                  <c:v>36584</c:v>
                </c:pt>
                <c:pt idx="2645">
                  <c:v>36585</c:v>
                </c:pt>
                <c:pt idx="2646">
                  <c:v>36586</c:v>
                </c:pt>
                <c:pt idx="2647">
                  <c:v>36587</c:v>
                </c:pt>
                <c:pt idx="2648">
                  <c:v>36588</c:v>
                </c:pt>
                <c:pt idx="2649">
                  <c:v>36591</c:v>
                </c:pt>
                <c:pt idx="2650">
                  <c:v>36592</c:v>
                </c:pt>
                <c:pt idx="2651">
                  <c:v>36593</c:v>
                </c:pt>
                <c:pt idx="2652">
                  <c:v>36594</c:v>
                </c:pt>
                <c:pt idx="2653">
                  <c:v>36595</c:v>
                </c:pt>
                <c:pt idx="2654">
                  <c:v>36598</c:v>
                </c:pt>
                <c:pt idx="2655">
                  <c:v>36599</c:v>
                </c:pt>
                <c:pt idx="2656">
                  <c:v>36600</c:v>
                </c:pt>
                <c:pt idx="2657">
                  <c:v>36601</c:v>
                </c:pt>
                <c:pt idx="2658">
                  <c:v>36602</c:v>
                </c:pt>
                <c:pt idx="2659">
                  <c:v>36605</c:v>
                </c:pt>
                <c:pt idx="2660">
                  <c:v>36606</c:v>
                </c:pt>
                <c:pt idx="2661">
                  <c:v>36607</c:v>
                </c:pt>
                <c:pt idx="2662">
                  <c:v>36608</c:v>
                </c:pt>
                <c:pt idx="2663">
                  <c:v>36609</c:v>
                </c:pt>
                <c:pt idx="2664">
                  <c:v>36612</c:v>
                </c:pt>
                <c:pt idx="2665">
                  <c:v>36613</c:v>
                </c:pt>
                <c:pt idx="2666">
                  <c:v>36614</c:v>
                </c:pt>
                <c:pt idx="2667">
                  <c:v>36615</c:v>
                </c:pt>
                <c:pt idx="2668">
                  <c:v>36616</c:v>
                </c:pt>
                <c:pt idx="2669">
                  <c:v>36619</c:v>
                </c:pt>
                <c:pt idx="2670">
                  <c:v>36620</c:v>
                </c:pt>
                <c:pt idx="2671">
                  <c:v>36621</c:v>
                </c:pt>
                <c:pt idx="2672">
                  <c:v>36622</c:v>
                </c:pt>
                <c:pt idx="2673">
                  <c:v>36623</c:v>
                </c:pt>
                <c:pt idx="2674">
                  <c:v>36626</c:v>
                </c:pt>
                <c:pt idx="2675">
                  <c:v>36627</c:v>
                </c:pt>
                <c:pt idx="2676">
                  <c:v>36628</c:v>
                </c:pt>
                <c:pt idx="2677">
                  <c:v>36629</c:v>
                </c:pt>
                <c:pt idx="2678">
                  <c:v>36630</c:v>
                </c:pt>
                <c:pt idx="2679">
                  <c:v>36633</c:v>
                </c:pt>
                <c:pt idx="2680">
                  <c:v>36634</c:v>
                </c:pt>
                <c:pt idx="2681">
                  <c:v>36635</c:v>
                </c:pt>
                <c:pt idx="2682">
                  <c:v>36636</c:v>
                </c:pt>
                <c:pt idx="2683">
                  <c:v>36640</c:v>
                </c:pt>
                <c:pt idx="2684">
                  <c:v>36641</c:v>
                </c:pt>
                <c:pt idx="2685">
                  <c:v>36642</c:v>
                </c:pt>
                <c:pt idx="2686">
                  <c:v>36643</c:v>
                </c:pt>
                <c:pt idx="2687">
                  <c:v>36644</c:v>
                </c:pt>
                <c:pt idx="2688">
                  <c:v>36647</c:v>
                </c:pt>
                <c:pt idx="2689">
                  <c:v>36648</c:v>
                </c:pt>
                <c:pt idx="2690">
                  <c:v>36649</c:v>
                </c:pt>
                <c:pt idx="2691">
                  <c:v>36650</c:v>
                </c:pt>
                <c:pt idx="2692">
                  <c:v>36651</c:v>
                </c:pt>
                <c:pt idx="2693">
                  <c:v>36654</c:v>
                </c:pt>
                <c:pt idx="2694">
                  <c:v>36655</c:v>
                </c:pt>
                <c:pt idx="2695">
                  <c:v>36656</c:v>
                </c:pt>
                <c:pt idx="2696">
                  <c:v>36657</c:v>
                </c:pt>
                <c:pt idx="2697">
                  <c:v>36658</c:v>
                </c:pt>
                <c:pt idx="2698">
                  <c:v>36661</c:v>
                </c:pt>
                <c:pt idx="2699">
                  <c:v>36662</c:v>
                </c:pt>
                <c:pt idx="2700">
                  <c:v>36663</c:v>
                </c:pt>
                <c:pt idx="2701">
                  <c:v>36664</c:v>
                </c:pt>
                <c:pt idx="2702">
                  <c:v>36665</c:v>
                </c:pt>
                <c:pt idx="2703">
                  <c:v>36668</c:v>
                </c:pt>
                <c:pt idx="2704">
                  <c:v>36669</c:v>
                </c:pt>
                <c:pt idx="2705">
                  <c:v>36670</c:v>
                </c:pt>
                <c:pt idx="2706">
                  <c:v>36671</c:v>
                </c:pt>
                <c:pt idx="2707">
                  <c:v>36672</c:v>
                </c:pt>
                <c:pt idx="2708">
                  <c:v>36676</c:v>
                </c:pt>
                <c:pt idx="2709">
                  <c:v>36677</c:v>
                </c:pt>
                <c:pt idx="2710">
                  <c:v>36678</c:v>
                </c:pt>
                <c:pt idx="2711">
                  <c:v>36679</c:v>
                </c:pt>
                <c:pt idx="2712">
                  <c:v>36682</c:v>
                </c:pt>
                <c:pt idx="2713">
                  <c:v>36683</c:v>
                </c:pt>
                <c:pt idx="2714">
                  <c:v>36684</c:v>
                </c:pt>
                <c:pt idx="2715">
                  <c:v>36685</c:v>
                </c:pt>
                <c:pt idx="2716">
                  <c:v>36686</c:v>
                </c:pt>
                <c:pt idx="2717">
                  <c:v>36689</c:v>
                </c:pt>
                <c:pt idx="2718">
                  <c:v>36690</c:v>
                </c:pt>
                <c:pt idx="2719">
                  <c:v>36691</c:v>
                </c:pt>
                <c:pt idx="2720">
                  <c:v>36692</c:v>
                </c:pt>
                <c:pt idx="2721">
                  <c:v>36693</c:v>
                </c:pt>
                <c:pt idx="2722">
                  <c:v>36696</c:v>
                </c:pt>
                <c:pt idx="2723">
                  <c:v>36697</c:v>
                </c:pt>
                <c:pt idx="2724">
                  <c:v>36698</c:v>
                </c:pt>
                <c:pt idx="2725">
                  <c:v>36699</c:v>
                </c:pt>
                <c:pt idx="2726">
                  <c:v>36700</c:v>
                </c:pt>
                <c:pt idx="2727">
                  <c:v>36703</c:v>
                </c:pt>
                <c:pt idx="2728">
                  <c:v>36704</c:v>
                </c:pt>
                <c:pt idx="2729">
                  <c:v>36705</c:v>
                </c:pt>
                <c:pt idx="2730">
                  <c:v>36706</c:v>
                </c:pt>
                <c:pt idx="2731">
                  <c:v>36707</c:v>
                </c:pt>
                <c:pt idx="2732">
                  <c:v>36710</c:v>
                </c:pt>
                <c:pt idx="2733">
                  <c:v>36712</c:v>
                </c:pt>
                <c:pt idx="2734">
                  <c:v>36713</c:v>
                </c:pt>
                <c:pt idx="2735">
                  <c:v>36714</c:v>
                </c:pt>
                <c:pt idx="2736">
                  <c:v>36717</c:v>
                </c:pt>
                <c:pt idx="2737">
                  <c:v>36718</c:v>
                </c:pt>
                <c:pt idx="2738">
                  <c:v>36719</c:v>
                </c:pt>
                <c:pt idx="2739">
                  <c:v>36720</c:v>
                </c:pt>
                <c:pt idx="2740">
                  <c:v>36721</c:v>
                </c:pt>
                <c:pt idx="2741">
                  <c:v>36724</c:v>
                </c:pt>
                <c:pt idx="2742">
                  <c:v>36725</c:v>
                </c:pt>
                <c:pt idx="2743">
                  <c:v>36726</c:v>
                </c:pt>
                <c:pt idx="2744">
                  <c:v>36727</c:v>
                </c:pt>
                <c:pt idx="2745">
                  <c:v>36728</c:v>
                </c:pt>
                <c:pt idx="2746">
                  <c:v>36731</c:v>
                </c:pt>
                <c:pt idx="2747">
                  <c:v>36732</c:v>
                </c:pt>
                <c:pt idx="2748">
                  <c:v>36733</c:v>
                </c:pt>
                <c:pt idx="2749">
                  <c:v>36734</c:v>
                </c:pt>
                <c:pt idx="2750">
                  <c:v>36735</c:v>
                </c:pt>
                <c:pt idx="2751">
                  <c:v>36738</c:v>
                </c:pt>
                <c:pt idx="2752">
                  <c:v>36739</c:v>
                </c:pt>
                <c:pt idx="2753">
                  <c:v>36740</c:v>
                </c:pt>
                <c:pt idx="2754">
                  <c:v>36741</c:v>
                </c:pt>
                <c:pt idx="2755">
                  <c:v>36742</c:v>
                </c:pt>
                <c:pt idx="2756">
                  <c:v>36745</c:v>
                </c:pt>
                <c:pt idx="2757">
                  <c:v>36746</c:v>
                </c:pt>
                <c:pt idx="2758">
                  <c:v>36747</c:v>
                </c:pt>
                <c:pt idx="2759">
                  <c:v>36748</c:v>
                </c:pt>
                <c:pt idx="2760">
                  <c:v>36749</c:v>
                </c:pt>
                <c:pt idx="2761">
                  <c:v>36752</c:v>
                </c:pt>
                <c:pt idx="2762">
                  <c:v>36753</c:v>
                </c:pt>
                <c:pt idx="2763">
                  <c:v>36754</c:v>
                </c:pt>
                <c:pt idx="2764">
                  <c:v>36755</c:v>
                </c:pt>
                <c:pt idx="2765">
                  <c:v>36756</c:v>
                </c:pt>
                <c:pt idx="2766">
                  <c:v>36759</c:v>
                </c:pt>
                <c:pt idx="2767">
                  <c:v>36760</c:v>
                </c:pt>
                <c:pt idx="2768">
                  <c:v>36761</c:v>
                </c:pt>
                <c:pt idx="2769">
                  <c:v>36762</c:v>
                </c:pt>
                <c:pt idx="2770">
                  <c:v>36763</c:v>
                </c:pt>
                <c:pt idx="2771">
                  <c:v>36766</c:v>
                </c:pt>
                <c:pt idx="2772">
                  <c:v>36767</c:v>
                </c:pt>
                <c:pt idx="2773">
                  <c:v>36768</c:v>
                </c:pt>
                <c:pt idx="2774">
                  <c:v>36769</c:v>
                </c:pt>
                <c:pt idx="2775">
                  <c:v>36770</c:v>
                </c:pt>
                <c:pt idx="2776">
                  <c:v>36774</c:v>
                </c:pt>
                <c:pt idx="2777">
                  <c:v>36775</c:v>
                </c:pt>
                <c:pt idx="2778">
                  <c:v>36776</c:v>
                </c:pt>
                <c:pt idx="2779">
                  <c:v>36777</c:v>
                </c:pt>
                <c:pt idx="2780">
                  <c:v>36780</c:v>
                </c:pt>
                <c:pt idx="2781">
                  <c:v>36781</c:v>
                </c:pt>
                <c:pt idx="2782">
                  <c:v>36782</c:v>
                </c:pt>
                <c:pt idx="2783">
                  <c:v>36783</c:v>
                </c:pt>
                <c:pt idx="2784">
                  <c:v>36784</c:v>
                </c:pt>
                <c:pt idx="2785">
                  <c:v>36787</c:v>
                </c:pt>
                <c:pt idx="2786">
                  <c:v>36788</c:v>
                </c:pt>
                <c:pt idx="2787">
                  <c:v>36789</c:v>
                </c:pt>
                <c:pt idx="2788">
                  <c:v>36790</c:v>
                </c:pt>
                <c:pt idx="2789">
                  <c:v>36791</c:v>
                </c:pt>
                <c:pt idx="2790">
                  <c:v>36794</c:v>
                </c:pt>
                <c:pt idx="2791">
                  <c:v>36795</c:v>
                </c:pt>
                <c:pt idx="2792">
                  <c:v>36796</c:v>
                </c:pt>
                <c:pt idx="2793">
                  <c:v>36797</c:v>
                </c:pt>
                <c:pt idx="2794">
                  <c:v>36798</c:v>
                </c:pt>
                <c:pt idx="2795">
                  <c:v>36801</c:v>
                </c:pt>
                <c:pt idx="2796">
                  <c:v>36802</c:v>
                </c:pt>
                <c:pt idx="2797">
                  <c:v>36803</c:v>
                </c:pt>
                <c:pt idx="2798">
                  <c:v>36804</c:v>
                </c:pt>
                <c:pt idx="2799">
                  <c:v>36805</c:v>
                </c:pt>
                <c:pt idx="2800">
                  <c:v>36808</c:v>
                </c:pt>
                <c:pt idx="2801">
                  <c:v>36809</c:v>
                </c:pt>
                <c:pt idx="2802">
                  <c:v>36810</c:v>
                </c:pt>
                <c:pt idx="2803">
                  <c:v>36811</c:v>
                </c:pt>
                <c:pt idx="2804">
                  <c:v>36812</c:v>
                </c:pt>
                <c:pt idx="2805">
                  <c:v>36815</c:v>
                </c:pt>
                <c:pt idx="2806">
                  <c:v>36816</c:v>
                </c:pt>
                <c:pt idx="2807">
                  <c:v>36817</c:v>
                </c:pt>
                <c:pt idx="2808">
                  <c:v>36818</c:v>
                </c:pt>
                <c:pt idx="2809">
                  <c:v>36819</c:v>
                </c:pt>
                <c:pt idx="2810">
                  <c:v>36822</c:v>
                </c:pt>
                <c:pt idx="2811">
                  <c:v>36823</c:v>
                </c:pt>
                <c:pt idx="2812">
                  <c:v>36824</c:v>
                </c:pt>
                <c:pt idx="2813">
                  <c:v>36825</c:v>
                </c:pt>
                <c:pt idx="2814">
                  <c:v>36826</c:v>
                </c:pt>
                <c:pt idx="2815">
                  <c:v>36829</c:v>
                </c:pt>
                <c:pt idx="2816">
                  <c:v>36830</c:v>
                </c:pt>
                <c:pt idx="2817">
                  <c:v>36831</c:v>
                </c:pt>
                <c:pt idx="2818">
                  <c:v>36832</c:v>
                </c:pt>
                <c:pt idx="2819">
                  <c:v>36833</c:v>
                </c:pt>
                <c:pt idx="2820">
                  <c:v>36836</c:v>
                </c:pt>
                <c:pt idx="2821">
                  <c:v>36837</c:v>
                </c:pt>
                <c:pt idx="2822">
                  <c:v>36838</c:v>
                </c:pt>
                <c:pt idx="2823">
                  <c:v>36839</c:v>
                </c:pt>
                <c:pt idx="2824">
                  <c:v>36840</c:v>
                </c:pt>
                <c:pt idx="2825">
                  <c:v>36843</c:v>
                </c:pt>
                <c:pt idx="2826">
                  <c:v>36844</c:v>
                </c:pt>
                <c:pt idx="2827">
                  <c:v>36845</c:v>
                </c:pt>
                <c:pt idx="2828">
                  <c:v>36846</c:v>
                </c:pt>
                <c:pt idx="2829">
                  <c:v>36847</c:v>
                </c:pt>
                <c:pt idx="2830">
                  <c:v>36850</c:v>
                </c:pt>
                <c:pt idx="2831">
                  <c:v>36851</c:v>
                </c:pt>
                <c:pt idx="2832">
                  <c:v>36852</c:v>
                </c:pt>
                <c:pt idx="2833">
                  <c:v>36854</c:v>
                </c:pt>
                <c:pt idx="2834">
                  <c:v>36857</c:v>
                </c:pt>
                <c:pt idx="2835">
                  <c:v>36858</c:v>
                </c:pt>
                <c:pt idx="2836">
                  <c:v>36859</c:v>
                </c:pt>
                <c:pt idx="2837">
                  <c:v>36860</c:v>
                </c:pt>
                <c:pt idx="2838">
                  <c:v>36861</c:v>
                </c:pt>
                <c:pt idx="2839">
                  <c:v>36864</c:v>
                </c:pt>
                <c:pt idx="2840">
                  <c:v>36865</c:v>
                </c:pt>
                <c:pt idx="2841">
                  <c:v>36866</c:v>
                </c:pt>
                <c:pt idx="2842">
                  <c:v>36867</c:v>
                </c:pt>
                <c:pt idx="2843">
                  <c:v>36868</c:v>
                </c:pt>
                <c:pt idx="2844">
                  <c:v>36871</c:v>
                </c:pt>
                <c:pt idx="2845">
                  <c:v>36872</c:v>
                </c:pt>
                <c:pt idx="2846">
                  <c:v>36873</c:v>
                </c:pt>
                <c:pt idx="2847">
                  <c:v>36874</c:v>
                </c:pt>
                <c:pt idx="2848">
                  <c:v>36875</c:v>
                </c:pt>
                <c:pt idx="2849">
                  <c:v>36878</c:v>
                </c:pt>
                <c:pt idx="2850">
                  <c:v>36879</c:v>
                </c:pt>
                <c:pt idx="2851">
                  <c:v>36880</c:v>
                </c:pt>
                <c:pt idx="2852">
                  <c:v>36881</c:v>
                </c:pt>
                <c:pt idx="2853">
                  <c:v>36882</c:v>
                </c:pt>
                <c:pt idx="2854">
                  <c:v>36886</c:v>
                </c:pt>
                <c:pt idx="2855">
                  <c:v>36887</c:v>
                </c:pt>
                <c:pt idx="2856">
                  <c:v>36888</c:v>
                </c:pt>
                <c:pt idx="2857">
                  <c:v>36889</c:v>
                </c:pt>
                <c:pt idx="2858">
                  <c:v>36893</c:v>
                </c:pt>
                <c:pt idx="2859">
                  <c:v>36894</c:v>
                </c:pt>
                <c:pt idx="2860">
                  <c:v>36895</c:v>
                </c:pt>
                <c:pt idx="2861">
                  <c:v>36896</c:v>
                </c:pt>
                <c:pt idx="2862">
                  <c:v>36899</c:v>
                </c:pt>
                <c:pt idx="2863">
                  <c:v>36900</c:v>
                </c:pt>
                <c:pt idx="2864">
                  <c:v>36901</c:v>
                </c:pt>
                <c:pt idx="2865">
                  <c:v>36902</c:v>
                </c:pt>
                <c:pt idx="2866">
                  <c:v>36903</c:v>
                </c:pt>
                <c:pt idx="2867">
                  <c:v>36907</c:v>
                </c:pt>
                <c:pt idx="2868">
                  <c:v>36908</c:v>
                </c:pt>
                <c:pt idx="2869">
                  <c:v>36909</c:v>
                </c:pt>
                <c:pt idx="2870">
                  <c:v>36910</c:v>
                </c:pt>
                <c:pt idx="2871">
                  <c:v>36913</c:v>
                </c:pt>
                <c:pt idx="2872">
                  <c:v>36914</c:v>
                </c:pt>
                <c:pt idx="2873">
                  <c:v>36915</c:v>
                </c:pt>
                <c:pt idx="2874">
                  <c:v>36916</c:v>
                </c:pt>
                <c:pt idx="2875">
                  <c:v>36917</c:v>
                </c:pt>
                <c:pt idx="2876">
                  <c:v>36920</c:v>
                </c:pt>
                <c:pt idx="2877">
                  <c:v>36921</c:v>
                </c:pt>
                <c:pt idx="2878">
                  <c:v>36922</c:v>
                </c:pt>
                <c:pt idx="2879">
                  <c:v>36923</c:v>
                </c:pt>
                <c:pt idx="2880">
                  <c:v>36924</c:v>
                </c:pt>
                <c:pt idx="2881">
                  <c:v>36927</c:v>
                </c:pt>
                <c:pt idx="2882">
                  <c:v>36928</c:v>
                </c:pt>
                <c:pt idx="2883">
                  <c:v>36929</c:v>
                </c:pt>
                <c:pt idx="2884">
                  <c:v>36930</c:v>
                </c:pt>
                <c:pt idx="2885">
                  <c:v>36931</c:v>
                </c:pt>
                <c:pt idx="2886">
                  <c:v>36934</c:v>
                </c:pt>
                <c:pt idx="2887">
                  <c:v>36935</c:v>
                </c:pt>
                <c:pt idx="2888">
                  <c:v>36936</c:v>
                </c:pt>
                <c:pt idx="2889">
                  <c:v>36937</c:v>
                </c:pt>
                <c:pt idx="2890">
                  <c:v>36938</c:v>
                </c:pt>
                <c:pt idx="2891">
                  <c:v>36942</c:v>
                </c:pt>
                <c:pt idx="2892">
                  <c:v>36943</c:v>
                </c:pt>
                <c:pt idx="2893">
                  <c:v>36944</c:v>
                </c:pt>
                <c:pt idx="2894">
                  <c:v>36945</c:v>
                </c:pt>
                <c:pt idx="2895">
                  <c:v>36948</c:v>
                </c:pt>
                <c:pt idx="2896">
                  <c:v>36949</c:v>
                </c:pt>
                <c:pt idx="2897">
                  <c:v>36950</c:v>
                </c:pt>
                <c:pt idx="2898">
                  <c:v>36951</c:v>
                </c:pt>
                <c:pt idx="2899">
                  <c:v>36952</c:v>
                </c:pt>
                <c:pt idx="2900">
                  <c:v>36955</c:v>
                </c:pt>
                <c:pt idx="2901">
                  <c:v>36956</c:v>
                </c:pt>
                <c:pt idx="2902">
                  <c:v>36957</c:v>
                </c:pt>
                <c:pt idx="2903">
                  <c:v>36958</c:v>
                </c:pt>
                <c:pt idx="2904">
                  <c:v>36959</c:v>
                </c:pt>
                <c:pt idx="2905">
                  <c:v>36962</c:v>
                </c:pt>
                <c:pt idx="2906">
                  <c:v>36963</c:v>
                </c:pt>
                <c:pt idx="2907">
                  <c:v>36964</c:v>
                </c:pt>
                <c:pt idx="2908">
                  <c:v>36965</c:v>
                </c:pt>
                <c:pt idx="2909">
                  <c:v>36966</c:v>
                </c:pt>
                <c:pt idx="2910">
                  <c:v>36969</c:v>
                </c:pt>
                <c:pt idx="2911">
                  <c:v>36970</c:v>
                </c:pt>
                <c:pt idx="2912">
                  <c:v>36971</c:v>
                </c:pt>
                <c:pt idx="2913">
                  <c:v>36972</c:v>
                </c:pt>
                <c:pt idx="2914">
                  <c:v>36973</c:v>
                </c:pt>
                <c:pt idx="2915">
                  <c:v>36976</c:v>
                </c:pt>
                <c:pt idx="2916">
                  <c:v>36977</c:v>
                </c:pt>
                <c:pt idx="2917">
                  <c:v>36978</c:v>
                </c:pt>
                <c:pt idx="2918">
                  <c:v>36979</c:v>
                </c:pt>
                <c:pt idx="2919">
                  <c:v>36980</c:v>
                </c:pt>
                <c:pt idx="2920">
                  <c:v>36983</c:v>
                </c:pt>
                <c:pt idx="2921">
                  <c:v>36984</c:v>
                </c:pt>
                <c:pt idx="2922">
                  <c:v>36985</c:v>
                </c:pt>
                <c:pt idx="2923">
                  <c:v>36986</c:v>
                </c:pt>
                <c:pt idx="2924">
                  <c:v>36987</c:v>
                </c:pt>
                <c:pt idx="2925">
                  <c:v>36990</c:v>
                </c:pt>
                <c:pt idx="2926">
                  <c:v>36991</c:v>
                </c:pt>
                <c:pt idx="2927">
                  <c:v>36992</c:v>
                </c:pt>
                <c:pt idx="2928">
                  <c:v>36993</c:v>
                </c:pt>
                <c:pt idx="2929">
                  <c:v>36997</c:v>
                </c:pt>
                <c:pt idx="2930">
                  <c:v>36998</c:v>
                </c:pt>
                <c:pt idx="2931">
                  <c:v>36999</c:v>
                </c:pt>
                <c:pt idx="2932">
                  <c:v>37000</c:v>
                </c:pt>
                <c:pt idx="2933">
                  <c:v>37001</c:v>
                </c:pt>
                <c:pt idx="2934">
                  <c:v>37004</c:v>
                </c:pt>
                <c:pt idx="2935">
                  <c:v>37005</c:v>
                </c:pt>
                <c:pt idx="2936">
                  <c:v>37006</c:v>
                </c:pt>
                <c:pt idx="2937">
                  <c:v>37007</c:v>
                </c:pt>
                <c:pt idx="2938">
                  <c:v>37008</c:v>
                </c:pt>
                <c:pt idx="2939">
                  <c:v>37011</c:v>
                </c:pt>
                <c:pt idx="2940">
                  <c:v>37012</c:v>
                </c:pt>
                <c:pt idx="2941">
                  <c:v>37013</c:v>
                </c:pt>
                <c:pt idx="2942">
                  <c:v>37014</c:v>
                </c:pt>
                <c:pt idx="2943">
                  <c:v>37015</c:v>
                </c:pt>
                <c:pt idx="2944">
                  <c:v>37018</c:v>
                </c:pt>
                <c:pt idx="2945">
                  <c:v>37019</c:v>
                </c:pt>
                <c:pt idx="2946">
                  <c:v>37020</c:v>
                </c:pt>
                <c:pt idx="2947">
                  <c:v>37021</c:v>
                </c:pt>
                <c:pt idx="2948">
                  <c:v>37022</c:v>
                </c:pt>
                <c:pt idx="2949">
                  <c:v>37025</c:v>
                </c:pt>
                <c:pt idx="2950">
                  <c:v>37026</c:v>
                </c:pt>
                <c:pt idx="2951">
                  <c:v>37027</c:v>
                </c:pt>
                <c:pt idx="2952">
                  <c:v>37028</c:v>
                </c:pt>
                <c:pt idx="2953">
                  <c:v>37029</c:v>
                </c:pt>
                <c:pt idx="2954">
                  <c:v>37032</c:v>
                </c:pt>
                <c:pt idx="2955">
                  <c:v>37033</c:v>
                </c:pt>
                <c:pt idx="2956">
                  <c:v>37034</c:v>
                </c:pt>
                <c:pt idx="2957">
                  <c:v>37035</c:v>
                </c:pt>
                <c:pt idx="2958">
                  <c:v>37036</c:v>
                </c:pt>
                <c:pt idx="2959">
                  <c:v>37040</c:v>
                </c:pt>
                <c:pt idx="2960">
                  <c:v>37041</c:v>
                </c:pt>
                <c:pt idx="2961">
                  <c:v>37042</c:v>
                </c:pt>
                <c:pt idx="2962">
                  <c:v>37043</c:v>
                </c:pt>
                <c:pt idx="2963">
                  <c:v>37046</c:v>
                </c:pt>
                <c:pt idx="2964">
                  <c:v>37047</c:v>
                </c:pt>
                <c:pt idx="2965">
                  <c:v>37048</c:v>
                </c:pt>
                <c:pt idx="2966">
                  <c:v>37049</c:v>
                </c:pt>
                <c:pt idx="2967">
                  <c:v>37050</c:v>
                </c:pt>
                <c:pt idx="2968">
                  <c:v>37053</c:v>
                </c:pt>
                <c:pt idx="2969">
                  <c:v>37054</c:v>
                </c:pt>
                <c:pt idx="2970">
                  <c:v>37055</c:v>
                </c:pt>
                <c:pt idx="2971">
                  <c:v>37056</c:v>
                </c:pt>
                <c:pt idx="2972">
                  <c:v>37057</c:v>
                </c:pt>
                <c:pt idx="2973">
                  <c:v>37060</c:v>
                </c:pt>
                <c:pt idx="2974">
                  <c:v>37061</c:v>
                </c:pt>
                <c:pt idx="2975">
                  <c:v>37062</c:v>
                </c:pt>
                <c:pt idx="2976">
                  <c:v>37063</c:v>
                </c:pt>
                <c:pt idx="2977">
                  <c:v>37064</c:v>
                </c:pt>
                <c:pt idx="2978">
                  <c:v>37067</c:v>
                </c:pt>
                <c:pt idx="2979">
                  <c:v>37068</c:v>
                </c:pt>
                <c:pt idx="2980">
                  <c:v>37069</c:v>
                </c:pt>
                <c:pt idx="2981">
                  <c:v>37070</c:v>
                </c:pt>
                <c:pt idx="2982">
                  <c:v>37071</c:v>
                </c:pt>
                <c:pt idx="2983">
                  <c:v>37074</c:v>
                </c:pt>
                <c:pt idx="2984">
                  <c:v>37075</c:v>
                </c:pt>
                <c:pt idx="2985">
                  <c:v>37077</c:v>
                </c:pt>
                <c:pt idx="2986">
                  <c:v>37078</c:v>
                </c:pt>
                <c:pt idx="2987">
                  <c:v>37081</c:v>
                </c:pt>
                <c:pt idx="2988">
                  <c:v>37082</c:v>
                </c:pt>
                <c:pt idx="2989">
                  <c:v>37083</c:v>
                </c:pt>
                <c:pt idx="2990">
                  <c:v>37084</c:v>
                </c:pt>
                <c:pt idx="2991">
                  <c:v>37085</c:v>
                </c:pt>
                <c:pt idx="2992">
                  <c:v>37088</c:v>
                </c:pt>
                <c:pt idx="2993">
                  <c:v>37089</c:v>
                </c:pt>
                <c:pt idx="2994">
                  <c:v>37090</c:v>
                </c:pt>
                <c:pt idx="2995">
                  <c:v>37091</c:v>
                </c:pt>
                <c:pt idx="2996">
                  <c:v>37092</c:v>
                </c:pt>
                <c:pt idx="2997">
                  <c:v>37095</c:v>
                </c:pt>
                <c:pt idx="2998">
                  <c:v>37096</c:v>
                </c:pt>
                <c:pt idx="2999">
                  <c:v>37097</c:v>
                </c:pt>
                <c:pt idx="3000">
                  <c:v>37098</c:v>
                </c:pt>
                <c:pt idx="3001">
                  <c:v>37099</c:v>
                </c:pt>
                <c:pt idx="3002">
                  <c:v>37102</c:v>
                </c:pt>
                <c:pt idx="3003">
                  <c:v>37103</c:v>
                </c:pt>
                <c:pt idx="3004">
                  <c:v>37104</c:v>
                </c:pt>
                <c:pt idx="3005">
                  <c:v>37105</c:v>
                </c:pt>
                <c:pt idx="3006">
                  <c:v>37106</c:v>
                </c:pt>
                <c:pt idx="3007">
                  <c:v>37109</c:v>
                </c:pt>
                <c:pt idx="3008">
                  <c:v>37110</c:v>
                </c:pt>
                <c:pt idx="3009">
                  <c:v>37111</c:v>
                </c:pt>
                <c:pt idx="3010">
                  <c:v>37112</c:v>
                </c:pt>
                <c:pt idx="3011">
                  <c:v>37113</c:v>
                </c:pt>
                <c:pt idx="3012">
                  <c:v>37116</c:v>
                </c:pt>
                <c:pt idx="3013">
                  <c:v>37117</c:v>
                </c:pt>
                <c:pt idx="3014">
                  <c:v>37118</c:v>
                </c:pt>
                <c:pt idx="3015">
                  <c:v>37119</c:v>
                </c:pt>
                <c:pt idx="3016">
                  <c:v>37120</c:v>
                </c:pt>
                <c:pt idx="3017">
                  <c:v>37123</c:v>
                </c:pt>
                <c:pt idx="3018">
                  <c:v>37124</c:v>
                </c:pt>
                <c:pt idx="3019">
                  <c:v>37125</c:v>
                </c:pt>
                <c:pt idx="3020">
                  <c:v>37126</c:v>
                </c:pt>
                <c:pt idx="3021">
                  <c:v>37127</c:v>
                </c:pt>
                <c:pt idx="3022">
                  <c:v>37130</c:v>
                </c:pt>
                <c:pt idx="3023">
                  <c:v>37131</c:v>
                </c:pt>
                <c:pt idx="3024">
                  <c:v>37132</c:v>
                </c:pt>
                <c:pt idx="3025">
                  <c:v>37133</c:v>
                </c:pt>
                <c:pt idx="3026">
                  <c:v>37134</c:v>
                </c:pt>
                <c:pt idx="3027">
                  <c:v>37138</c:v>
                </c:pt>
                <c:pt idx="3028">
                  <c:v>37139</c:v>
                </c:pt>
                <c:pt idx="3029">
                  <c:v>37140</c:v>
                </c:pt>
                <c:pt idx="3030">
                  <c:v>37141</c:v>
                </c:pt>
                <c:pt idx="3031">
                  <c:v>37144</c:v>
                </c:pt>
                <c:pt idx="3032">
                  <c:v>37145</c:v>
                </c:pt>
                <c:pt idx="3033">
                  <c:v>37146</c:v>
                </c:pt>
                <c:pt idx="3034">
                  <c:v>37147</c:v>
                </c:pt>
                <c:pt idx="3035">
                  <c:v>37148</c:v>
                </c:pt>
                <c:pt idx="3036">
                  <c:v>37151</c:v>
                </c:pt>
                <c:pt idx="3037">
                  <c:v>37152</c:v>
                </c:pt>
                <c:pt idx="3038">
                  <c:v>37153</c:v>
                </c:pt>
                <c:pt idx="3039">
                  <c:v>37154</c:v>
                </c:pt>
                <c:pt idx="3040">
                  <c:v>37155</c:v>
                </c:pt>
                <c:pt idx="3041">
                  <c:v>37158</c:v>
                </c:pt>
                <c:pt idx="3042">
                  <c:v>37159</c:v>
                </c:pt>
                <c:pt idx="3043">
                  <c:v>37160</c:v>
                </c:pt>
                <c:pt idx="3044">
                  <c:v>37161</c:v>
                </c:pt>
                <c:pt idx="3045">
                  <c:v>37162</c:v>
                </c:pt>
                <c:pt idx="3046">
                  <c:v>37165</c:v>
                </c:pt>
                <c:pt idx="3047">
                  <c:v>37166</c:v>
                </c:pt>
                <c:pt idx="3048">
                  <c:v>37167</c:v>
                </c:pt>
                <c:pt idx="3049">
                  <c:v>37168</c:v>
                </c:pt>
                <c:pt idx="3050">
                  <c:v>37169</c:v>
                </c:pt>
                <c:pt idx="3051">
                  <c:v>37172</c:v>
                </c:pt>
                <c:pt idx="3052">
                  <c:v>37173</c:v>
                </c:pt>
                <c:pt idx="3053">
                  <c:v>37174</c:v>
                </c:pt>
                <c:pt idx="3054">
                  <c:v>37175</c:v>
                </c:pt>
                <c:pt idx="3055">
                  <c:v>37176</c:v>
                </c:pt>
                <c:pt idx="3056">
                  <c:v>37179</c:v>
                </c:pt>
                <c:pt idx="3057">
                  <c:v>37180</c:v>
                </c:pt>
                <c:pt idx="3058">
                  <c:v>37181</c:v>
                </c:pt>
                <c:pt idx="3059">
                  <c:v>37182</c:v>
                </c:pt>
                <c:pt idx="3060">
                  <c:v>37183</c:v>
                </c:pt>
                <c:pt idx="3061">
                  <c:v>37186</c:v>
                </c:pt>
                <c:pt idx="3062">
                  <c:v>37187</c:v>
                </c:pt>
                <c:pt idx="3063">
                  <c:v>37188</c:v>
                </c:pt>
                <c:pt idx="3064">
                  <c:v>37189</c:v>
                </c:pt>
                <c:pt idx="3065">
                  <c:v>37190</c:v>
                </c:pt>
                <c:pt idx="3066">
                  <c:v>37193</c:v>
                </c:pt>
                <c:pt idx="3067">
                  <c:v>37194</c:v>
                </c:pt>
                <c:pt idx="3068">
                  <c:v>37195</c:v>
                </c:pt>
                <c:pt idx="3069">
                  <c:v>37196</c:v>
                </c:pt>
                <c:pt idx="3070">
                  <c:v>37197</c:v>
                </c:pt>
                <c:pt idx="3071">
                  <c:v>37200</c:v>
                </c:pt>
                <c:pt idx="3072">
                  <c:v>37201</c:v>
                </c:pt>
                <c:pt idx="3073">
                  <c:v>37202</c:v>
                </c:pt>
                <c:pt idx="3074">
                  <c:v>37203</c:v>
                </c:pt>
                <c:pt idx="3075">
                  <c:v>37204</c:v>
                </c:pt>
                <c:pt idx="3076">
                  <c:v>37207</c:v>
                </c:pt>
                <c:pt idx="3077">
                  <c:v>37208</c:v>
                </c:pt>
                <c:pt idx="3078">
                  <c:v>37209</c:v>
                </c:pt>
                <c:pt idx="3079">
                  <c:v>37210</c:v>
                </c:pt>
                <c:pt idx="3080">
                  <c:v>37211</c:v>
                </c:pt>
                <c:pt idx="3081">
                  <c:v>37214</c:v>
                </c:pt>
                <c:pt idx="3082">
                  <c:v>37215</c:v>
                </c:pt>
                <c:pt idx="3083">
                  <c:v>37216</c:v>
                </c:pt>
                <c:pt idx="3084">
                  <c:v>37218</c:v>
                </c:pt>
                <c:pt idx="3085">
                  <c:v>37221</c:v>
                </c:pt>
                <c:pt idx="3086">
                  <c:v>37222</c:v>
                </c:pt>
                <c:pt idx="3087">
                  <c:v>37223</c:v>
                </c:pt>
                <c:pt idx="3088">
                  <c:v>37224</c:v>
                </c:pt>
                <c:pt idx="3089">
                  <c:v>37225</c:v>
                </c:pt>
                <c:pt idx="3090">
                  <c:v>37228</c:v>
                </c:pt>
                <c:pt idx="3091">
                  <c:v>37229</c:v>
                </c:pt>
                <c:pt idx="3092">
                  <c:v>37230</c:v>
                </c:pt>
                <c:pt idx="3093">
                  <c:v>37231</c:v>
                </c:pt>
                <c:pt idx="3094">
                  <c:v>37232</c:v>
                </c:pt>
                <c:pt idx="3095">
                  <c:v>37235</c:v>
                </c:pt>
                <c:pt idx="3096">
                  <c:v>37236</c:v>
                </c:pt>
                <c:pt idx="3097">
                  <c:v>37237</c:v>
                </c:pt>
                <c:pt idx="3098">
                  <c:v>37238</c:v>
                </c:pt>
                <c:pt idx="3099">
                  <c:v>37239</c:v>
                </c:pt>
                <c:pt idx="3100">
                  <c:v>37242</c:v>
                </c:pt>
                <c:pt idx="3101">
                  <c:v>37243</c:v>
                </c:pt>
                <c:pt idx="3102">
                  <c:v>37244</c:v>
                </c:pt>
                <c:pt idx="3103">
                  <c:v>37245</c:v>
                </c:pt>
                <c:pt idx="3104">
                  <c:v>37246</c:v>
                </c:pt>
                <c:pt idx="3105">
                  <c:v>37249</c:v>
                </c:pt>
                <c:pt idx="3106">
                  <c:v>37251</c:v>
                </c:pt>
                <c:pt idx="3107">
                  <c:v>37252</c:v>
                </c:pt>
                <c:pt idx="3108">
                  <c:v>37253</c:v>
                </c:pt>
                <c:pt idx="3109">
                  <c:v>37256</c:v>
                </c:pt>
                <c:pt idx="3110">
                  <c:v>37258</c:v>
                </c:pt>
                <c:pt idx="3111">
                  <c:v>37259</c:v>
                </c:pt>
                <c:pt idx="3112">
                  <c:v>37260</c:v>
                </c:pt>
                <c:pt idx="3113">
                  <c:v>37263</c:v>
                </c:pt>
                <c:pt idx="3114">
                  <c:v>37264</c:v>
                </c:pt>
                <c:pt idx="3115">
                  <c:v>37265</c:v>
                </c:pt>
                <c:pt idx="3116">
                  <c:v>37266</c:v>
                </c:pt>
                <c:pt idx="3117">
                  <c:v>37267</c:v>
                </c:pt>
                <c:pt idx="3118">
                  <c:v>37270</c:v>
                </c:pt>
                <c:pt idx="3119">
                  <c:v>37271</c:v>
                </c:pt>
                <c:pt idx="3120">
                  <c:v>37272</c:v>
                </c:pt>
                <c:pt idx="3121">
                  <c:v>37273</c:v>
                </c:pt>
                <c:pt idx="3122">
                  <c:v>37274</c:v>
                </c:pt>
                <c:pt idx="3123">
                  <c:v>37278</c:v>
                </c:pt>
                <c:pt idx="3124">
                  <c:v>37279</c:v>
                </c:pt>
                <c:pt idx="3125">
                  <c:v>37280</c:v>
                </c:pt>
                <c:pt idx="3126">
                  <c:v>37281</c:v>
                </c:pt>
                <c:pt idx="3127">
                  <c:v>37284</c:v>
                </c:pt>
                <c:pt idx="3128">
                  <c:v>37285</c:v>
                </c:pt>
                <c:pt idx="3129">
                  <c:v>37286</c:v>
                </c:pt>
                <c:pt idx="3130">
                  <c:v>37287</c:v>
                </c:pt>
                <c:pt idx="3131">
                  <c:v>37288</c:v>
                </c:pt>
                <c:pt idx="3132">
                  <c:v>37291</c:v>
                </c:pt>
                <c:pt idx="3133">
                  <c:v>37292</c:v>
                </c:pt>
                <c:pt idx="3134">
                  <c:v>37293</c:v>
                </c:pt>
                <c:pt idx="3135">
                  <c:v>37294</c:v>
                </c:pt>
                <c:pt idx="3136">
                  <c:v>37295</c:v>
                </c:pt>
                <c:pt idx="3137">
                  <c:v>37298</c:v>
                </c:pt>
                <c:pt idx="3138">
                  <c:v>37299</c:v>
                </c:pt>
                <c:pt idx="3139">
                  <c:v>37300</c:v>
                </c:pt>
                <c:pt idx="3140">
                  <c:v>37301</c:v>
                </c:pt>
                <c:pt idx="3141">
                  <c:v>37302</c:v>
                </c:pt>
                <c:pt idx="3142">
                  <c:v>37306</c:v>
                </c:pt>
                <c:pt idx="3143">
                  <c:v>37307</c:v>
                </c:pt>
                <c:pt idx="3144">
                  <c:v>37308</c:v>
                </c:pt>
                <c:pt idx="3145">
                  <c:v>37309</c:v>
                </c:pt>
                <c:pt idx="3146">
                  <c:v>37312</c:v>
                </c:pt>
                <c:pt idx="3147">
                  <c:v>37313</c:v>
                </c:pt>
                <c:pt idx="3148">
                  <c:v>37314</c:v>
                </c:pt>
                <c:pt idx="3149">
                  <c:v>37315</c:v>
                </c:pt>
                <c:pt idx="3150">
                  <c:v>37316</c:v>
                </c:pt>
                <c:pt idx="3151">
                  <c:v>37319</c:v>
                </c:pt>
                <c:pt idx="3152">
                  <c:v>37320</c:v>
                </c:pt>
                <c:pt idx="3153">
                  <c:v>37321</c:v>
                </c:pt>
                <c:pt idx="3154">
                  <c:v>37322</c:v>
                </c:pt>
                <c:pt idx="3155">
                  <c:v>37323</c:v>
                </c:pt>
                <c:pt idx="3156">
                  <c:v>37326</c:v>
                </c:pt>
                <c:pt idx="3157">
                  <c:v>37327</c:v>
                </c:pt>
                <c:pt idx="3158">
                  <c:v>37328</c:v>
                </c:pt>
                <c:pt idx="3159">
                  <c:v>37329</c:v>
                </c:pt>
                <c:pt idx="3160">
                  <c:v>37330</c:v>
                </c:pt>
                <c:pt idx="3161">
                  <c:v>37333</c:v>
                </c:pt>
                <c:pt idx="3162">
                  <c:v>37334</c:v>
                </c:pt>
                <c:pt idx="3163">
                  <c:v>37335</c:v>
                </c:pt>
                <c:pt idx="3164">
                  <c:v>37336</c:v>
                </c:pt>
                <c:pt idx="3165">
                  <c:v>37337</c:v>
                </c:pt>
                <c:pt idx="3166">
                  <c:v>37340</c:v>
                </c:pt>
                <c:pt idx="3167">
                  <c:v>37341</c:v>
                </c:pt>
                <c:pt idx="3168">
                  <c:v>37342</c:v>
                </c:pt>
                <c:pt idx="3169">
                  <c:v>37343</c:v>
                </c:pt>
                <c:pt idx="3170">
                  <c:v>37347</c:v>
                </c:pt>
                <c:pt idx="3171">
                  <c:v>37348</c:v>
                </c:pt>
                <c:pt idx="3172">
                  <c:v>37349</c:v>
                </c:pt>
                <c:pt idx="3173">
                  <c:v>37350</c:v>
                </c:pt>
                <c:pt idx="3174">
                  <c:v>37351</c:v>
                </c:pt>
                <c:pt idx="3175">
                  <c:v>37354</c:v>
                </c:pt>
                <c:pt idx="3176">
                  <c:v>37355</c:v>
                </c:pt>
                <c:pt idx="3177">
                  <c:v>37356</c:v>
                </c:pt>
                <c:pt idx="3178">
                  <c:v>37357</c:v>
                </c:pt>
                <c:pt idx="3179">
                  <c:v>37358</c:v>
                </c:pt>
                <c:pt idx="3180">
                  <c:v>37361</c:v>
                </c:pt>
                <c:pt idx="3181">
                  <c:v>37362</c:v>
                </c:pt>
                <c:pt idx="3182">
                  <c:v>37363</c:v>
                </c:pt>
                <c:pt idx="3183">
                  <c:v>37364</c:v>
                </c:pt>
                <c:pt idx="3184">
                  <c:v>37365</c:v>
                </c:pt>
                <c:pt idx="3185">
                  <c:v>37368</c:v>
                </c:pt>
                <c:pt idx="3186">
                  <c:v>37369</c:v>
                </c:pt>
                <c:pt idx="3187">
                  <c:v>37370</c:v>
                </c:pt>
                <c:pt idx="3188">
                  <c:v>37371</c:v>
                </c:pt>
                <c:pt idx="3189">
                  <c:v>37372</c:v>
                </c:pt>
                <c:pt idx="3190">
                  <c:v>37375</c:v>
                </c:pt>
                <c:pt idx="3191">
                  <c:v>37376</c:v>
                </c:pt>
                <c:pt idx="3192">
                  <c:v>37377</c:v>
                </c:pt>
                <c:pt idx="3193">
                  <c:v>37378</c:v>
                </c:pt>
                <c:pt idx="3194">
                  <c:v>37379</c:v>
                </c:pt>
                <c:pt idx="3195">
                  <c:v>37382</c:v>
                </c:pt>
                <c:pt idx="3196">
                  <c:v>37383</c:v>
                </c:pt>
                <c:pt idx="3197">
                  <c:v>37384</c:v>
                </c:pt>
                <c:pt idx="3198">
                  <c:v>37385</c:v>
                </c:pt>
                <c:pt idx="3199">
                  <c:v>37386</c:v>
                </c:pt>
                <c:pt idx="3200">
                  <c:v>37389</c:v>
                </c:pt>
                <c:pt idx="3201">
                  <c:v>37390</c:v>
                </c:pt>
                <c:pt idx="3202">
                  <c:v>37391</c:v>
                </c:pt>
                <c:pt idx="3203">
                  <c:v>37392</c:v>
                </c:pt>
                <c:pt idx="3204">
                  <c:v>37393</c:v>
                </c:pt>
                <c:pt idx="3205">
                  <c:v>37396</c:v>
                </c:pt>
                <c:pt idx="3206">
                  <c:v>37397</c:v>
                </c:pt>
                <c:pt idx="3207">
                  <c:v>37398</c:v>
                </c:pt>
                <c:pt idx="3208">
                  <c:v>37399</c:v>
                </c:pt>
                <c:pt idx="3209">
                  <c:v>37400</c:v>
                </c:pt>
                <c:pt idx="3210">
                  <c:v>37404</c:v>
                </c:pt>
                <c:pt idx="3211">
                  <c:v>37405</c:v>
                </c:pt>
                <c:pt idx="3212">
                  <c:v>37406</c:v>
                </c:pt>
                <c:pt idx="3213">
                  <c:v>37407</c:v>
                </c:pt>
                <c:pt idx="3214">
                  <c:v>37410</c:v>
                </c:pt>
                <c:pt idx="3215">
                  <c:v>37411</c:v>
                </c:pt>
                <c:pt idx="3216">
                  <c:v>37412</c:v>
                </c:pt>
                <c:pt idx="3217">
                  <c:v>37413</c:v>
                </c:pt>
                <c:pt idx="3218">
                  <c:v>37414</c:v>
                </c:pt>
                <c:pt idx="3219">
                  <c:v>37417</c:v>
                </c:pt>
                <c:pt idx="3220">
                  <c:v>37418</c:v>
                </c:pt>
                <c:pt idx="3221">
                  <c:v>37419</c:v>
                </c:pt>
                <c:pt idx="3222">
                  <c:v>37420</c:v>
                </c:pt>
                <c:pt idx="3223">
                  <c:v>37421</c:v>
                </c:pt>
                <c:pt idx="3224">
                  <c:v>37424</c:v>
                </c:pt>
                <c:pt idx="3225">
                  <c:v>37425</c:v>
                </c:pt>
                <c:pt idx="3226">
                  <c:v>37426</c:v>
                </c:pt>
                <c:pt idx="3227">
                  <c:v>37427</c:v>
                </c:pt>
                <c:pt idx="3228">
                  <c:v>37428</c:v>
                </c:pt>
                <c:pt idx="3229">
                  <c:v>37431</c:v>
                </c:pt>
                <c:pt idx="3230">
                  <c:v>37432</c:v>
                </c:pt>
                <c:pt idx="3231">
                  <c:v>37433</c:v>
                </c:pt>
                <c:pt idx="3232">
                  <c:v>37434</c:v>
                </c:pt>
                <c:pt idx="3233">
                  <c:v>37435</c:v>
                </c:pt>
                <c:pt idx="3234">
                  <c:v>37438</c:v>
                </c:pt>
                <c:pt idx="3235">
                  <c:v>37439</c:v>
                </c:pt>
                <c:pt idx="3236">
                  <c:v>37440</c:v>
                </c:pt>
                <c:pt idx="3237">
                  <c:v>37442</c:v>
                </c:pt>
                <c:pt idx="3238">
                  <c:v>37445</c:v>
                </c:pt>
                <c:pt idx="3239">
                  <c:v>37446</c:v>
                </c:pt>
                <c:pt idx="3240">
                  <c:v>37447</c:v>
                </c:pt>
                <c:pt idx="3241">
                  <c:v>37448</c:v>
                </c:pt>
                <c:pt idx="3242">
                  <c:v>37449</c:v>
                </c:pt>
                <c:pt idx="3243">
                  <c:v>37452</c:v>
                </c:pt>
                <c:pt idx="3244">
                  <c:v>37453</c:v>
                </c:pt>
                <c:pt idx="3245">
                  <c:v>37454</c:v>
                </c:pt>
                <c:pt idx="3246">
                  <c:v>37455</c:v>
                </c:pt>
                <c:pt idx="3247">
                  <c:v>37456</c:v>
                </c:pt>
                <c:pt idx="3248">
                  <c:v>37459</c:v>
                </c:pt>
                <c:pt idx="3249">
                  <c:v>37460</c:v>
                </c:pt>
                <c:pt idx="3250">
                  <c:v>37461</c:v>
                </c:pt>
                <c:pt idx="3251">
                  <c:v>37462</c:v>
                </c:pt>
                <c:pt idx="3252">
                  <c:v>37463</c:v>
                </c:pt>
                <c:pt idx="3253">
                  <c:v>37466</c:v>
                </c:pt>
                <c:pt idx="3254">
                  <c:v>37467</c:v>
                </c:pt>
                <c:pt idx="3255">
                  <c:v>37468</c:v>
                </c:pt>
                <c:pt idx="3256">
                  <c:v>37469</c:v>
                </c:pt>
                <c:pt idx="3257">
                  <c:v>37470</c:v>
                </c:pt>
                <c:pt idx="3258">
                  <c:v>37473</c:v>
                </c:pt>
                <c:pt idx="3259">
                  <c:v>37474</c:v>
                </c:pt>
                <c:pt idx="3260">
                  <c:v>37475</c:v>
                </c:pt>
                <c:pt idx="3261">
                  <c:v>37476</c:v>
                </c:pt>
                <c:pt idx="3262">
                  <c:v>37477</c:v>
                </c:pt>
                <c:pt idx="3263">
                  <c:v>37480</c:v>
                </c:pt>
                <c:pt idx="3264">
                  <c:v>37481</c:v>
                </c:pt>
                <c:pt idx="3265">
                  <c:v>37482</c:v>
                </c:pt>
                <c:pt idx="3266">
                  <c:v>37483</c:v>
                </c:pt>
                <c:pt idx="3267">
                  <c:v>37484</c:v>
                </c:pt>
                <c:pt idx="3268">
                  <c:v>37487</c:v>
                </c:pt>
                <c:pt idx="3269">
                  <c:v>37488</c:v>
                </c:pt>
                <c:pt idx="3270">
                  <c:v>37489</c:v>
                </c:pt>
                <c:pt idx="3271">
                  <c:v>37490</c:v>
                </c:pt>
                <c:pt idx="3272">
                  <c:v>37491</c:v>
                </c:pt>
                <c:pt idx="3273">
                  <c:v>37494</c:v>
                </c:pt>
                <c:pt idx="3274">
                  <c:v>37495</c:v>
                </c:pt>
                <c:pt idx="3275">
                  <c:v>37496</c:v>
                </c:pt>
                <c:pt idx="3276">
                  <c:v>37497</c:v>
                </c:pt>
                <c:pt idx="3277">
                  <c:v>37498</c:v>
                </c:pt>
                <c:pt idx="3278">
                  <c:v>37502</c:v>
                </c:pt>
                <c:pt idx="3279">
                  <c:v>37503</c:v>
                </c:pt>
                <c:pt idx="3280">
                  <c:v>37504</c:v>
                </c:pt>
                <c:pt idx="3281">
                  <c:v>37505</c:v>
                </c:pt>
                <c:pt idx="3282">
                  <c:v>37508</c:v>
                </c:pt>
                <c:pt idx="3283">
                  <c:v>37509</c:v>
                </c:pt>
                <c:pt idx="3284">
                  <c:v>37510</c:v>
                </c:pt>
                <c:pt idx="3285">
                  <c:v>37511</c:v>
                </c:pt>
                <c:pt idx="3286">
                  <c:v>37512</c:v>
                </c:pt>
                <c:pt idx="3287">
                  <c:v>37515</c:v>
                </c:pt>
                <c:pt idx="3288">
                  <c:v>37516</c:v>
                </c:pt>
                <c:pt idx="3289">
                  <c:v>37517</c:v>
                </c:pt>
                <c:pt idx="3290">
                  <c:v>37518</c:v>
                </c:pt>
                <c:pt idx="3291">
                  <c:v>37519</c:v>
                </c:pt>
                <c:pt idx="3292">
                  <c:v>37522</c:v>
                </c:pt>
                <c:pt idx="3293">
                  <c:v>37523</c:v>
                </c:pt>
                <c:pt idx="3294">
                  <c:v>37524</c:v>
                </c:pt>
                <c:pt idx="3295">
                  <c:v>37525</c:v>
                </c:pt>
                <c:pt idx="3296">
                  <c:v>37526</c:v>
                </c:pt>
                <c:pt idx="3297">
                  <c:v>37529</c:v>
                </c:pt>
                <c:pt idx="3298">
                  <c:v>37530</c:v>
                </c:pt>
                <c:pt idx="3299">
                  <c:v>37531</c:v>
                </c:pt>
                <c:pt idx="3300">
                  <c:v>37532</c:v>
                </c:pt>
                <c:pt idx="3301">
                  <c:v>37533</c:v>
                </c:pt>
                <c:pt idx="3302">
                  <c:v>37536</c:v>
                </c:pt>
                <c:pt idx="3303">
                  <c:v>37537</c:v>
                </c:pt>
                <c:pt idx="3304">
                  <c:v>37538</c:v>
                </c:pt>
                <c:pt idx="3305">
                  <c:v>37539</c:v>
                </c:pt>
                <c:pt idx="3306">
                  <c:v>37540</c:v>
                </c:pt>
                <c:pt idx="3307">
                  <c:v>37543</c:v>
                </c:pt>
                <c:pt idx="3308">
                  <c:v>37544</c:v>
                </c:pt>
                <c:pt idx="3309">
                  <c:v>37545</c:v>
                </c:pt>
                <c:pt idx="3310">
                  <c:v>37546</c:v>
                </c:pt>
                <c:pt idx="3311">
                  <c:v>37547</c:v>
                </c:pt>
                <c:pt idx="3312">
                  <c:v>37550</c:v>
                </c:pt>
                <c:pt idx="3313">
                  <c:v>37551</c:v>
                </c:pt>
                <c:pt idx="3314">
                  <c:v>37552</c:v>
                </c:pt>
                <c:pt idx="3315">
                  <c:v>37553</c:v>
                </c:pt>
                <c:pt idx="3316">
                  <c:v>37554</c:v>
                </c:pt>
                <c:pt idx="3317">
                  <c:v>37557</c:v>
                </c:pt>
                <c:pt idx="3318">
                  <c:v>37558</c:v>
                </c:pt>
                <c:pt idx="3319">
                  <c:v>37559</c:v>
                </c:pt>
                <c:pt idx="3320">
                  <c:v>37560</c:v>
                </c:pt>
                <c:pt idx="3321">
                  <c:v>37561</c:v>
                </c:pt>
                <c:pt idx="3322">
                  <c:v>37564</c:v>
                </c:pt>
                <c:pt idx="3323">
                  <c:v>37565</c:v>
                </c:pt>
                <c:pt idx="3324">
                  <c:v>37566</c:v>
                </c:pt>
                <c:pt idx="3325">
                  <c:v>37567</c:v>
                </c:pt>
                <c:pt idx="3326">
                  <c:v>37568</c:v>
                </c:pt>
                <c:pt idx="3327">
                  <c:v>37571</c:v>
                </c:pt>
                <c:pt idx="3328">
                  <c:v>37572</c:v>
                </c:pt>
                <c:pt idx="3329">
                  <c:v>37573</c:v>
                </c:pt>
                <c:pt idx="3330">
                  <c:v>37574</c:v>
                </c:pt>
                <c:pt idx="3331">
                  <c:v>37575</c:v>
                </c:pt>
                <c:pt idx="3332">
                  <c:v>37578</c:v>
                </c:pt>
                <c:pt idx="3333">
                  <c:v>37579</c:v>
                </c:pt>
                <c:pt idx="3334">
                  <c:v>37580</c:v>
                </c:pt>
                <c:pt idx="3335">
                  <c:v>37581</c:v>
                </c:pt>
                <c:pt idx="3336">
                  <c:v>37582</c:v>
                </c:pt>
                <c:pt idx="3337">
                  <c:v>37585</c:v>
                </c:pt>
                <c:pt idx="3338">
                  <c:v>37586</c:v>
                </c:pt>
                <c:pt idx="3339">
                  <c:v>37587</c:v>
                </c:pt>
                <c:pt idx="3340">
                  <c:v>37589</c:v>
                </c:pt>
                <c:pt idx="3341">
                  <c:v>37592</c:v>
                </c:pt>
                <c:pt idx="3342">
                  <c:v>37593</c:v>
                </c:pt>
                <c:pt idx="3343">
                  <c:v>37594</c:v>
                </c:pt>
                <c:pt idx="3344">
                  <c:v>37595</c:v>
                </c:pt>
                <c:pt idx="3345">
                  <c:v>37596</c:v>
                </c:pt>
                <c:pt idx="3346">
                  <c:v>37599</c:v>
                </c:pt>
                <c:pt idx="3347">
                  <c:v>37600</c:v>
                </c:pt>
                <c:pt idx="3348">
                  <c:v>37601</c:v>
                </c:pt>
                <c:pt idx="3349">
                  <c:v>37602</c:v>
                </c:pt>
                <c:pt idx="3350">
                  <c:v>37603</c:v>
                </c:pt>
                <c:pt idx="3351">
                  <c:v>37606</c:v>
                </c:pt>
                <c:pt idx="3352">
                  <c:v>37607</c:v>
                </c:pt>
                <c:pt idx="3353">
                  <c:v>37608</c:v>
                </c:pt>
                <c:pt idx="3354">
                  <c:v>37609</c:v>
                </c:pt>
                <c:pt idx="3355">
                  <c:v>37610</c:v>
                </c:pt>
                <c:pt idx="3356">
                  <c:v>37613</c:v>
                </c:pt>
                <c:pt idx="3357">
                  <c:v>37614</c:v>
                </c:pt>
                <c:pt idx="3358">
                  <c:v>37616</c:v>
                </c:pt>
                <c:pt idx="3359">
                  <c:v>37617</c:v>
                </c:pt>
                <c:pt idx="3360">
                  <c:v>37620</c:v>
                </c:pt>
                <c:pt idx="3361">
                  <c:v>37621</c:v>
                </c:pt>
                <c:pt idx="3362">
                  <c:v>37623</c:v>
                </c:pt>
                <c:pt idx="3363">
                  <c:v>37624</c:v>
                </c:pt>
                <c:pt idx="3364">
                  <c:v>37627</c:v>
                </c:pt>
                <c:pt idx="3365">
                  <c:v>37628</c:v>
                </c:pt>
                <c:pt idx="3366">
                  <c:v>37629</c:v>
                </c:pt>
                <c:pt idx="3367">
                  <c:v>37630</c:v>
                </c:pt>
                <c:pt idx="3368">
                  <c:v>37631</c:v>
                </c:pt>
                <c:pt idx="3369">
                  <c:v>37634</c:v>
                </c:pt>
                <c:pt idx="3370">
                  <c:v>37635</c:v>
                </c:pt>
                <c:pt idx="3371">
                  <c:v>37636</c:v>
                </c:pt>
                <c:pt idx="3372">
                  <c:v>37637</c:v>
                </c:pt>
                <c:pt idx="3373">
                  <c:v>37638</c:v>
                </c:pt>
                <c:pt idx="3374">
                  <c:v>37642</c:v>
                </c:pt>
                <c:pt idx="3375">
                  <c:v>37643</c:v>
                </c:pt>
                <c:pt idx="3376">
                  <c:v>37644</c:v>
                </c:pt>
                <c:pt idx="3377">
                  <c:v>37645</c:v>
                </c:pt>
                <c:pt idx="3378">
                  <c:v>37648</c:v>
                </c:pt>
                <c:pt idx="3379">
                  <c:v>37649</c:v>
                </c:pt>
                <c:pt idx="3380">
                  <c:v>37650</c:v>
                </c:pt>
                <c:pt idx="3381">
                  <c:v>37651</c:v>
                </c:pt>
                <c:pt idx="3382">
                  <c:v>37652</c:v>
                </c:pt>
                <c:pt idx="3383">
                  <c:v>37655</c:v>
                </c:pt>
                <c:pt idx="3384">
                  <c:v>37656</c:v>
                </c:pt>
                <c:pt idx="3385">
                  <c:v>37657</c:v>
                </c:pt>
                <c:pt idx="3386">
                  <c:v>37658</c:v>
                </c:pt>
                <c:pt idx="3387">
                  <c:v>37659</c:v>
                </c:pt>
                <c:pt idx="3388">
                  <c:v>37662</c:v>
                </c:pt>
                <c:pt idx="3389">
                  <c:v>37663</c:v>
                </c:pt>
                <c:pt idx="3390">
                  <c:v>37664</c:v>
                </c:pt>
                <c:pt idx="3391">
                  <c:v>37665</c:v>
                </c:pt>
                <c:pt idx="3392">
                  <c:v>37666</c:v>
                </c:pt>
                <c:pt idx="3393">
                  <c:v>37670</c:v>
                </c:pt>
                <c:pt idx="3394">
                  <c:v>37671</c:v>
                </c:pt>
                <c:pt idx="3395">
                  <c:v>37672</c:v>
                </c:pt>
                <c:pt idx="3396">
                  <c:v>37673</c:v>
                </c:pt>
                <c:pt idx="3397">
                  <c:v>37676</c:v>
                </c:pt>
                <c:pt idx="3398">
                  <c:v>37677</c:v>
                </c:pt>
                <c:pt idx="3399">
                  <c:v>37678</c:v>
                </c:pt>
                <c:pt idx="3400">
                  <c:v>37679</c:v>
                </c:pt>
                <c:pt idx="3401">
                  <c:v>37680</c:v>
                </c:pt>
                <c:pt idx="3402">
                  <c:v>37683</c:v>
                </c:pt>
                <c:pt idx="3403">
                  <c:v>37684</c:v>
                </c:pt>
                <c:pt idx="3404">
                  <c:v>37685</c:v>
                </c:pt>
                <c:pt idx="3405">
                  <c:v>37686</c:v>
                </c:pt>
                <c:pt idx="3406">
                  <c:v>37687</c:v>
                </c:pt>
                <c:pt idx="3407">
                  <c:v>37690</c:v>
                </c:pt>
                <c:pt idx="3408">
                  <c:v>37691</c:v>
                </c:pt>
                <c:pt idx="3409">
                  <c:v>37692</c:v>
                </c:pt>
                <c:pt idx="3410">
                  <c:v>37693</c:v>
                </c:pt>
                <c:pt idx="3411">
                  <c:v>37694</c:v>
                </c:pt>
                <c:pt idx="3412">
                  <c:v>37697</c:v>
                </c:pt>
                <c:pt idx="3413">
                  <c:v>37698</c:v>
                </c:pt>
                <c:pt idx="3414">
                  <c:v>37699</c:v>
                </c:pt>
                <c:pt idx="3415">
                  <c:v>37700</c:v>
                </c:pt>
                <c:pt idx="3416">
                  <c:v>37701</c:v>
                </c:pt>
                <c:pt idx="3417">
                  <c:v>37704</c:v>
                </c:pt>
                <c:pt idx="3418">
                  <c:v>37705</c:v>
                </c:pt>
                <c:pt idx="3419">
                  <c:v>37706</c:v>
                </c:pt>
                <c:pt idx="3420">
                  <c:v>37707</c:v>
                </c:pt>
                <c:pt idx="3421">
                  <c:v>37708</c:v>
                </c:pt>
                <c:pt idx="3422">
                  <c:v>37711</c:v>
                </c:pt>
                <c:pt idx="3423">
                  <c:v>37712</c:v>
                </c:pt>
                <c:pt idx="3424">
                  <c:v>37713</c:v>
                </c:pt>
                <c:pt idx="3425">
                  <c:v>37714</c:v>
                </c:pt>
                <c:pt idx="3426">
                  <c:v>37715</c:v>
                </c:pt>
                <c:pt idx="3427">
                  <c:v>37718</c:v>
                </c:pt>
                <c:pt idx="3428">
                  <c:v>37719</c:v>
                </c:pt>
                <c:pt idx="3429">
                  <c:v>37720</c:v>
                </c:pt>
                <c:pt idx="3430">
                  <c:v>37721</c:v>
                </c:pt>
                <c:pt idx="3431">
                  <c:v>37722</c:v>
                </c:pt>
                <c:pt idx="3432">
                  <c:v>37725</c:v>
                </c:pt>
                <c:pt idx="3433">
                  <c:v>37726</c:v>
                </c:pt>
                <c:pt idx="3434">
                  <c:v>37727</c:v>
                </c:pt>
                <c:pt idx="3435">
                  <c:v>37728</c:v>
                </c:pt>
                <c:pt idx="3436">
                  <c:v>37732</c:v>
                </c:pt>
                <c:pt idx="3437">
                  <c:v>37733</c:v>
                </c:pt>
                <c:pt idx="3438">
                  <c:v>37734</c:v>
                </c:pt>
                <c:pt idx="3439">
                  <c:v>37735</c:v>
                </c:pt>
                <c:pt idx="3440">
                  <c:v>37736</c:v>
                </c:pt>
                <c:pt idx="3441">
                  <c:v>37739</c:v>
                </c:pt>
                <c:pt idx="3442">
                  <c:v>37740</c:v>
                </c:pt>
                <c:pt idx="3443">
                  <c:v>37741</c:v>
                </c:pt>
                <c:pt idx="3444">
                  <c:v>37742</c:v>
                </c:pt>
                <c:pt idx="3445">
                  <c:v>37743</c:v>
                </c:pt>
                <c:pt idx="3446">
                  <c:v>37746</c:v>
                </c:pt>
                <c:pt idx="3447">
                  <c:v>37747</c:v>
                </c:pt>
                <c:pt idx="3448">
                  <c:v>37748</c:v>
                </c:pt>
                <c:pt idx="3449">
                  <c:v>37749</c:v>
                </c:pt>
                <c:pt idx="3450">
                  <c:v>37750</c:v>
                </c:pt>
                <c:pt idx="3451">
                  <c:v>37753</c:v>
                </c:pt>
                <c:pt idx="3452">
                  <c:v>37754</c:v>
                </c:pt>
                <c:pt idx="3453">
                  <c:v>37755</c:v>
                </c:pt>
                <c:pt idx="3454">
                  <c:v>37756</c:v>
                </c:pt>
                <c:pt idx="3455">
                  <c:v>37757</c:v>
                </c:pt>
                <c:pt idx="3456">
                  <c:v>37760</c:v>
                </c:pt>
                <c:pt idx="3457">
                  <c:v>37761</c:v>
                </c:pt>
                <c:pt idx="3458">
                  <c:v>37762</c:v>
                </c:pt>
                <c:pt idx="3459">
                  <c:v>37763</c:v>
                </c:pt>
                <c:pt idx="3460">
                  <c:v>37764</c:v>
                </c:pt>
                <c:pt idx="3461">
                  <c:v>37768</c:v>
                </c:pt>
                <c:pt idx="3462">
                  <c:v>37769</c:v>
                </c:pt>
                <c:pt idx="3463">
                  <c:v>37770</c:v>
                </c:pt>
                <c:pt idx="3464">
                  <c:v>37771</c:v>
                </c:pt>
                <c:pt idx="3465">
                  <c:v>37774</c:v>
                </c:pt>
                <c:pt idx="3466">
                  <c:v>37775</c:v>
                </c:pt>
                <c:pt idx="3467">
                  <c:v>37776</c:v>
                </c:pt>
                <c:pt idx="3468">
                  <c:v>37777</c:v>
                </c:pt>
                <c:pt idx="3469">
                  <c:v>37778</c:v>
                </c:pt>
                <c:pt idx="3470">
                  <c:v>37781</c:v>
                </c:pt>
                <c:pt idx="3471">
                  <c:v>37782</c:v>
                </c:pt>
                <c:pt idx="3472">
                  <c:v>37783</c:v>
                </c:pt>
                <c:pt idx="3473">
                  <c:v>37784</c:v>
                </c:pt>
                <c:pt idx="3474">
                  <c:v>37785</c:v>
                </c:pt>
                <c:pt idx="3475">
                  <c:v>37788</c:v>
                </c:pt>
                <c:pt idx="3476">
                  <c:v>37789</c:v>
                </c:pt>
                <c:pt idx="3477">
                  <c:v>37790</c:v>
                </c:pt>
                <c:pt idx="3478">
                  <c:v>37791</c:v>
                </c:pt>
                <c:pt idx="3479">
                  <c:v>37792</c:v>
                </c:pt>
                <c:pt idx="3480">
                  <c:v>37795</c:v>
                </c:pt>
                <c:pt idx="3481">
                  <c:v>37796</c:v>
                </c:pt>
                <c:pt idx="3482">
                  <c:v>37797</c:v>
                </c:pt>
                <c:pt idx="3483">
                  <c:v>37798</c:v>
                </c:pt>
                <c:pt idx="3484">
                  <c:v>37799</c:v>
                </c:pt>
                <c:pt idx="3485">
                  <c:v>37802</c:v>
                </c:pt>
                <c:pt idx="3486">
                  <c:v>37803</c:v>
                </c:pt>
                <c:pt idx="3487">
                  <c:v>37804</c:v>
                </c:pt>
                <c:pt idx="3488">
                  <c:v>37805</c:v>
                </c:pt>
                <c:pt idx="3489">
                  <c:v>37809</c:v>
                </c:pt>
                <c:pt idx="3490">
                  <c:v>37810</c:v>
                </c:pt>
                <c:pt idx="3491">
                  <c:v>37811</c:v>
                </c:pt>
                <c:pt idx="3492">
                  <c:v>37812</c:v>
                </c:pt>
                <c:pt idx="3493">
                  <c:v>37813</c:v>
                </c:pt>
                <c:pt idx="3494">
                  <c:v>37816</c:v>
                </c:pt>
                <c:pt idx="3495">
                  <c:v>37817</c:v>
                </c:pt>
                <c:pt idx="3496">
                  <c:v>37818</c:v>
                </c:pt>
                <c:pt idx="3497">
                  <c:v>37819</c:v>
                </c:pt>
                <c:pt idx="3498">
                  <c:v>37820</c:v>
                </c:pt>
                <c:pt idx="3499">
                  <c:v>37823</c:v>
                </c:pt>
                <c:pt idx="3500">
                  <c:v>37824</c:v>
                </c:pt>
                <c:pt idx="3501">
                  <c:v>37825</c:v>
                </c:pt>
                <c:pt idx="3502">
                  <c:v>37826</c:v>
                </c:pt>
                <c:pt idx="3503">
                  <c:v>37827</c:v>
                </c:pt>
                <c:pt idx="3504">
                  <c:v>37830</c:v>
                </c:pt>
                <c:pt idx="3505">
                  <c:v>37831</c:v>
                </c:pt>
                <c:pt idx="3506">
                  <c:v>37832</c:v>
                </c:pt>
                <c:pt idx="3507">
                  <c:v>37833</c:v>
                </c:pt>
                <c:pt idx="3508">
                  <c:v>37834</c:v>
                </c:pt>
                <c:pt idx="3509">
                  <c:v>37837</c:v>
                </c:pt>
                <c:pt idx="3510">
                  <c:v>37838</c:v>
                </c:pt>
                <c:pt idx="3511">
                  <c:v>37839</c:v>
                </c:pt>
                <c:pt idx="3512">
                  <c:v>37840</c:v>
                </c:pt>
                <c:pt idx="3513">
                  <c:v>37841</c:v>
                </c:pt>
                <c:pt idx="3514">
                  <c:v>37844</c:v>
                </c:pt>
                <c:pt idx="3515">
                  <c:v>37845</c:v>
                </c:pt>
                <c:pt idx="3516">
                  <c:v>37846</c:v>
                </c:pt>
                <c:pt idx="3517">
                  <c:v>37847</c:v>
                </c:pt>
                <c:pt idx="3518">
                  <c:v>37848</c:v>
                </c:pt>
                <c:pt idx="3519">
                  <c:v>37851</c:v>
                </c:pt>
                <c:pt idx="3520">
                  <c:v>37852</c:v>
                </c:pt>
                <c:pt idx="3521">
                  <c:v>37853</c:v>
                </c:pt>
                <c:pt idx="3522">
                  <c:v>37854</c:v>
                </c:pt>
                <c:pt idx="3523">
                  <c:v>37855</c:v>
                </c:pt>
                <c:pt idx="3524">
                  <c:v>37858</c:v>
                </c:pt>
                <c:pt idx="3525">
                  <c:v>37859</c:v>
                </c:pt>
                <c:pt idx="3526">
                  <c:v>37860</c:v>
                </c:pt>
                <c:pt idx="3527">
                  <c:v>37861</c:v>
                </c:pt>
                <c:pt idx="3528">
                  <c:v>37862</c:v>
                </c:pt>
                <c:pt idx="3529">
                  <c:v>37866</c:v>
                </c:pt>
                <c:pt idx="3530">
                  <c:v>37867</c:v>
                </c:pt>
                <c:pt idx="3531">
                  <c:v>37868</c:v>
                </c:pt>
                <c:pt idx="3532">
                  <c:v>37869</c:v>
                </c:pt>
                <c:pt idx="3533">
                  <c:v>37872</c:v>
                </c:pt>
                <c:pt idx="3534">
                  <c:v>37873</c:v>
                </c:pt>
                <c:pt idx="3535">
                  <c:v>37874</c:v>
                </c:pt>
                <c:pt idx="3536">
                  <c:v>37875</c:v>
                </c:pt>
                <c:pt idx="3537">
                  <c:v>37876</c:v>
                </c:pt>
                <c:pt idx="3538">
                  <c:v>37879</c:v>
                </c:pt>
                <c:pt idx="3539">
                  <c:v>37880</c:v>
                </c:pt>
                <c:pt idx="3540">
                  <c:v>37881</c:v>
                </c:pt>
                <c:pt idx="3541">
                  <c:v>37882</c:v>
                </c:pt>
                <c:pt idx="3542">
                  <c:v>37883</c:v>
                </c:pt>
                <c:pt idx="3543">
                  <c:v>37886</c:v>
                </c:pt>
                <c:pt idx="3544">
                  <c:v>37887</c:v>
                </c:pt>
                <c:pt idx="3545">
                  <c:v>37888</c:v>
                </c:pt>
                <c:pt idx="3546">
                  <c:v>37889</c:v>
                </c:pt>
                <c:pt idx="3547">
                  <c:v>37890</c:v>
                </c:pt>
                <c:pt idx="3548">
                  <c:v>37893</c:v>
                </c:pt>
                <c:pt idx="3549">
                  <c:v>37894</c:v>
                </c:pt>
                <c:pt idx="3550">
                  <c:v>37895</c:v>
                </c:pt>
                <c:pt idx="3551">
                  <c:v>37896</c:v>
                </c:pt>
                <c:pt idx="3552">
                  <c:v>37897</c:v>
                </c:pt>
                <c:pt idx="3553">
                  <c:v>37900</c:v>
                </c:pt>
                <c:pt idx="3554">
                  <c:v>37901</c:v>
                </c:pt>
                <c:pt idx="3555">
                  <c:v>37902</c:v>
                </c:pt>
                <c:pt idx="3556">
                  <c:v>37903</c:v>
                </c:pt>
                <c:pt idx="3557">
                  <c:v>37904</c:v>
                </c:pt>
                <c:pt idx="3558">
                  <c:v>37907</c:v>
                </c:pt>
                <c:pt idx="3559">
                  <c:v>37908</c:v>
                </c:pt>
                <c:pt idx="3560">
                  <c:v>37909</c:v>
                </c:pt>
                <c:pt idx="3561">
                  <c:v>37910</c:v>
                </c:pt>
                <c:pt idx="3562">
                  <c:v>37911</c:v>
                </c:pt>
                <c:pt idx="3563">
                  <c:v>37914</c:v>
                </c:pt>
                <c:pt idx="3564">
                  <c:v>37915</c:v>
                </c:pt>
                <c:pt idx="3565">
                  <c:v>37916</c:v>
                </c:pt>
                <c:pt idx="3566">
                  <c:v>37917</c:v>
                </c:pt>
                <c:pt idx="3567">
                  <c:v>37918</c:v>
                </c:pt>
                <c:pt idx="3568">
                  <c:v>37921</c:v>
                </c:pt>
                <c:pt idx="3569">
                  <c:v>37922</c:v>
                </c:pt>
                <c:pt idx="3570">
                  <c:v>37923</c:v>
                </c:pt>
                <c:pt idx="3571">
                  <c:v>37924</c:v>
                </c:pt>
                <c:pt idx="3572">
                  <c:v>37925</c:v>
                </c:pt>
                <c:pt idx="3573">
                  <c:v>37928</c:v>
                </c:pt>
                <c:pt idx="3574">
                  <c:v>37929</c:v>
                </c:pt>
                <c:pt idx="3575">
                  <c:v>37930</c:v>
                </c:pt>
                <c:pt idx="3576">
                  <c:v>37931</c:v>
                </c:pt>
                <c:pt idx="3577">
                  <c:v>37932</c:v>
                </c:pt>
                <c:pt idx="3578">
                  <c:v>37935</c:v>
                </c:pt>
                <c:pt idx="3579">
                  <c:v>37936</c:v>
                </c:pt>
                <c:pt idx="3580">
                  <c:v>37937</c:v>
                </c:pt>
                <c:pt idx="3581">
                  <c:v>37938</c:v>
                </c:pt>
                <c:pt idx="3582">
                  <c:v>37939</c:v>
                </c:pt>
                <c:pt idx="3583">
                  <c:v>37942</c:v>
                </c:pt>
                <c:pt idx="3584">
                  <c:v>37943</c:v>
                </c:pt>
                <c:pt idx="3585">
                  <c:v>37944</c:v>
                </c:pt>
                <c:pt idx="3586">
                  <c:v>37945</c:v>
                </c:pt>
                <c:pt idx="3587">
                  <c:v>37946</c:v>
                </c:pt>
                <c:pt idx="3588">
                  <c:v>37949</c:v>
                </c:pt>
                <c:pt idx="3589">
                  <c:v>37950</c:v>
                </c:pt>
                <c:pt idx="3590">
                  <c:v>37951</c:v>
                </c:pt>
                <c:pt idx="3591">
                  <c:v>37953</c:v>
                </c:pt>
                <c:pt idx="3592">
                  <c:v>37956</c:v>
                </c:pt>
                <c:pt idx="3593">
                  <c:v>37957</c:v>
                </c:pt>
                <c:pt idx="3594">
                  <c:v>37958</c:v>
                </c:pt>
                <c:pt idx="3595">
                  <c:v>37959</c:v>
                </c:pt>
                <c:pt idx="3596">
                  <c:v>37960</c:v>
                </c:pt>
                <c:pt idx="3597">
                  <c:v>37963</c:v>
                </c:pt>
                <c:pt idx="3598">
                  <c:v>37964</c:v>
                </c:pt>
                <c:pt idx="3599">
                  <c:v>37965</c:v>
                </c:pt>
                <c:pt idx="3600">
                  <c:v>37966</c:v>
                </c:pt>
                <c:pt idx="3601">
                  <c:v>37967</c:v>
                </c:pt>
                <c:pt idx="3602">
                  <c:v>37970</c:v>
                </c:pt>
                <c:pt idx="3603">
                  <c:v>37971</c:v>
                </c:pt>
                <c:pt idx="3604">
                  <c:v>37972</c:v>
                </c:pt>
                <c:pt idx="3605">
                  <c:v>37973</c:v>
                </c:pt>
                <c:pt idx="3606">
                  <c:v>37974</c:v>
                </c:pt>
                <c:pt idx="3607">
                  <c:v>37977</c:v>
                </c:pt>
                <c:pt idx="3608">
                  <c:v>37978</c:v>
                </c:pt>
                <c:pt idx="3609">
                  <c:v>37979</c:v>
                </c:pt>
                <c:pt idx="3610">
                  <c:v>37981</c:v>
                </c:pt>
                <c:pt idx="3611">
                  <c:v>37984</c:v>
                </c:pt>
                <c:pt idx="3612">
                  <c:v>37985</c:v>
                </c:pt>
                <c:pt idx="3613">
                  <c:v>37986</c:v>
                </c:pt>
                <c:pt idx="3614">
                  <c:v>37988</c:v>
                </c:pt>
                <c:pt idx="3615">
                  <c:v>37991</c:v>
                </c:pt>
                <c:pt idx="3616">
                  <c:v>37992</c:v>
                </c:pt>
                <c:pt idx="3617">
                  <c:v>37993</c:v>
                </c:pt>
                <c:pt idx="3618">
                  <c:v>37994</c:v>
                </c:pt>
                <c:pt idx="3619">
                  <c:v>37995</c:v>
                </c:pt>
                <c:pt idx="3620">
                  <c:v>37998</c:v>
                </c:pt>
                <c:pt idx="3621">
                  <c:v>37999</c:v>
                </c:pt>
                <c:pt idx="3622">
                  <c:v>38000</c:v>
                </c:pt>
                <c:pt idx="3623">
                  <c:v>38001</c:v>
                </c:pt>
                <c:pt idx="3624">
                  <c:v>38002</c:v>
                </c:pt>
                <c:pt idx="3625">
                  <c:v>38006</c:v>
                </c:pt>
                <c:pt idx="3626">
                  <c:v>38007</c:v>
                </c:pt>
                <c:pt idx="3627">
                  <c:v>38008</c:v>
                </c:pt>
                <c:pt idx="3628">
                  <c:v>38009</c:v>
                </c:pt>
                <c:pt idx="3629">
                  <c:v>38012</c:v>
                </c:pt>
                <c:pt idx="3630">
                  <c:v>38013</c:v>
                </c:pt>
                <c:pt idx="3631">
                  <c:v>38014</c:v>
                </c:pt>
                <c:pt idx="3632">
                  <c:v>38015</c:v>
                </c:pt>
                <c:pt idx="3633">
                  <c:v>38016</c:v>
                </c:pt>
                <c:pt idx="3634">
                  <c:v>38019</c:v>
                </c:pt>
                <c:pt idx="3635">
                  <c:v>38020</c:v>
                </c:pt>
                <c:pt idx="3636">
                  <c:v>38021</c:v>
                </c:pt>
                <c:pt idx="3637">
                  <c:v>38022</c:v>
                </c:pt>
                <c:pt idx="3638">
                  <c:v>38023</c:v>
                </c:pt>
                <c:pt idx="3639">
                  <c:v>38026</c:v>
                </c:pt>
                <c:pt idx="3640">
                  <c:v>38027</c:v>
                </c:pt>
                <c:pt idx="3641">
                  <c:v>38028</c:v>
                </c:pt>
                <c:pt idx="3642">
                  <c:v>38029</c:v>
                </c:pt>
                <c:pt idx="3643">
                  <c:v>38030</c:v>
                </c:pt>
                <c:pt idx="3644">
                  <c:v>38034</c:v>
                </c:pt>
                <c:pt idx="3645">
                  <c:v>38035</c:v>
                </c:pt>
                <c:pt idx="3646">
                  <c:v>38036</c:v>
                </c:pt>
                <c:pt idx="3647">
                  <c:v>38037</c:v>
                </c:pt>
                <c:pt idx="3648">
                  <c:v>38040</c:v>
                </c:pt>
                <c:pt idx="3649">
                  <c:v>38041</c:v>
                </c:pt>
                <c:pt idx="3650">
                  <c:v>38042</c:v>
                </c:pt>
                <c:pt idx="3651">
                  <c:v>38043</c:v>
                </c:pt>
                <c:pt idx="3652">
                  <c:v>38044</c:v>
                </c:pt>
                <c:pt idx="3653">
                  <c:v>38047</c:v>
                </c:pt>
                <c:pt idx="3654">
                  <c:v>38048</c:v>
                </c:pt>
                <c:pt idx="3655">
                  <c:v>38049</c:v>
                </c:pt>
                <c:pt idx="3656">
                  <c:v>38050</c:v>
                </c:pt>
                <c:pt idx="3657">
                  <c:v>38051</c:v>
                </c:pt>
                <c:pt idx="3658">
                  <c:v>38054</c:v>
                </c:pt>
                <c:pt idx="3659">
                  <c:v>38055</c:v>
                </c:pt>
                <c:pt idx="3660">
                  <c:v>38056</c:v>
                </c:pt>
                <c:pt idx="3661">
                  <c:v>38057</c:v>
                </c:pt>
                <c:pt idx="3662">
                  <c:v>38058</c:v>
                </c:pt>
                <c:pt idx="3663">
                  <c:v>38061</c:v>
                </c:pt>
                <c:pt idx="3664">
                  <c:v>38062</c:v>
                </c:pt>
                <c:pt idx="3665">
                  <c:v>38063</c:v>
                </c:pt>
                <c:pt idx="3666">
                  <c:v>38064</c:v>
                </c:pt>
                <c:pt idx="3667">
                  <c:v>38065</c:v>
                </c:pt>
                <c:pt idx="3668">
                  <c:v>38068</c:v>
                </c:pt>
                <c:pt idx="3669">
                  <c:v>38069</c:v>
                </c:pt>
                <c:pt idx="3670">
                  <c:v>38070</c:v>
                </c:pt>
                <c:pt idx="3671">
                  <c:v>38071</c:v>
                </c:pt>
                <c:pt idx="3672">
                  <c:v>38072</c:v>
                </c:pt>
                <c:pt idx="3673">
                  <c:v>38075</c:v>
                </c:pt>
                <c:pt idx="3674">
                  <c:v>38076</c:v>
                </c:pt>
                <c:pt idx="3675">
                  <c:v>38077</c:v>
                </c:pt>
                <c:pt idx="3676">
                  <c:v>38078</c:v>
                </c:pt>
                <c:pt idx="3677">
                  <c:v>38079</c:v>
                </c:pt>
                <c:pt idx="3678">
                  <c:v>38082</c:v>
                </c:pt>
                <c:pt idx="3679">
                  <c:v>38083</c:v>
                </c:pt>
                <c:pt idx="3680">
                  <c:v>38084</c:v>
                </c:pt>
                <c:pt idx="3681">
                  <c:v>38085</c:v>
                </c:pt>
                <c:pt idx="3682">
                  <c:v>38089</c:v>
                </c:pt>
                <c:pt idx="3683">
                  <c:v>38090</c:v>
                </c:pt>
                <c:pt idx="3684">
                  <c:v>38091</c:v>
                </c:pt>
                <c:pt idx="3685">
                  <c:v>38092</c:v>
                </c:pt>
                <c:pt idx="3686">
                  <c:v>38093</c:v>
                </c:pt>
                <c:pt idx="3687">
                  <c:v>38096</c:v>
                </c:pt>
                <c:pt idx="3688">
                  <c:v>38097</c:v>
                </c:pt>
                <c:pt idx="3689">
                  <c:v>38098</c:v>
                </c:pt>
                <c:pt idx="3690">
                  <c:v>38099</c:v>
                </c:pt>
                <c:pt idx="3691">
                  <c:v>38100</c:v>
                </c:pt>
                <c:pt idx="3692">
                  <c:v>38103</c:v>
                </c:pt>
                <c:pt idx="3693">
                  <c:v>38104</c:v>
                </c:pt>
                <c:pt idx="3694">
                  <c:v>38105</c:v>
                </c:pt>
                <c:pt idx="3695">
                  <c:v>38106</c:v>
                </c:pt>
                <c:pt idx="3696">
                  <c:v>38107</c:v>
                </c:pt>
                <c:pt idx="3697">
                  <c:v>38110</c:v>
                </c:pt>
                <c:pt idx="3698">
                  <c:v>38111</c:v>
                </c:pt>
                <c:pt idx="3699">
                  <c:v>38112</c:v>
                </c:pt>
                <c:pt idx="3700">
                  <c:v>38113</c:v>
                </c:pt>
                <c:pt idx="3701">
                  <c:v>38114</c:v>
                </c:pt>
                <c:pt idx="3702">
                  <c:v>38117</c:v>
                </c:pt>
                <c:pt idx="3703">
                  <c:v>38118</c:v>
                </c:pt>
                <c:pt idx="3704">
                  <c:v>38119</c:v>
                </c:pt>
                <c:pt idx="3705">
                  <c:v>38120</c:v>
                </c:pt>
                <c:pt idx="3706">
                  <c:v>38121</c:v>
                </c:pt>
                <c:pt idx="3707">
                  <c:v>38124</c:v>
                </c:pt>
                <c:pt idx="3708">
                  <c:v>38125</c:v>
                </c:pt>
                <c:pt idx="3709">
                  <c:v>38126</c:v>
                </c:pt>
                <c:pt idx="3710">
                  <c:v>38127</c:v>
                </c:pt>
                <c:pt idx="3711">
                  <c:v>38128</c:v>
                </c:pt>
                <c:pt idx="3712">
                  <c:v>38131</c:v>
                </c:pt>
                <c:pt idx="3713">
                  <c:v>38132</c:v>
                </c:pt>
                <c:pt idx="3714">
                  <c:v>38133</c:v>
                </c:pt>
                <c:pt idx="3715">
                  <c:v>38134</c:v>
                </c:pt>
                <c:pt idx="3716">
                  <c:v>38135</c:v>
                </c:pt>
                <c:pt idx="3717">
                  <c:v>38139</c:v>
                </c:pt>
                <c:pt idx="3718">
                  <c:v>38140</c:v>
                </c:pt>
                <c:pt idx="3719">
                  <c:v>38141</c:v>
                </c:pt>
                <c:pt idx="3720">
                  <c:v>38142</c:v>
                </c:pt>
                <c:pt idx="3721">
                  <c:v>38145</c:v>
                </c:pt>
                <c:pt idx="3722">
                  <c:v>38146</c:v>
                </c:pt>
                <c:pt idx="3723">
                  <c:v>38147</c:v>
                </c:pt>
                <c:pt idx="3724">
                  <c:v>38148</c:v>
                </c:pt>
                <c:pt idx="3725">
                  <c:v>38152</c:v>
                </c:pt>
                <c:pt idx="3726">
                  <c:v>38153</c:v>
                </c:pt>
                <c:pt idx="3727">
                  <c:v>38154</c:v>
                </c:pt>
                <c:pt idx="3728">
                  <c:v>38155</c:v>
                </c:pt>
                <c:pt idx="3729">
                  <c:v>38156</c:v>
                </c:pt>
                <c:pt idx="3730">
                  <c:v>38159</c:v>
                </c:pt>
                <c:pt idx="3731">
                  <c:v>38160</c:v>
                </c:pt>
                <c:pt idx="3732">
                  <c:v>38161</c:v>
                </c:pt>
                <c:pt idx="3733">
                  <c:v>38162</c:v>
                </c:pt>
                <c:pt idx="3734">
                  <c:v>38163</c:v>
                </c:pt>
                <c:pt idx="3735">
                  <c:v>38166</c:v>
                </c:pt>
                <c:pt idx="3736">
                  <c:v>38167</c:v>
                </c:pt>
                <c:pt idx="3737">
                  <c:v>38168</c:v>
                </c:pt>
                <c:pt idx="3738">
                  <c:v>38169</c:v>
                </c:pt>
                <c:pt idx="3739">
                  <c:v>38170</c:v>
                </c:pt>
                <c:pt idx="3740">
                  <c:v>38174</c:v>
                </c:pt>
                <c:pt idx="3741">
                  <c:v>38175</c:v>
                </c:pt>
                <c:pt idx="3742">
                  <c:v>38176</c:v>
                </c:pt>
                <c:pt idx="3743">
                  <c:v>38177</c:v>
                </c:pt>
                <c:pt idx="3744">
                  <c:v>38180</c:v>
                </c:pt>
                <c:pt idx="3745">
                  <c:v>38181</c:v>
                </c:pt>
                <c:pt idx="3746">
                  <c:v>38182</c:v>
                </c:pt>
                <c:pt idx="3747">
                  <c:v>38183</c:v>
                </c:pt>
                <c:pt idx="3748">
                  <c:v>38184</c:v>
                </c:pt>
                <c:pt idx="3749">
                  <c:v>38187</c:v>
                </c:pt>
                <c:pt idx="3750">
                  <c:v>38188</c:v>
                </c:pt>
                <c:pt idx="3751">
                  <c:v>38189</c:v>
                </c:pt>
                <c:pt idx="3752">
                  <c:v>38190</c:v>
                </c:pt>
                <c:pt idx="3753">
                  <c:v>38191</c:v>
                </c:pt>
                <c:pt idx="3754">
                  <c:v>38194</c:v>
                </c:pt>
                <c:pt idx="3755">
                  <c:v>38195</c:v>
                </c:pt>
                <c:pt idx="3756">
                  <c:v>38196</c:v>
                </c:pt>
                <c:pt idx="3757">
                  <c:v>38197</c:v>
                </c:pt>
                <c:pt idx="3758">
                  <c:v>38198</c:v>
                </c:pt>
                <c:pt idx="3759">
                  <c:v>38201</c:v>
                </c:pt>
                <c:pt idx="3760">
                  <c:v>38202</c:v>
                </c:pt>
                <c:pt idx="3761">
                  <c:v>38203</c:v>
                </c:pt>
                <c:pt idx="3762">
                  <c:v>38204</c:v>
                </c:pt>
                <c:pt idx="3763">
                  <c:v>38205</c:v>
                </c:pt>
                <c:pt idx="3764">
                  <c:v>38208</c:v>
                </c:pt>
                <c:pt idx="3765">
                  <c:v>38209</c:v>
                </c:pt>
                <c:pt idx="3766">
                  <c:v>38210</c:v>
                </c:pt>
                <c:pt idx="3767">
                  <c:v>38211</c:v>
                </c:pt>
                <c:pt idx="3768">
                  <c:v>38212</c:v>
                </c:pt>
                <c:pt idx="3769">
                  <c:v>38215</c:v>
                </c:pt>
                <c:pt idx="3770">
                  <c:v>38216</c:v>
                </c:pt>
                <c:pt idx="3771">
                  <c:v>38217</c:v>
                </c:pt>
                <c:pt idx="3772">
                  <c:v>38218</c:v>
                </c:pt>
                <c:pt idx="3773">
                  <c:v>38219</c:v>
                </c:pt>
                <c:pt idx="3774">
                  <c:v>38222</c:v>
                </c:pt>
                <c:pt idx="3775">
                  <c:v>38223</c:v>
                </c:pt>
                <c:pt idx="3776">
                  <c:v>38224</c:v>
                </c:pt>
                <c:pt idx="3777">
                  <c:v>38225</c:v>
                </c:pt>
                <c:pt idx="3778">
                  <c:v>38226</c:v>
                </c:pt>
                <c:pt idx="3779">
                  <c:v>38229</c:v>
                </c:pt>
                <c:pt idx="3780">
                  <c:v>38230</c:v>
                </c:pt>
                <c:pt idx="3781">
                  <c:v>38231</c:v>
                </c:pt>
                <c:pt idx="3782">
                  <c:v>38232</c:v>
                </c:pt>
                <c:pt idx="3783">
                  <c:v>38233</c:v>
                </c:pt>
                <c:pt idx="3784">
                  <c:v>38237</c:v>
                </c:pt>
                <c:pt idx="3785">
                  <c:v>38238</c:v>
                </c:pt>
                <c:pt idx="3786">
                  <c:v>38239</c:v>
                </c:pt>
                <c:pt idx="3787">
                  <c:v>38240</c:v>
                </c:pt>
                <c:pt idx="3788">
                  <c:v>38243</c:v>
                </c:pt>
                <c:pt idx="3789">
                  <c:v>38244</c:v>
                </c:pt>
                <c:pt idx="3790">
                  <c:v>38245</c:v>
                </c:pt>
                <c:pt idx="3791">
                  <c:v>38246</c:v>
                </c:pt>
                <c:pt idx="3792">
                  <c:v>38247</c:v>
                </c:pt>
                <c:pt idx="3793">
                  <c:v>38250</c:v>
                </c:pt>
                <c:pt idx="3794">
                  <c:v>38251</c:v>
                </c:pt>
                <c:pt idx="3795">
                  <c:v>38252</c:v>
                </c:pt>
                <c:pt idx="3796">
                  <c:v>38253</c:v>
                </c:pt>
                <c:pt idx="3797">
                  <c:v>38254</c:v>
                </c:pt>
                <c:pt idx="3798">
                  <c:v>38257</c:v>
                </c:pt>
                <c:pt idx="3799">
                  <c:v>38258</c:v>
                </c:pt>
                <c:pt idx="3800">
                  <c:v>38259</c:v>
                </c:pt>
                <c:pt idx="3801">
                  <c:v>38260</c:v>
                </c:pt>
                <c:pt idx="3802">
                  <c:v>38261</c:v>
                </c:pt>
                <c:pt idx="3803">
                  <c:v>38264</c:v>
                </c:pt>
                <c:pt idx="3804">
                  <c:v>38265</c:v>
                </c:pt>
                <c:pt idx="3805">
                  <c:v>38266</c:v>
                </c:pt>
                <c:pt idx="3806">
                  <c:v>38267</c:v>
                </c:pt>
                <c:pt idx="3807">
                  <c:v>38268</c:v>
                </c:pt>
                <c:pt idx="3808">
                  <c:v>38271</c:v>
                </c:pt>
                <c:pt idx="3809">
                  <c:v>38272</c:v>
                </c:pt>
                <c:pt idx="3810">
                  <c:v>38273</c:v>
                </c:pt>
                <c:pt idx="3811">
                  <c:v>38274</c:v>
                </c:pt>
                <c:pt idx="3812">
                  <c:v>38275</c:v>
                </c:pt>
                <c:pt idx="3813">
                  <c:v>38278</c:v>
                </c:pt>
                <c:pt idx="3814">
                  <c:v>38279</c:v>
                </c:pt>
                <c:pt idx="3815">
                  <c:v>38280</c:v>
                </c:pt>
                <c:pt idx="3816">
                  <c:v>38281</c:v>
                </c:pt>
                <c:pt idx="3817">
                  <c:v>38282</c:v>
                </c:pt>
                <c:pt idx="3818">
                  <c:v>38285</c:v>
                </c:pt>
                <c:pt idx="3819">
                  <c:v>38286</c:v>
                </c:pt>
                <c:pt idx="3820">
                  <c:v>38287</c:v>
                </c:pt>
                <c:pt idx="3821">
                  <c:v>38288</c:v>
                </c:pt>
                <c:pt idx="3822">
                  <c:v>38289</c:v>
                </c:pt>
                <c:pt idx="3823">
                  <c:v>38292</c:v>
                </c:pt>
                <c:pt idx="3824">
                  <c:v>38293</c:v>
                </c:pt>
                <c:pt idx="3825">
                  <c:v>38294</c:v>
                </c:pt>
                <c:pt idx="3826">
                  <c:v>38295</c:v>
                </c:pt>
                <c:pt idx="3827">
                  <c:v>38296</c:v>
                </c:pt>
                <c:pt idx="3828">
                  <c:v>38299</c:v>
                </c:pt>
                <c:pt idx="3829">
                  <c:v>38300</c:v>
                </c:pt>
                <c:pt idx="3830">
                  <c:v>38301</c:v>
                </c:pt>
                <c:pt idx="3831">
                  <c:v>38302</c:v>
                </c:pt>
                <c:pt idx="3832">
                  <c:v>38303</c:v>
                </c:pt>
                <c:pt idx="3833">
                  <c:v>38306</c:v>
                </c:pt>
                <c:pt idx="3834">
                  <c:v>38307</c:v>
                </c:pt>
                <c:pt idx="3835">
                  <c:v>38308</c:v>
                </c:pt>
                <c:pt idx="3836">
                  <c:v>38309</c:v>
                </c:pt>
                <c:pt idx="3837">
                  <c:v>38310</c:v>
                </c:pt>
                <c:pt idx="3838">
                  <c:v>38313</c:v>
                </c:pt>
                <c:pt idx="3839">
                  <c:v>38314</c:v>
                </c:pt>
                <c:pt idx="3840">
                  <c:v>38315</c:v>
                </c:pt>
                <c:pt idx="3841">
                  <c:v>38317</c:v>
                </c:pt>
                <c:pt idx="3842">
                  <c:v>38320</c:v>
                </c:pt>
                <c:pt idx="3843">
                  <c:v>38321</c:v>
                </c:pt>
                <c:pt idx="3844">
                  <c:v>38322</c:v>
                </c:pt>
                <c:pt idx="3845">
                  <c:v>38323</c:v>
                </c:pt>
                <c:pt idx="3846">
                  <c:v>38324</c:v>
                </c:pt>
                <c:pt idx="3847">
                  <c:v>38327</c:v>
                </c:pt>
                <c:pt idx="3848">
                  <c:v>38328</c:v>
                </c:pt>
                <c:pt idx="3849">
                  <c:v>38329</c:v>
                </c:pt>
                <c:pt idx="3850">
                  <c:v>38330</c:v>
                </c:pt>
                <c:pt idx="3851">
                  <c:v>38331</c:v>
                </c:pt>
                <c:pt idx="3852">
                  <c:v>38334</c:v>
                </c:pt>
                <c:pt idx="3853">
                  <c:v>38335</c:v>
                </c:pt>
                <c:pt idx="3854">
                  <c:v>38336</c:v>
                </c:pt>
                <c:pt idx="3855">
                  <c:v>38337</c:v>
                </c:pt>
                <c:pt idx="3856">
                  <c:v>38338</c:v>
                </c:pt>
                <c:pt idx="3857">
                  <c:v>38341</c:v>
                </c:pt>
                <c:pt idx="3858">
                  <c:v>38342</c:v>
                </c:pt>
                <c:pt idx="3859">
                  <c:v>38343</c:v>
                </c:pt>
                <c:pt idx="3860">
                  <c:v>38344</c:v>
                </c:pt>
                <c:pt idx="3861">
                  <c:v>38348</c:v>
                </c:pt>
                <c:pt idx="3862">
                  <c:v>38349</c:v>
                </c:pt>
                <c:pt idx="3863">
                  <c:v>38350</c:v>
                </c:pt>
                <c:pt idx="3864">
                  <c:v>38351</c:v>
                </c:pt>
                <c:pt idx="3865">
                  <c:v>38352</c:v>
                </c:pt>
                <c:pt idx="3866">
                  <c:v>38355</c:v>
                </c:pt>
                <c:pt idx="3867">
                  <c:v>38356</c:v>
                </c:pt>
                <c:pt idx="3868">
                  <c:v>38357</c:v>
                </c:pt>
                <c:pt idx="3869">
                  <c:v>38358</c:v>
                </c:pt>
                <c:pt idx="3870">
                  <c:v>38359</c:v>
                </c:pt>
                <c:pt idx="3871">
                  <c:v>38362</c:v>
                </c:pt>
                <c:pt idx="3872">
                  <c:v>38363</c:v>
                </c:pt>
                <c:pt idx="3873">
                  <c:v>38364</c:v>
                </c:pt>
                <c:pt idx="3874">
                  <c:v>38365</c:v>
                </c:pt>
                <c:pt idx="3875">
                  <c:v>38366</c:v>
                </c:pt>
                <c:pt idx="3876">
                  <c:v>38370</c:v>
                </c:pt>
                <c:pt idx="3877">
                  <c:v>38371</c:v>
                </c:pt>
                <c:pt idx="3878">
                  <c:v>38372</c:v>
                </c:pt>
                <c:pt idx="3879">
                  <c:v>38373</c:v>
                </c:pt>
                <c:pt idx="3880">
                  <c:v>38376</c:v>
                </c:pt>
                <c:pt idx="3881">
                  <c:v>38377</c:v>
                </c:pt>
                <c:pt idx="3882">
                  <c:v>38378</c:v>
                </c:pt>
                <c:pt idx="3883">
                  <c:v>38379</c:v>
                </c:pt>
                <c:pt idx="3884">
                  <c:v>38380</c:v>
                </c:pt>
                <c:pt idx="3885">
                  <c:v>38383</c:v>
                </c:pt>
                <c:pt idx="3886">
                  <c:v>38384</c:v>
                </c:pt>
                <c:pt idx="3887">
                  <c:v>38385</c:v>
                </c:pt>
                <c:pt idx="3888">
                  <c:v>38386</c:v>
                </c:pt>
                <c:pt idx="3889">
                  <c:v>38387</c:v>
                </c:pt>
                <c:pt idx="3890">
                  <c:v>38390</c:v>
                </c:pt>
                <c:pt idx="3891">
                  <c:v>38391</c:v>
                </c:pt>
                <c:pt idx="3892">
                  <c:v>38392</c:v>
                </c:pt>
                <c:pt idx="3893">
                  <c:v>38393</c:v>
                </c:pt>
                <c:pt idx="3894">
                  <c:v>38394</c:v>
                </c:pt>
                <c:pt idx="3895">
                  <c:v>38397</c:v>
                </c:pt>
                <c:pt idx="3896">
                  <c:v>38398</c:v>
                </c:pt>
                <c:pt idx="3897">
                  <c:v>38399</c:v>
                </c:pt>
                <c:pt idx="3898">
                  <c:v>38400</c:v>
                </c:pt>
                <c:pt idx="3899">
                  <c:v>38401</c:v>
                </c:pt>
                <c:pt idx="3900">
                  <c:v>38405</c:v>
                </c:pt>
                <c:pt idx="3901">
                  <c:v>38406</c:v>
                </c:pt>
                <c:pt idx="3902">
                  <c:v>38407</c:v>
                </c:pt>
                <c:pt idx="3903">
                  <c:v>38408</c:v>
                </c:pt>
                <c:pt idx="3904">
                  <c:v>38411</c:v>
                </c:pt>
                <c:pt idx="3905">
                  <c:v>38412</c:v>
                </c:pt>
                <c:pt idx="3906">
                  <c:v>38413</c:v>
                </c:pt>
                <c:pt idx="3907">
                  <c:v>38414</c:v>
                </c:pt>
                <c:pt idx="3908">
                  <c:v>38415</c:v>
                </c:pt>
                <c:pt idx="3909">
                  <c:v>38418</c:v>
                </c:pt>
                <c:pt idx="3910">
                  <c:v>38419</c:v>
                </c:pt>
                <c:pt idx="3911">
                  <c:v>38420</c:v>
                </c:pt>
                <c:pt idx="3912">
                  <c:v>38421</c:v>
                </c:pt>
                <c:pt idx="3913">
                  <c:v>38422</c:v>
                </c:pt>
                <c:pt idx="3914">
                  <c:v>38425</c:v>
                </c:pt>
                <c:pt idx="3915">
                  <c:v>38426</c:v>
                </c:pt>
                <c:pt idx="3916">
                  <c:v>38427</c:v>
                </c:pt>
                <c:pt idx="3917">
                  <c:v>38428</c:v>
                </c:pt>
                <c:pt idx="3918">
                  <c:v>38429</c:v>
                </c:pt>
                <c:pt idx="3919">
                  <c:v>38432</c:v>
                </c:pt>
                <c:pt idx="3920">
                  <c:v>38433</c:v>
                </c:pt>
                <c:pt idx="3921">
                  <c:v>38434</c:v>
                </c:pt>
                <c:pt idx="3922">
                  <c:v>38435</c:v>
                </c:pt>
                <c:pt idx="3923">
                  <c:v>38439</c:v>
                </c:pt>
                <c:pt idx="3924">
                  <c:v>38440</c:v>
                </c:pt>
                <c:pt idx="3925">
                  <c:v>38441</c:v>
                </c:pt>
                <c:pt idx="3926">
                  <c:v>38442</c:v>
                </c:pt>
                <c:pt idx="3927">
                  <c:v>38443</c:v>
                </c:pt>
                <c:pt idx="3928">
                  <c:v>38446</c:v>
                </c:pt>
                <c:pt idx="3929">
                  <c:v>38447</c:v>
                </c:pt>
                <c:pt idx="3930">
                  <c:v>38448</c:v>
                </c:pt>
                <c:pt idx="3931">
                  <c:v>38449</c:v>
                </c:pt>
                <c:pt idx="3932">
                  <c:v>38450</c:v>
                </c:pt>
                <c:pt idx="3933">
                  <c:v>38453</c:v>
                </c:pt>
                <c:pt idx="3934">
                  <c:v>38454</c:v>
                </c:pt>
                <c:pt idx="3935">
                  <c:v>38455</c:v>
                </c:pt>
                <c:pt idx="3936">
                  <c:v>38456</c:v>
                </c:pt>
                <c:pt idx="3937">
                  <c:v>38457</c:v>
                </c:pt>
                <c:pt idx="3938">
                  <c:v>38460</c:v>
                </c:pt>
                <c:pt idx="3939">
                  <c:v>38461</c:v>
                </c:pt>
                <c:pt idx="3940">
                  <c:v>38462</c:v>
                </c:pt>
                <c:pt idx="3941">
                  <c:v>38463</c:v>
                </c:pt>
                <c:pt idx="3942">
                  <c:v>38464</c:v>
                </c:pt>
                <c:pt idx="3943">
                  <c:v>38467</c:v>
                </c:pt>
                <c:pt idx="3944">
                  <c:v>38468</c:v>
                </c:pt>
                <c:pt idx="3945">
                  <c:v>38469</c:v>
                </c:pt>
                <c:pt idx="3946">
                  <c:v>38470</c:v>
                </c:pt>
                <c:pt idx="3947">
                  <c:v>38471</c:v>
                </c:pt>
                <c:pt idx="3948">
                  <c:v>38474</c:v>
                </c:pt>
                <c:pt idx="3949">
                  <c:v>38475</c:v>
                </c:pt>
                <c:pt idx="3950">
                  <c:v>38476</c:v>
                </c:pt>
                <c:pt idx="3951">
                  <c:v>38477</c:v>
                </c:pt>
                <c:pt idx="3952">
                  <c:v>38478</c:v>
                </c:pt>
                <c:pt idx="3953">
                  <c:v>38481</c:v>
                </c:pt>
                <c:pt idx="3954">
                  <c:v>38482</c:v>
                </c:pt>
                <c:pt idx="3955">
                  <c:v>38483</c:v>
                </c:pt>
                <c:pt idx="3956">
                  <c:v>38484</c:v>
                </c:pt>
                <c:pt idx="3957">
                  <c:v>38485</c:v>
                </c:pt>
                <c:pt idx="3958">
                  <c:v>38488</c:v>
                </c:pt>
                <c:pt idx="3959">
                  <c:v>38489</c:v>
                </c:pt>
                <c:pt idx="3960">
                  <c:v>38490</c:v>
                </c:pt>
                <c:pt idx="3961">
                  <c:v>38491</c:v>
                </c:pt>
                <c:pt idx="3962">
                  <c:v>38492</c:v>
                </c:pt>
                <c:pt idx="3963">
                  <c:v>38495</c:v>
                </c:pt>
                <c:pt idx="3964">
                  <c:v>38496</c:v>
                </c:pt>
                <c:pt idx="3965">
                  <c:v>38497</c:v>
                </c:pt>
                <c:pt idx="3966">
                  <c:v>38498</c:v>
                </c:pt>
                <c:pt idx="3967">
                  <c:v>38499</c:v>
                </c:pt>
                <c:pt idx="3968">
                  <c:v>38503</c:v>
                </c:pt>
                <c:pt idx="3969">
                  <c:v>38504</c:v>
                </c:pt>
                <c:pt idx="3970">
                  <c:v>38505</c:v>
                </c:pt>
                <c:pt idx="3971">
                  <c:v>38506</c:v>
                </c:pt>
                <c:pt idx="3972">
                  <c:v>38509</c:v>
                </c:pt>
                <c:pt idx="3973">
                  <c:v>38510</c:v>
                </c:pt>
                <c:pt idx="3974">
                  <c:v>38511</c:v>
                </c:pt>
                <c:pt idx="3975">
                  <c:v>38512</c:v>
                </c:pt>
                <c:pt idx="3976">
                  <c:v>38513</c:v>
                </c:pt>
                <c:pt idx="3977">
                  <c:v>38516</c:v>
                </c:pt>
                <c:pt idx="3978">
                  <c:v>38517</c:v>
                </c:pt>
                <c:pt idx="3979">
                  <c:v>38518</c:v>
                </c:pt>
                <c:pt idx="3980">
                  <c:v>38519</c:v>
                </c:pt>
                <c:pt idx="3981">
                  <c:v>38520</c:v>
                </c:pt>
                <c:pt idx="3982">
                  <c:v>38523</c:v>
                </c:pt>
                <c:pt idx="3983">
                  <c:v>38524</c:v>
                </c:pt>
                <c:pt idx="3984">
                  <c:v>38525</c:v>
                </c:pt>
                <c:pt idx="3985">
                  <c:v>38526</c:v>
                </c:pt>
                <c:pt idx="3986">
                  <c:v>38527</c:v>
                </c:pt>
                <c:pt idx="3987">
                  <c:v>38530</c:v>
                </c:pt>
                <c:pt idx="3988">
                  <c:v>38531</c:v>
                </c:pt>
                <c:pt idx="3989">
                  <c:v>38532</c:v>
                </c:pt>
                <c:pt idx="3990">
                  <c:v>38533</c:v>
                </c:pt>
                <c:pt idx="3991">
                  <c:v>38534</c:v>
                </c:pt>
                <c:pt idx="3992">
                  <c:v>38538</c:v>
                </c:pt>
                <c:pt idx="3993">
                  <c:v>38539</c:v>
                </c:pt>
                <c:pt idx="3994">
                  <c:v>38540</c:v>
                </c:pt>
                <c:pt idx="3995">
                  <c:v>38541</c:v>
                </c:pt>
                <c:pt idx="3996">
                  <c:v>38544</c:v>
                </c:pt>
                <c:pt idx="3997">
                  <c:v>38545</c:v>
                </c:pt>
                <c:pt idx="3998">
                  <c:v>38546</c:v>
                </c:pt>
                <c:pt idx="3999">
                  <c:v>38547</c:v>
                </c:pt>
                <c:pt idx="4000">
                  <c:v>38548</c:v>
                </c:pt>
                <c:pt idx="4001">
                  <c:v>38551</c:v>
                </c:pt>
                <c:pt idx="4002">
                  <c:v>38552</c:v>
                </c:pt>
                <c:pt idx="4003">
                  <c:v>38553</c:v>
                </c:pt>
                <c:pt idx="4004">
                  <c:v>38554</c:v>
                </c:pt>
                <c:pt idx="4005">
                  <c:v>38555</c:v>
                </c:pt>
                <c:pt idx="4006">
                  <c:v>38558</c:v>
                </c:pt>
                <c:pt idx="4007">
                  <c:v>38559</c:v>
                </c:pt>
                <c:pt idx="4008">
                  <c:v>38560</c:v>
                </c:pt>
                <c:pt idx="4009">
                  <c:v>38561</c:v>
                </c:pt>
                <c:pt idx="4010">
                  <c:v>38562</c:v>
                </c:pt>
                <c:pt idx="4011">
                  <c:v>38565</c:v>
                </c:pt>
                <c:pt idx="4012">
                  <c:v>38566</c:v>
                </c:pt>
                <c:pt idx="4013">
                  <c:v>38567</c:v>
                </c:pt>
                <c:pt idx="4014">
                  <c:v>38568</c:v>
                </c:pt>
                <c:pt idx="4015">
                  <c:v>38569</c:v>
                </c:pt>
                <c:pt idx="4016">
                  <c:v>38572</c:v>
                </c:pt>
                <c:pt idx="4017">
                  <c:v>38573</c:v>
                </c:pt>
                <c:pt idx="4018">
                  <c:v>38574</c:v>
                </c:pt>
                <c:pt idx="4019">
                  <c:v>38575</c:v>
                </c:pt>
                <c:pt idx="4020">
                  <c:v>38576</c:v>
                </c:pt>
                <c:pt idx="4021">
                  <c:v>38579</c:v>
                </c:pt>
                <c:pt idx="4022">
                  <c:v>38580</c:v>
                </c:pt>
                <c:pt idx="4023">
                  <c:v>38581</c:v>
                </c:pt>
                <c:pt idx="4024">
                  <c:v>38582</c:v>
                </c:pt>
                <c:pt idx="4025">
                  <c:v>38583</c:v>
                </c:pt>
                <c:pt idx="4026">
                  <c:v>38586</c:v>
                </c:pt>
                <c:pt idx="4027">
                  <c:v>38587</c:v>
                </c:pt>
                <c:pt idx="4028">
                  <c:v>38588</c:v>
                </c:pt>
                <c:pt idx="4029">
                  <c:v>38589</c:v>
                </c:pt>
                <c:pt idx="4030">
                  <c:v>38590</c:v>
                </c:pt>
                <c:pt idx="4031">
                  <c:v>38593</c:v>
                </c:pt>
                <c:pt idx="4032">
                  <c:v>38594</c:v>
                </c:pt>
                <c:pt idx="4033">
                  <c:v>38595</c:v>
                </c:pt>
                <c:pt idx="4034">
                  <c:v>38596</c:v>
                </c:pt>
                <c:pt idx="4035">
                  <c:v>38597</c:v>
                </c:pt>
                <c:pt idx="4036">
                  <c:v>38601</c:v>
                </c:pt>
                <c:pt idx="4037">
                  <c:v>38602</c:v>
                </c:pt>
                <c:pt idx="4038">
                  <c:v>38603</c:v>
                </c:pt>
                <c:pt idx="4039">
                  <c:v>38604</c:v>
                </c:pt>
                <c:pt idx="4040">
                  <c:v>38607</c:v>
                </c:pt>
                <c:pt idx="4041">
                  <c:v>38608</c:v>
                </c:pt>
                <c:pt idx="4042">
                  <c:v>38609</c:v>
                </c:pt>
                <c:pt idx="4043">
                  <c:v>38610</c:v>
                </c:pt>
                <c:pt idx="4044">
                  <c:v>38611</c:v>
                </c:pt>
                <c:pt idx="4045">
                  <c:v>38614</c:v>
                </c:pt>
                <c:pt idx="4046">
                  <c:v>38615</c:v>
                </c:pt>
                <c:pt idx="4047">
                  <c:v>38616</c:v>
                </c:pt>
                <c:pt idx="4048">
                  <c:v>38617</c:v>
                </c:pt>
                <c:pt idx="4049">
                  <c:v>38618</c:v>
                </c:pt>
                <c:pt idx="4050">
                  <c:v>38621</c:v>
                </c:pt>
                <c:pt idx="4051">
                  <c:v>38622</c:v>
                </c:pt>
                <c:pt idx="4052">
                  <c:v>38623</c:v>
                </c:pt>
                <c:pt idx="4053">
                  <c:v>38624</c:v>
                </c:pt>
                <c:pt idx="4054">
                  <c:v>38625</c:v>
                </c:pt>
                <c:pt idx="4055">
                  <c:v>38628</c:v>
                </c:pt>
                <c:pt idx="4056">
                  <c:v>38629</c:v>
                </c:pt>
                <c:pt idx="4057">
                  <c:v>38630</c:v>
                </c:pt>
                <c:pt idx="4058">
                  <c:v>38631</c:v>
                </c:pt>
                <c:pt idx="4059">
                  <c:v>38632</c:v>
                </c:pt>
                <c:pt idx="4060">
                  <c:v>38635</c:v>
                </c:pt>
                <c:pt idx="4061">
                  <c:v>38636</c:v>
                </c:pt>
                <c:pt idx="4062">
                  <c:v>38637</c:v>
                </c:pt>
                <c:pt idx="4063">
                  <c:v>38638</c:v>
                </c:pt>
                <c:pt idx="4064">
                  <c:v>38639</c:v>
                </c:pt>
                <c:pt idx="4065">
                  <c:v>38642</c:v>
                </c:pt>
                <c:pt idx="4066">
                  <c:v>38643</c:v>
                </c:pt>
                <c:pt idx="4067">
                  <c:v>38644</c:v>
                </c:pt>
                <c:pt idx="4068">
                  <c:v>38645</c:v>
                </c:pt>
                <c:pt idx="4069">
                  <c:v>38646</c:v>
                </c:pt>
                <c:pt idx="4070">
                  <c:v>38649</c:v>
                </c:pt>
                <c:pt idx="4071">
                  <c:v>38650</c:v>
                </c:pt>
                <c:pt idx="4072">
                  <c:v>38651</c:v>
                </c:pt>
                <c:pt idx="4073">
                  <c:v>38652</c:v>
                </c:pt>
                <c:pt idx="4074">
                  <c:v>38653</c:v>
                </c:pt>
                <c:pt idx="4075">
                  <c:v>38656</c:v>
                </c:pt>
                <c:pt idx="4076">
                  <c:v>38657</c:v>
                </c:pt>
                <c:pt idx="4077">
                  <c:v>38658</c:v>
                </c:pt>
                <c:pt idx="4078">
                  <c:v>38659</c:v>
                </c:pt>
                <c:pt idx="4079">
                  <c:v>38660</c:v>
                </c:pt>
                <c:pt idx="4080">
                  <c:v>38663</c:v>
                </c:pt>
                <c:pt idx="4081">
                  <c:v>38664</c:v>
                </c:pt>
                <c:pt idx="4082">
                  <c:v>38665</c:v>
                </c:pt>
                <c:pt idx="4083">
                  <c:v>38666</c:v>
                </c:pt>
                <c:pt idx="4084">
                  <c:v>38667</c:v>
                </c:pt>
                <c:pt idx="4085">
                  <c:v>38670</c:v>
                </c:pt>
                <c:pt idx="4086">
                  <c:v>38671</c:v>
                </c:pt>
                <c:pt idx="4087">
                  <c:v>38672</c:v>
                </c:pt>
                <c:pt idx="4088">
                  <c:v>38673</c:v>
                </c:pt>
                <c:pt idx="4089">
                  <c:v>38674</c:v>
                </c:pt>
                <c:pt idx="4090">
                  <c:v>38677</c:v>
                </c:pt>
                <c:pt idx="4091">
                  <c:v>38678</c:v>
                </c:pt>
                <c:pt idx="4092">
                  <c:v>38679</c:v>
                </c:pt>
                <c:pt idx="4093">
                  <c:v>38681</c:v>
                </c:pt>
                <c:pt idx="4094">
                  <c:v>38684</c:v>
                </c:pt>
                <c:pt idx="4095">
                  <c:v>38685</c:v>
                </c:pt>
                <c:pt idx="4096">
                  <c:v>38686</c:v>
                </c:pt>
                <c:pt idx="4097">
                  <c:v>38687</c:v>
                </c:pt>
                <c:pt idx="4098">
                  <c:v>38688</c:v>
                </c:pt>
                <c:pt idx="4099">
                  <c:v>38691</c:v>
                </c:pt>
                <c:pt idx="4100">
                  <c:v>38692</c:v>
                </c:pt>
                <c:pt idx="4101">
                  <c:v>38693</c:v>
                </c:pt>
                <c:pt idx="4102">
                  <c:v>38694</c:v>
                </c:pt>
                <c:pt idx="4103">
                  <c:v>38695</c:v>
                </c:pt>
                <c:pt idx="4104">
                  <c:v>38698</c:v>
                </c:pt>
                <c:pt idx="4105">
                  <c:v>38699</c:v>
                </c:pt>
                <c:pt idx="4106">
                  <c:v>38700</c:v>
                </c:pt>
                <c:pt idx="4107">
                  <c:v>38701</c:v>
                </c:pt>
                <c:pt idx="4108">
                  <c:v>38702</c:v>
                </c:pt>
                <c:pt idx="4109">
                  <c:v>38705</c:v>
                </c:pt>
                <c:pt idx="4110">
                  <c:v>38706</c:v>
                </c:pt>
                <c:pt idx="4111">
                  <c:v>38707</c:v>
                </c:pt>
                <c:pt idx="4112">
                  <c:v>38708</c:v>
                </c:pt>
                <c:pt idx="4113">
                  <c:v>38709</c:v>
                </c:pt>
                <c:pt idx="4114">
                  <c:v>38713</c:v>
                </c:pt>
                <c:pt idx="4115">
                  <c:v>38714</c:v>
                </c:pt>
                <c:pt idx="4116">
                  <c:v>38715</c:v>
                </c:pt>
                <c:pt idx="4117">
                  <c:v>38716</c:v>
                </c:pt>
                <c:pt idx="4118">
                  <c:v>38720</c:v>
                </c:pt>
                <c:pt idx="4119">
                  <c:v>38721</c:v>
                </c:pt>
                <c:pt idx="4120">
                  <c:v>38722</c:v>
                </c:pt>
                <c:pt idx="4121">
                  <c:v>38723</c:v>
                </c:pt>
                <c:pt idx="4122">
                  <c:v>38726</c:v>
                </c:pt>
                <c:pt idx="4123">
                  <c:v>38727</c:v>
                </c:pt>
                <c:pt idx="4124">
                  <c:v>38728</c:v>
                </c:pt>
                <c:pt idx="4125">
                  <c:v>38729</c:v>
                </c:pt>
                <c:pt idx="4126">
                  <c:v>38730</c:v>
                </c:pt>
                <c:pt idx="4127">
                  <c:v>38734</c:v>
                </c:pt>
                <c:pt idx="4128">
                  <c:v>38735</c:v>
                </c:pt>
                <c:pt idx="4129">
                  <c:v>38736</c:v>
                </c:pt>
                <c:pt idx="4130">
                  <c:v>38737</c:v>
                </c:pt>
                <c:pt idx="4131">
                  <c:v>38740</c:v>
                </c:pt>
                <c:pt idx="4132">
                  <c:v>38741</c:v>
                </c:pt>
                <c:pt idx="4133">
                  <c:v>38742</c:v>
                </c:pt>
                <c:pt idx="4134">
                  <c:v>38743</c:v>
                </c:pt>
                <c:pt idx="4135">
                  <c:v>38744</c:v>
                </c:pt>
                <c:pt idx="4136">
                  <c:v>38747</c:v>
                </c:pt>
                <c:pt idx="4137">
                  <c:v>38748</c:v>
                </c:pt>
                <c:pt idx="4138">
                  <c:v>38749</c:v>
                </c:pt>
                <c:pt idx="4139">
                  <c:v>38750</c:v>
                </c:pt>
                <c:pt idx="4140">
                  <c:v>38751</c:v>
                </c:pt>
                <c:pt idx="4141">
                  <c:v>38754</c:v>
                </c:pt>
                <c:pt idx="4142">
                  <c:v>38755</c:v>
                </c:pt>
                <c:pt idx="4143">
                  <c:v>38756</c:v>
                </c:pt>
                <c:pt idx="4144">
                  <c:v>38757</c:v>
                </c:pt>
                <c:pt idx="4145">
                  <c:v>38758</c:v>
                </c:pt>
                <c:pt idx="4146">
                  <c:v>38761</c:v>
                </c:pt>
                <c:pt idx="4147">
                  <c:v>38762</c:v>
                </c:pt>
                <c:pt idx="4148">
                  <c:v>38763</c:v>
                </c:pt>
                <c:pt idx="4149">
                  <c:v>38764</c:v>
                </c:pt>
                <c:pt idx="4150">
                  <c:v>38765</c:v>
                </c:pt>
                <c:pt idx="4151">
                  <c:v>38769</c:v>
                </c:pt>
                <c:pt idx="4152">
                  <c:v>38770</c:v>
                </c:pt>
                <c:pt idx="4153">
                  <c:v>38771</c:v>
                </c:pt>
                <c:pt idx="4154">
                  <c:v>38772</c:v>
                </c:pt>
                <c:pt idx="4155">
                  <c:v>38775</c:v>
                </c:pt>
                <c:pt idx="4156">
                  <c:v>38776</c:v>
                </c:pt>
                <c:pt idx="4157">
                  <c:v>38777</c:v>
                </c:pt>
                <c:pt idx="4158">
                  <c:v>38778</c:v>
                </c:pt>
                <c:pt idx="4159">
                  <c:v>38779</c:v>
                </c:pt>
                <c:pt idx="4160">
                  <c:v>38782</c:v>
                </c:pt>
                <c:pt idx="4161">
                  <c:v>38783</c:v>
                </c:pt>
                <c:pt idx="4162">
                  <c:v>38784</c:v>
                </c:pt>
                <c:pt idx="4163">
                  <c:v>38785</c:v>
                </c:pt>
                <c:pt idx="4164">
                  <c:v>38786</c:v>
                </c:pt>
                <c:pt idx="4165">
                  <c:v>38789</c:v>
                </c:pt>
                <c:pt idx="4166">
                  <c:v>38790</c:v>
                </c:pt>
                <c:pt idx="4167">
                  <c:v>38791</c:v>
                </c:pt>
                <c:pt idx="4168">
                  <c:v>38792</c:v>
                </c:pt>
                <c:pt idx="4169">
                  <c:v>38793</c:v>
                </c:pt>
                <c:pt idx="4170">
                  <c:v>38796</c:v>
                </c:pt>
                <c:pt idx="4171">
                  <c:v>38797</c:v>
                </c:pt>
                <c:pt idx="4172">
                  <c:v>38798</c:v>
                </c:pt>
                <c:pt idx="4173">
                  <c:v>38799</c:v>
                </c:pt>
                <c:pt idx="4174">
                  <c:v>38800</c:v>
                </c:pt>
                <c:pt idx="4175">
                  <c:v>38803</c:v>
                </c:pt>
                <c:pt idx="4176">
                  <c:v>38804</c:v>
                </c:pt>
                <c:pt idx="4177">
                  <c:v>38805</c:v>
                </c:pt>
                <c:pt idx="4178">
                  <c:v>38806</c:v>
                </c:pt>
                <c:pt idx="4179">
                  <c:v>38807</c:v>
                </c:pt>
                <c:pt idx="4180">
                  <c:v>38810</c:v>
                </c:pt>
                <c:pt idx="4181">
                  <c:v>38811</c:v>
                </c:pt>
                <c:pt idx="4182">
                  <c:v>38812</c:v>
                </c:pt>
                <c:pt idx="4183">
                  <c:v>38813</c:v>
                </c:pt>
                <c:pt idx="4184">
                  <c:v>38814</c:v>
                </c:pt>
                <c:pt idx="4185">
                  <c:v>38817</c:v>
                </c:pt>
                <c:pt idx="4186">
                  <c:v>38818</c:v>
                </c:pt>
                <c:pt idx="4187">
                  <c:v>38819</c:v>
                </c:pt>
                <c:pt idx="4188">
                  <c:v>38820</c:v>
                </c:pt>
                <c:pt idx="4189">
                  <c:v>38824</c:v>
                </c:pt>
                <c:pt idx="4190">
                  <c:v>38825</c:v>
                </c:pt>
                <c:pt idx="4191">
                  <c:v>38826</c:v>
                </c:pt>
                <c:pt idx="4192">
                  <c:v>38827</c:v>
                </c:pt>
                <c:pt idx="4193">
                  <c:v>38828</c:v>
                </c:pt>
                <c:pt idx="4194">
                  <c:v>38831</c:v>
                </c:pt>
                <c:pt idx="4195">
                  <c:v>38832</c:v>
                </c:pt>
                <c:pt idx="4196">
                  <c:v>38833</c:v>
                </c:pt>
                <c:pt idx="4197">
                  <c:v>38834</c:v>
                </c:pt>
                <c:pt idx="4198">
                  <c:v>38835</c:v>
                </c:pt>
                <c:pt idx="4199">
                  <c:v>38838</c:v>
                </c:pt>
                <c:pt idx="4200">
                  <c:v>38839</c:v>
                </c:pt>
                <c:pt idx="4201">
                  <c:v>38840</c:v>
                </c:pt>
                <c:pt idx="4202">
                  <c:v>38841</c:v>
                </c:pt>
                <c:pt idx="4203">
                  <c:v>38842</c:v>
                </c:pt>
                <c:pt idx="4204">
                  <c:v>38845</c:v>
                </c:pt>
                <c:pt idx="4205">
                  <c:v>38846</c:v>
                </c:pt>
                <c:pt idx="4206">
                  <c:v>38847</c:v>
                </c:pt>
                <c:pt idx="4207">
                  <c:v>38848</c:v>
                </c:pt>
                <c:pt idx="4208">
                  <c:v>38849</c:v>
                </c:pt>
                <c:pt idx="4209">
                  <c:v>38852</c:v>
                </c:pt>
                <c:pt idx="4210">
                  <c:v>38853</c:v>
                </c:pt>
                <c:pt idx="4211">
                  <c:v>38854</c:v>
                </c:pt>
                <c:pt idx="4212">
                  <c:v>38855</c:v>
                </c:pt>
                <c:pt idx="4213">
                  <c:v>38856</c:v>
                </c:pt>
                <c:pt idx="4214">
                  <c:v>38859</c:v>
                </c:pt>
                <c:pt idx="4215">
                  <c:v>38860</c:v>
                </c:pt>
                <c:pt idx="4216">
                  <c:v>38861</c:v>
                </c:pt>
                <c:pt idx="4217">
                  <c:v>38862</c:v>
                </c:pt>
                <c:pt idx="4218">
                  <c:v>38863</c:v>
                </c:pt>
                <c:pt idx="4219">
                  <c:v>38867</c:v>
                </c:pt>
                <c:pt idx="4220">
                  <c:v>38868</c:v>
                </c:pt>
                <c:pt idx="4221">
                  <c:v>38869</c:v>
                </c:pt>
                <c:pt idx="4222">
                  <c:v>38870</c:v>
                </c:pt>
                <c:pt idx="4223">
                  <c:v>38873</c:v>
                </c:pt>
                <c:pt idx="4224">
                  <c:v>38874</c:v>
                </c:pt>
                <c:pt idx="4225">
                  <c:v>38875</c:v>
                </c:pt>
                <c:pt idx="4226">
                  <c:v>38876</c:v>
                </c:pt>
                <c:pt idx="4227">
                  <c:v>38877</c:v>
                </c:pt>
                <c:pt idx="4228">
                  <c:v>38880</c:v>
                </c:pt>
                <c:pt idx="4229">
                  <c:v>38881</c:v>
                </c:pt>
                <c:pt idx="4230">
                  <c:v>38882</c:v>
                </c:pt>
                <c:pt idx="4231">
                  <c:v>38883</c:v>
                </c:pt>
                <c:pt idx="4232">
                  <c:v>38884</c:v>
                </c:pt>
                <c:pt idx="4233">
                  <c:v>38887</c:v>
                </c:pt>
                <c:pt idx="4234">
                  <c:v>38888</c:v>
                </c:pt>
                <c:pt idx="4235">
                  <c:v>38889</c:v>
                </c:pt>
                <c:pt idx="4236">
                  <c:v>38890</c:v>
                </c:pt>
                <c:pt idx="4237">
                  <c:v>38891</c:v>
                </c:pt>
                <c:pt idx="4238">
                  <c:v>38894</c:v>
                </c:pt>
                <c:pt idx="4239">
                  <c:v>38895</c:v>
                </c:pt>
                <c:pt idx="4240">
                  <c:v>38896</c:v>
                </c:pt>
                <c:pt idx="4241">
                  <c:v>38897</c:v>
                </c:pt>
                <c:pt idx="4242">
                  <c:v>38898</c:v>
                </c:pt>
                <c:pt idx="4243">
                  <c:v>38901</c:v>
                </c:pt>
                <c:pt idx="4244">
                  <c:v>38903</c:v>
                </c:pt>
                <c:pt idx="4245">
                  <c:v>38904</c:v>
                </c:pt>
                <c:pt idx="4246">
                  <c:v>38905</c:v>
                </c:pt>
                <c:pt idx="4247">
                  <c:v>38908</c:v>
                </c:pt>
                <c:pt idx="4248">
                  <c:v>38909</c:v>
                </c:pt>
                <c:pt idx="4249">
                  <c:v>38910</c:v>
                </c:pt>
                <c:pt idx="4250">
                  <c:v>38911</c:v>
                </c:pt>
                <c:pt idx="4251">
                  <c:v>38912</c:v>
                </c:pt>
                <c:pt idx="4252">
                  <c:v>38915</c:v>
                </c:pt>
                <c:pt idx="4253">
                  <c:v>38916</c:v>
                </c:pt>
                <c:pt idx="4254">
                  <c:v>38917</c:v>
                </c:pt>
                <c:pt idx="4255">
                  <c:v>38918</c:v>
                </c:pt>
                <c:pt idx="4256">
                  <c:v>38919</c:v>
                </c:pt>
                <c:pt idx="4257">
                  <c:v>38922</c:v>
                </c:pt>
                <c:pt idx="4258">
                  <c:v>38923</c:v>
                </c:pt>
                <c:pt idx="4259">
                  <c:v>38924</c:v>
                </c:pt>
                <c:pt idx="4260">
                  <c:v>38925</c:v>
                </c:pt>
                <c:pt idx="4261">
                  <c:v>38926</c:v>
                </c:pt>
                <c:pt idx="4262">
                  <c:v>38929</c:v>
                </c:pt>
                <c:pt idx="4263">
                  <c:v>38930</c:v>
                </c:pt>
                <c:pt idx="4264">
                  <c:v>38931</c:v>
                </c:pt>
                <c:pt idx="4265">
                  <c:v>38932</c:v>
                </c:pt>
                <c:pt idx="4266">
                  <c:v>38933</c:v>
                </c:pt>
                <c:pt idx="4267">
                  <c:v>38936</c:v>
                </c:pt>
                <c:pt idx="4268">
                  <c:v>38937</c:v>
                </c:pt>
                <c:pt idx="4269">
                  <c:v>38938</c:v>
                </c:pt>
                <c:pt idx="4270">
                  <c:v>38939</c:v>
                </c:pt>
                <c:pt idx="4271">
                  <c:v>38940</c:v>
                </c:pt>
                <c:pt idx="4272">
                  <c:v>38943</c:v>
                </c:pt>
                <c:pt idx="4273">
                  <c:v>38944</c:v>
                </c:pt>
                <c:pt idx="4274">
                  <c:v>38945</c:v>
                </c:pt>
                <c:pt idx="4275">
                  <c:v>38946</c:v>
                </c:pt>
                <c:pt idx="4276">
                  <c:v>38947</c:v>
                </c:pt>
                <c:pt idx="4277">
                  <c:v>38950</c:v>
                </c:pt>
                <c:pt idx="4278">
                  <c:v>38951</c:v>
                </c:pt>
                <c:pt idx="4279">
                  <c:v>38952</c:v>
                </c:pt>
                <c:pt idx="4280">
                  <c:v>38953</c:v>
                </c:pt>
                <c:pt idx="4281">
                  <c:v>38954</c:v>
                </c:pt>
                <c:pt idx="4282">
                  <c:v>38957</c:v>
                </c:pt>
                <c:pt idx="4283">
                  <c:v>38958</c:v>
                </c:pt>
                <c:pt idx="4284">
                  <c:v>38959</c:v>
                </c:pt>
                <c:pt idx="4285">
                  <c:v>38960</c:v>
                </c:pt>
                <c:pt idx="4286">
                  <c:v>38961</c:v>
                </c:pt>
                <c:pt idx="4287">
                  <c:v>38965</c:v>
                </c:pt>
                <c:pt idx="4288">
                  <c:v>38966</c:v>
                </c:pt>
                <c:pt idx="4289">
                  <c:v>38967</c:v>
                </c:pt>
                <c:pt idx="4290">
                  <c:v>38968</c:v>
                </c:pt>
                <c:pt idx="4291">
                  <c:v>38971</c:v>
                </c:pt>
                <c:pt idx="4292">
                  <c:v>38972</c:v>
                </c:pt>
                <c:pt idx="4293">
                  <c:v>38973</c:v>
                </c:pt>
                <c:pt idx="4294">
                  <c:v>38974</c:v>
                </c:pt>
                <c:pt idx="4295">
                  <c:v>38975</c:v>
                </c:pt>
                <c:pt idx="4296">
                  <c:v>38978</c:v>
                </c:pt>
                <c:pt idx="4297">
                  <c:v>38979</c:v>
                </c:pt>
                <c:pt idx="4298">
                  <c:v>38980</c:v>
                </c:pt>
                <c:pt idx="4299">
                  <c:v>38981</c:v>
                </c:pt>
                <c:pt idx="4300">
                  <c:v>38982</c:v>
                </c:pt>
                <c:pt idx="4301">
                  <c:v>38985</c:v>
                </c:pt>
                <c:pt idx="4302">
                  <c:v>38986</c:v>
                </c:pt>
                <c:pt idx="4303">
                  <c:v>38987</c:v>
                </c:pt>
                <c:pt idx="4304">
                  <c:v>38988</c:v>
                </c:pt>
                <c:pt idx="4305">
                  <c:v>38989</c:v>
                </c:pt>
                <c:pt idx="4306">
                  <c:v>38992</c:v>
                </c:pt>
                <c:pt idx="4307">
                  <c:v>38993</c:v>
                </c:pt>
                <c:pt idx="4308">
                  <c:v>38994</c:v>
                </c:pt>
                <c:pt idx="4309">
                  <c:v>38995</c:v>
                </c:pt>
                <c:pt idx="4310">
                  <c:v>38996</c:v>
                </c:pt>
                <c:pt idx="4311">
                  <c:v>38999</c:v>
                </c:pt>
                <c:pt idx="4312">
                  <c:v>39000</c:v>
                </c:pt>
                <c:pt idx="4313">
                  <c:v>39001</c:v>
                </c:pt>
                <c:pt idx="4314">
                  <c:v>39002</c:v>
                </c:pt>
                <c:pt idx="4315">
                  <c:v>39003</c:v>
                </c:pt>
                <c:pt idx="4316">
                  <c:v>39006</c:v>
                </c:pt>
                <c:pt idx="4317">
                  <c:v>39007</c:v>
                </c:pt>
                <c:pt idx="4318">
                  <c:v>39008</c:v>
                </c:pt>
                <c:pt idx="4319">
                  <c:v>39009</c:v>
                </c:pt>
                <c:pt idx="4320">
                  <c:v>39010</c:v>
                </c:pt>
                <c:pt idx="4321">
                  <c:v>39013</c:v>
                </c:pt>
                <c:pt idx="4322">
                  <c:v>39014</c:v>
                </c:pt>
                <c:pt idx="4323">
                  <c:v>39015</c:v>
                </c:pt>
                <c:pt idx="4324">
                  <c:v>39016</c:v>
                </c:pt>
                <c:pt idx="4325">
                  <c:v>39017</c:v>
                </c:pt>
                <c:pt idx="4326">
                  <c:v>39020</c:v>
                </c:pt>
                <c:pt idx="4327">
                  <c:v>39021</c:v>
                </c:pt>
                <c:pt idx="4328">
                  <c:v>39022</c:v>
                </c:pt>
                <c:pt idx="4329">
                  <c:v>39023</c:v>
                </c:pt>
                <c:pt idx="4330">
                  <c:v>39024</c:v>
                </c:pt>
                <c:pt idx="4331">
                  <c:v>39027</c:v>
                </c:pt>
                <c:pt idx="4332">
                  <c:v>39028</c:v>
                </c:pt>
                <c:pt idx="4333">
                  <c:v>39029</c:v>
                </c:pt>
                <c:pt idx="4334">
                  <c:v>39030</c:v>
                </c:pt>
                <c:pt idx="4335">
                  <c:v>39031</c:v>
                </c:pt>
                <c:pt idx="4336">
                  <c:v>39034</c:v>
                </c:pt>
                <c:pt idx="4337">
                  <c:v>39035</c:v>
                </c:pt>
                <c:pt idx="4338">
                  <c:v>39036</c:v>
                </c:pt>
                <c:pt idx="4339">
                  <c:v>39037</c:v>
                </c:pt>
                <c:pt idx="4340">
                  <c:v>39038</c:v>
                </c:pt>
                <c:pt idx="4341">
                  <c:v>39041</c:v>
                </c:pt>
                <c:pt idx="4342">
                  <c:v>39042</c:v>
                </c:pt>
                <c:pt idx="4343">
                  <c:v>39043</c:v>
                </c:pt>
                <c:pt idx="4344">
                  <c:v>39045</c:v>
                </c:pt>
                <c:pt idx="4345">
                  <c:v>39048</c:v>
                </c:pt>
                <c:pt idx="4346">
                  <c:v>39049</c:v>
                </c:pt>
                <c:pt idx="4347">
                  <c:v>39050</c:v>
                </c:pt>
                <c:pt idx="4348">
                  <c:v>39051</c:v>
                </c:pt>
                <c:pt idx="4349">
                  <c:v>39052</c:v>
                </c:pt>
                <c:pt idx="4350">
                  <c:v>39055</c:v>
                </c:pt>
                <c:pt idx="4351">
                  <c:v>39056</c:v>
                </c:pt>
                <c:pt idx="4352">
                  <c:v>39057</c:v>
                </c:pt>
                <c:pt idx="4353">
                  <c:v>39058</c:v>
                </c:pt>
                <c:pt idx="4354">
                  <c:v>39059</c:v>
                </c:pt>
                <c:pt idx="4355">
                  <c:v>39062</c:v>
                </c:pt>
                <c:pt idx="4356">
                  <c:v>39063</c:v>
                </c:pt>
                <c:pt idx="4357">
                  <c:v>39064</c:v>
                </c:pt>
                <c:pt idx="4358">
                  <c:v>39065</c:v>
                </c:pt>
                <c:pt idx="4359">
                  <c:v>39066</c:v>
                </c:pt>
                <c:pt idx="4360">
                  <c:v>39069</c:v>
                </c:pt>
                <c:pt idx="4361">
                  <c:v>39070</c:v>
                </c:pt>
                <c:pt idx="4362">
                  <c:v>39071</c:v>
                </c:pt>
                <c:pt idx="4363">
                  <c:v>39072</c:v>
                </c:pt>
                <c:pt idx="4364">
                  <c:v>39073</c:v>
                </c:pt>
                <c:pt idx="4365">
                  <c:v>39077</c:v>
                </c:pt>
                <c:pt idx="4366">
                  <c:v>39078</c:v>
                </c:pt>
                <c:pt idx="4367">
                  <c:v>39079</c:v>
                </c:pt>
                <c:pt idx="4368">
                  <c:v>39080</c:v>
                </c:pt>
                <c:pt idx="4369">
                  <c:v>39085</c:v>
                </c:pt>
                <c:pt idx="4370">
                  <c:v>39086</c:v>
                </c:pt>
                <c:pt idx="4371">
                  <c:v>39087</c:v>
                </c:pt>
                <c:pt idx="4372">
                  <c:v>39090</c:v>
                </c:pt>
                <c:pt idx="4373">
                  <c:v>39091</c:v>
                </c:pt>
                <c:pt idx="4374">
                  <c:v>39092</c:v>
                </c:pt>
                <c:pt idx="4375">
                  <c:v>39093</c:v>
                </c:pt>
                <c:pt idx="4376">
                  <c:v>39094</c:v>
                </c:pt>
                <c:pt idx="4377">
                  <c:v>39098</c:v>
                </c:pt>
                <c:pt idx="4378">
                  <c:v>39099</c:v>
                </c:pt>
                <c:pt idx="4379">
                  <c:v>39100</c:v>
                </c:pt>
                <c:pt idx="4380">
                  <c:v>39101</c:v>
                </c:pt>
                <c:pt idx="4381">
                  <c:v>39104</c:v>
                </c:pt>
                <c:pt idx="4382">
                  <c:v>39105</c:v>
                </c:pt>
                <c:pt idx="4383">
                  <c:v>39106</c:v>
                </c:pt>
                <c:pt idx="4384">
                  <c:v>39107</c:v>
                </c:pt>
                <c:pt idx="4385">
                  <c:v>39108</c:v>
                </c:pt>
                <c:pt idx="4386">
                  <c:v>39111</c:v>
                </c:pt>
                <c:pt idx="4387">
                  <c:v>39112</c:v>
                </c:pt>
                <c:pt idx="4388">
                  <c:v>39113</c:v>
                </c:pt>
                <c:pt idx="4389">
                  <c:v>39114</c:v>
                </c:pt>
                <c:pt idx="4390">
                  <c:v>39115</c:v>
                </c:pt>
                <c:pt idx="4391">
                  <c:v>39118</c:v>
                </c:pt>
                <c:pt idx="4392">
                  <c:v>39119</c:v>
                </c:pt>
                <c:pt idx="4393">
                  <c:v>39120</c:v>
                </c:pt>
                <c:pt idx="4394">
                  <c:v>39121</c:v>
                </c:pt>
                <c:pt idx="4395">
                  <c:v>39122</c:v>
                </c:pt>
                <c:pt idx="4396">
                  <c:v>39125</c:v>
                </c:pt>
                <c:pt idx="4397">
                  <c:v>39126</c:v>
                </c:pt>
                <c:pt idx="4398">
                  <c:v>39127</c:v>
                </c:pt>
                <c:pt idx="4399">
                  <c:v>39128</c:v>
                </c:pt>
                <c:pt idx="4400">
                  <c:v>39129</c:v>
                </c:pt>
                <c:pt idx="4401">
                  <c:v>39133</c:v>
                </c:pt>
                <c:pt idx="4402">
                  <c:v>39134</c:v>
                </c:pt>
                <c:pt idx="4403">
                  <c:v>39135</c:v>
                </c:pt>
                <c:pt idx="4404">
                  <c:v>39136</c:v>
                </c:pt>
                <c:pt idx="4405">
                  <c:v>39139</c:v>
                </c:pt>
                <c:pt idx="4406">
                  <c:v>39140</c:v>
                </c:pt>
                <c:pt idx="4407">
                  <c:v>39141</c:v>
                </c:pt>
                <c:pt idx="4408">
                  <c:v>39142</c:v>
                </c:pt>
                <c:pt idx="4409">
                  <c:v>39143</c:v>
                </c:pt>
                <c:pt idx="4410">
                  <c:v>39146</c:v>
                </c:pt>
                <c:pt idx="4411">
                  <c:v>39147</c:v>
                </c:pt>
                <c:pt idx="4412">
                  <c:v>39148</c:v>
                </c:pt>
                <c:pt idx="4413">
                  <c:v>39149</c:v>
                </c:pt>
                <c:pt idx="4414">
                  <c:v>39150</c:v>
                </c:pt>
                <c:pt idx="4415">
                  <c:v>39153</c:v>
                </c:pt>
                <c:pt idx="4416">
                  <c:v>39154</c:v>
                </c:pt>
                <c:pt idx="4417">
                  <c:v>39155</c:v>
                </c:pt>
                <c:pt idx="4418">
                  <c:v>39156</c:v>
                </c:pt>
                <c:pt idx="4419">
                  <c:v>39157</c:v>
                </c:pt>
                <c:pt idx="4420">
                  <c:v>39160</c:v>
                </c:pt>
                <c:pt idx="4421">
                  <c:v>39161</c:v>
                </c:pt>
                <c:pt idx="4422">
                  <c:v>39162</c:v>
                </c:pt>
                <c:pt idx="4423">
                  <c:v>39163</c:v>
                </c:pt>
                <c:pt idx="4424">
                  <c:v>39164</c:v>
                </c:pt>
                <c:pt idx="4425">
                  <c:v>39167</c:v>
                </c:pt>
                <c:pt idx="4426">
                  <c:v>39168</c:v>
                </c:pt>
                <c:pt idx="4427">
                  <c:v>39169</c:v>
                </c:pt>
                <c:pt idx="4428">
                  <c:v>39170</c:v>
                </c:pt>
                <c:pt idx="4429">
                  <c:v>39171</c:v>
                </c:pt>
                <c:pt idx="4430">
                  <c:v>39174</c:v>
                </c:pt>
                <c:pt idx="4431">
                  <c:v>39175</c:v>
                </c:pt>
                <c:pt idx="4432">
                  <c:v>39176</c:v>
                </c:pt>
                <c:pt idx="4433">
                  <c:v>39177</c:v>
                </c:pt>
                <c:pt idx="4434">
                  <c:v>39181</c:v>
                </c:pt>
                <c:pt idx="4435">
                  <c:v>39182</c:v>
                </c:pt>
                <c:pt idx="4436">
                  <c:v>39183</c:v>
                </c:pt>
                <c:pt idx="4437">
                  <c:v>39184</c:v>
                </c:pt>
                <c:pt idx="4438">
                  <c:v>39185</c:v>
                </c:pt>
                <c:pt idx="4439">
                  <c:v>39188</c:v>
                </c:pt>
                <c:pt idx="4440">
                  <c:v>39189</c:v>
                </c:pt>
                <c:pt idx="4441">
                  <c:v>39190</c:v>
                </c:pt>
                <c:pt idx="4442">
                  <c:v>39191</c:v>
                </c:pt>
                <c:pt idx="4443">
                  <c:v>39192</c:v>
                </c:pt>
                <c:pt idx="4444">
                  <c:v>39195</c:v>
                </c:pt>
                <c:pt idx="4445">
                  <c:v>39196</c:v>
                </c:pt>
                <c:pt idx="4446">
                  <c:v>39197</c:v>
                </c:pt>
                <c:pt idx="4447">
                  <c:v>39198</c:v>
                </c:pt>
                <c:pt idx="4448">
                  <c:v>39199</c:v>
                </c:pt>
                <c:pt idx="4449">
                  <c:v>39202</c:v>
                </c:pt>
                <c:pt idx="4450">
                  <c:v>39203</c:v>
                </c:pt>
                <c:pt idx="4451">
                  <c:v>39204</c:v>
                </c:pt>
                <c:pt idx="4452">
                  <c:v>39205</c:v>
                </c:pt>
                <c:pt idx="4453">
                  <c:v>39206</c:v>
                </c:pt>
                <c:pt idx="4454">
                  <c:v>39209</c:v>
                </c:pt>
                <c:pt idx="4455">
                  <c:v>39210</c:v>
                </c:pt>
                <c:pt idx="4456">
                  <c:v>39211</c:v>
                </c:pt>
                <c:pt idx="4457">
                  <c:v>39212</c:v>
                </c:pt>
                <c:pt idx="4458">
                  <c:v>39213</c:v>
                </c:pt>
                <c:pt idx="4459">
                  <c:v>39216</c:v>
                </c:pt>
                <c:pt idx="4460">
                  <c:v>39217</c:v>
                </c:pt>
                <c:pt idx="4461">
                  <c:v>39218</c:v>
                </c:pt>
                <c:pt idx="4462">
                  <c:v>39219</c:v>
                </c:pt>
                <c:pt idx="4463">
                  <c:v>39220</c:v>
                </c:pt>
                <c:pt idx="4464">
                  <c:v>39223</c:v>
                </c:pt>
                <c:pt idx="4465">
                  <c:v>39224</c:v>
                </c:pt>
                <c:pt idx="4466">
                  <c:v>39225</c:v>
                </c:pt>
                <c:pt idx="4467">
                  <c:v>39226</c:v>
                </c:pt>
                <c:pt idx="4468">
                  <c:v>39227</c:v>
                </c:pt>
                <c:pt idx="4469">
                  <c:v>39231</c:v>
                </c:pt>
                <c:pt idx="4470">
                  <c:v>39232</c:v>
                </c:pt>
                <c:pt idx="4471">
                  <c:v>39233</c:v>
                </c:pt>
                <c:pt idx="4472">
                  <c:v>39234</c:v>
                </c:pt>
                <c:pt idx="4473">
                  <c:v>39237</c:v>
                </c:pt>
                <c:pt idx="4474">
                  <c:v>39238</c:v>
                </c:pt>
                <c:pt idx="4475">
                  <c:v>39239</c:v>
                </c:pt>
                <c:pt idx="4476">
                  <c:v>39240</c:v>
                </c:pt>
                <c:pt idx="4477">
                  <c:v>39241</c:v>
                </c:pt>
                <c:pt idx="4478">
                  <c:v>39244</c:v>
                </c:pt>
                <c:pt idx="4479">
                  <c:v>39245</c:v>
                </c:pt>
                <c:pt idx="4480">
                  <c:v>39246</c:v>
                </c:pt>
                <c:pt idx="4481">
                  <c:v>39247</c:v>
                </c:pt>
                <c:pt idx="4482">
                  <c:v>39248</c:v>
                </c:pt>
                <c:pt idx="4483">
                  <c:v>39251</c:v>
                </c:pt>
                <c:pt idx="4484">
                  <c:v>39252</c:v>
                </c:pt>
                <c:pt idx="4485">
                  <c:v>39253</c:v>
                </c:pt>
                <c:pt idx="4486">
                  <c:v>39254</c:v>
                </c:pt>
                <c:pt idx="4487">
                  <c:v>39255</c:v>
                </c:pt>
                <c:pt idx="4488">
                  <c:v>39258</c:v>
                </c:pt>
                <c:pt idx="4489">
                  <c:v>39259</c:v>
                </c:pt>
                <c:pt idx="4490">
                  <c:v>39260</c:v>
                </c:pt>
                <c:pt idx="4491">
                  <c:v>39261</c:v>
                </c:pt>
                <c:pt idx="4492">
                  <c:v>39262</c:v>
                </c:pt>
                <c:pt idx="4493">
                  <c:v>39265</c:v>
                </c:pt>
                <c:pt idx="4494">
                  <c:v>39266</c:v>
                </c:pt>
                <c:pt idx="4495">
                  <c:v>39268</c:v>
                </c:pt>
                <c:pt idx="4496">
                  <c:v>39269</c:v>
                </c:pt>
                <c:pt idx="4497">
                  <c:v>39272</c:v>
                </c:pt>
                <c:pt idx="4498">
                  <c:v>39273</c:v>
                </c:pt>
                <c:pt idx="4499">
                  <c:v>39274</c:v>
                </c:pt>
                <c:pt idx="4500">
                  <c:v>39275</c:v>
                </c:pt>
                <c:pt idx="4501">
                  <c:v>39276</c:v>
                </c:pt>
                <c:pt idx="4502">
                  <c:v>39279</c:v>
                </c:pt>
                <c:pt idx="4503">
                  <c:v>39280</c:v>
                </c:pt>
                <c:pt idx="4504">
                  <c:v>39281</c:v>
                </c:pt>
                <c:pt idx="4505">
                  <c:v>39282</c:v>
                </c:pt>
                <c:pt idx="4506">
                  <c:v>39283</c:v>
                </c:pt>
                <c:pt idx="4507">
                  <c:v>39286</c:v>
                </c:pt>
                <c:pt idx="4508">
                  <c:v>39287</c:v>
                </c:pt>
                <c:pt idx="4509">
                  <c:v>39288</c:v>
                </c:pt>
                <c:pt idx="4510">
                  <c:v>39289</c:v>
                </c:pt>
                <c:pt idx="4511">
                  <c:v>39290</c:v>
                </c:pt>
                <c:pt idx="4512">
                  <c:v>39293</c:v>
                </c:pt>
                <c:pt idx="4513">
                  <c:v>39294</c:v>
                </c:pt>
                <c:pt idx="4514">
                  <c:v>39295</c:v>
                </c:pt>
                <c:pt idx="4515">
                  <c:v>39296</c:v>
                </c:pt>
                <c:pt idx="4516">
                  <c:v>39297</c:v>
                </c:pt>
                <c:pt idx="4517">
                  <c:v>39300</c:v>
                </c:pt>
                <c:pt idx="4518">
                  <c:v>39301</c:v>
                </c:pt>
                <c:pt idx="4519">
                  <c:v>39302</c:v>
                </c:pt>
                <c:pt idx="4520">
                  <c:v>39303</c:v>
                </c:pt>
                <c:pt idx="4521">
                  <c:v>39304</c:v>
                </c:pt>
                <c:pt idx="4522">
                  <c:v>39307</c:v>
                </c:pt>
                <c:pt idx="4523">
                  <c:v>39308</c:v>
                </c:pt>
                <c:pt idx="4524">
                  <c:v>39309</c:v>
                </c:pt>
                <c:pt idx="4525">
                  <c:v>39310</c:v>
                </c:pt>
                <c:pt idx="4526">
                  <c:v>39311</c:v>
                </c:pt>
                <c:pt idx="4527">
                  <c:v>39314</c:v>
                </c:pt>
                <c:pt idx="4528">
                  <c:v>39315</c:v>
                </c:pt>
                <c:pt idx="4529">
                  <c:v>39316</c:v>
                </c:pt>
                <c:pt idx="4530">
                  <c:v>39317</c:v>
                </c:pt>
                <c:pt idx="4531">
                  <c:v>39318</c:v>
                </c:pt>
                <c:pt idx="4532">
                  <c:v>39321</c:v>
                </c:pt>
                <c:pt idx="4533">
                  <c:v>39322</c:v>
                </c:pt>
                <c:pt idx="4534">
                  <c:v>39323</c:v>
                </c:pt>
                <c:pt idx="4535">
                  <c:v>39324</c:v>
                </c:pt>
                <c:pt idx="4536">
                  <c:v>39325</c:v>
                </c:pt>
                <c:pt idx="4537">
                  <c:v>39329</c:v>
                </c:pt>
                <c:pt idx="4538">
                  <c:v>39330</c:v>
                </c:pt>
                <c:pt idx="4539">
                  <c:v>39331</c:v>
                </c:pt>
                <c:pt idx="4540">
                  <c:v>39332</c:v>
                </c:pt>
                <c:pt idx="4541">
                  <c:v>39335</c:v>
                </c:pt>
                <c:pt idx="4542">
                  <c:v>39336</c:v>
                </c:pt>
                <c:pt idx="4543">
                  <c:v>39337</c:v>
                </c:pt>
                <c:pt idx="4544">
                  <c:v>39338</c:v>
                </c:pt>
                <c:pt idx="4545">
                  <c:v>39339</c:v>
                </c:pt>
                <c:pt idx="4546">
                  <c:v>39342</c:v>
                </c:pt>
                <c:pt idx="4547">
                  <c:v>39343</c:v>
                </c:pt>
                <c:pt idx="4548">
                  <c:v>39344</c:v>
                </c:pt>
                <c:pt idx="4549">
                  <c:v>39345</c:v>
                </c:pt>
                <c:pt idx="4550">
                  <c:v>39346</c:v>
                </c:pt>
                <c:pt idx="4551">
                  <c:v>39349</c:v>
                </c:pt>
                <c:pt idx="4552">
                  <c:v>39350</c:v>
                </c:pt>
                <c:pt idx="4553">
                  <c:v>39351</c:v>
                </c:pt>
                <c:pt idx="4554">
                  <c:v>39352</c:v>
                </c:pt>
                <c:pt idx="4555">
                  <c:v>39353</c:v>
                </c:pt>
                <c:pt idx="4556">
                  <c:v>39356</c:v>
                </c:pt>
                <c:pt idx="4557">
                  <c:v>39357</c:v>
                </c:pt>
                <c:pt idx="4558">
                  <c:v>39358</c:v>
                </c:pt>
                <c:pt idx="4559">
                  <c:v>39359</c:v>
                </c:pt>
                <c:pt idx="4560">
                  <c:v>39360</c:v>
                </c:pt>
                <c:pt idx="4561">
                  <c:v>39363</c:v>
                </c:pt>
                <c:pt idx="4562">
                  <c:v>39364</c:v>
                </c:pt>
                <c:pt idx="4563">
                  <c:v>39365</c:v>
                </c:pt>
                <c:pt idx="4564">
                  <c:v>39366</c:v>
                </c:pt>
                <c:pt idx="4565">
                  <c:v>39367</c:v>
                </c:pt>
                <c:pt idx="4566">
                  <c:v>39370</c:v>
                </c:pt>
                <c:pt idx="4567">
                  <c:v>39371</c:v>
                </c:pt>
                <c:pt idx="4568">
                  <c:v>39372</c:v>
                </c:pt>
                <c:pt idx="4569">
                  <c:v>39373</c:v>
                </c:pt>
                <c:pt idx="4570">
                  <c:v>39374</c:v>
                </c:pt>
                <c:pt idx="4571">
                  <c:v>39377</c:v>
                </c:pt>
                <c:pt idx="4572">
                  <c:v>39378</c:v>
                </c:pt>
                <c:pt idx="4573">
                  <c:v>39379</c:v>
                </c:pt>
                <c:pt idx="4574">
                  <c:v>39380</c:v>
                </c:pt>
                <c:pt idx="4575">
                  <c:v>39381</c:v>
                </c:pt>
                <c:pt idx="4576">
                  <c:v>39384</c:v>
                </c:pt>
                <c:pt idx="4577">
                  <c:v>39385</c:v>
                </c:pt>
                <c:pt idx="4578">
                  <c:v>39386</c:v>
                </c:pt>
                <c:pt idx="4579">
                  <c:v>39387</c:v>
                </c:pt>
                <c:pt idx="4580">
                  <c:v>39388</c:v>
                </c:pt>
                <c:pt idx="4581">
                  <c:v>39391</c:v>
                </c:pt>
                <c:pt idx="4582">
                  <c:v>39392</c:v>
                </c:pt>
                <c:pt idx="4583">
                  <c:v>39393</c:v>
                </c:pt>
                <c:pt idx="4584">
                  <c:v>39394</c:v>
                </c:pt>
                <c:pt idx="4585">
                  <c:v>39395</c:v>
                </c:pt>
                <c:pt idx="4586">
                  <c:v>39398</c:v>
                </c:pt>
                <c:pt idx="4587">
                  <c:v>39399</c:v>
                </c:pt>
                <c:pt idx="4588">
                  <c:v>39400</c:v>
                </c:pt>
                <c:pt idx="4589">
                  <c:v>39401</c:v>
                </c:pt>
                <c:pt idx="4590">
                  <c:v>39402</c:v>
                </c:pt>
                <c:pt idx="4591">
                  <c:v>39405</c:v>
                </c:pt>
                <c:pt idx="4592">
                  <c:v>39406</c:v>
                </c:pt>
                <c:pt idx="4593">
                  <c:v>39407</c:v>
                </c:pt>
                <c:pt idx="4594">
                  <c:v>39409</c:v>
                </c:pt>
                <c:pt idx="4595">
                  <c:v>39412</c:v>
                </c:pt>
                <c:pt idx="4596">
                  <c:v>39413</c:v>
                </c:pt>
                <c:pt idx="4597">
                  <c:v>39414</c:v>
                </c:pt>
                <c:pt idx="4598">
                  <c:v>39415</c:v>
                </c:pt>
                <c:pt idx="4599">
                  <c:v>39416</c:v>
                </c:pt>
                <c:pt idx="4600">
                  <c:v>39419</c:v>
                </c:pt>
                <c:pt idx="4601">
                  <c:v>39420</c:v>
                </c:pt>
                <c:pt idx="4602">
                  <c:v>39421</c:v>
                </c:pt>
                <c:pt idx="4603">
                  <c:v>39422</c:v>
                </c:pt>
                <c:pt idx="4604">
                  <c:v>39423</c:v>
                </c:pt>
                <c:pt idx="4605">
                  <c:v>39426</c:v>
                </c:pt>
                <c:pt idx="4606">
                  <c:v>39427</c:v>
                </c:pt>
                <c:pt idx="4607">
                  <c:v>39428</c:v>
                </c:pt>
                <c:pt idx="4608">
                  <c:v>39429</c:v>
                </c:pt>
                <c:pt idx="4609">
                  <c:v>39430</c:v>
                </c:pt>
                <c:pt idx="4610">
                  <c:v>39433</c:v>
                </c:pt>
                <c:pt idx="4611">
                  <c:v>39434</c:v>
                </c:pt>
                <c:pt idx="4612">
                  <c:v>39435</c:v>
                </c:pt>
                <c:pt idx="4613">
                  <c:v>39436</c:v>
                </c:pt>
                <c:pt idx="4614">
                  <c:v>39437</c:v>
                </c:pt>
                <c:pt idx="4615">
                  <c:v>39440</c:v>
                </c:pt>
                <c:pt idx="4616">
                  <c:v>39442</c:v>
                </c:pt>
                <c:pt idx="4617">
                  <c:v>39443</c:v>
                </c:pt>
                <c:pt idx="4618">
                  <c:v>39444</c:v>
                </c:pt>
                <c:pt idx="4619">
                  <c:v>39447</c:v>
                </c:pt>
                <c:pt idx="4620">
                  <c:v>39449</c:v>
                </c:pt>
                <c:pt idx="4621">
                  <c:v>39450</c:v>
                </c:pt>
                <c:pt idx="4622">
                  <c:v>39451</c:v>
                </c:pt>
                <c:pt idx="4623">
                  <c:v>39454</c:v>
                </c:pt>
                <c:pt idx="4624">
                  <c:v>39455</c:v>
                </c:pt>
                <c:pt idx="4625">
                  <c:v>39456</c:v>
                </c:pt>
                <c:pt idx="4626">
                  <c:v>39457</c:v>
                </c:pt>
                <c:pt idx="4627">
                  <c:v>39458</c:v>
                </c:pt>
                <c:pt idx="4628">
                  <c:v>39461</c:v>
                </c:pt>
                <c:pt idx="4629">
                  <c:v>39462</c:v>
                </c:pt>
                <c:pt idx="4630">
                  <c:v>39463</c:v>
                </c:pt>
                <c:pt idx="4631">
                  <c:v>39464</c:v>
                </c:pt>
                <c:pt idx="4632">
                  <c:v>39465</c:v>
                </c:pt>
                <c:pt idx="4633">
                  <c:v>39469</c:v>
                </c:pt>
                <c:pt idx="4634">
                  <c:v>39470</c:v>
                </c:pt>
                <c:pt idx="4635">
                  <c:v>39471</c:v>
                </c:pt>
                <c:pt idx="4636">
                  <c:v>39472</c:v>
                </c:pt>
                <c:pt idx="4637">
                  <c:v>39475</c:v>
                </c:pt>
                <c:pt idx="4638">
                  <c:v>39476</c:v>
                </c:pt>
                <c:pt idx="4639">
                  <c:v>39477</c:v>
                </c:pt>
                <c:pt idx="4640">
                  <c:v>39478</c:v>
                </c:pt>
                <c:pt idx="4641">
                  <c:v>39479</c:v>
                </c:pt>
                <c:pt idx="4642">
                  <c:v>39482</c:v>
                </c:pt>
                <c:pt idx="4643">
                  <c:v>39483</c:v>
                </c:pt>
                <c:pt idx="4644">
                  <c:v>39484</c:v>
                </c:pt>
                <c:pt idx="4645">
                  <c:v>39485</c:v>
                </c:pt>
                <c:pt idx="4646">
                  <c:v>39486</c:v>
                </c:pt>
                <c:pt idx="4647">
                  <c:v>39489</c:v>
                </c:pt>
                <c:pt idx="4648">
                  <c:v>39490</c:v>
                </c:pt>
                <c:pt idx="4649">
                  <c:v>39491</c:v>
                </c:pt>
                <c:pt idx="4650">
                  <c:v>39492</c:v>
                </c:pt>
                <c:pt idx="4651">
                  <c:v>39493</c:v>
                </c:pt>
                <c:pt idx="4652">
                  <c:v>39497</c:v>
                </c:pt>
                <c:pt idx="4653">
                  <c:v>39498</c:v>
                </c:pt>
                <c:pt idx="4654">
                  <c:v>39499</c:v>
                </c:pt>
                <c:pt idx="4655">
                  <c:v>39500</c:v>
                </c:pt>
                <c:pt idx="4656">
                  <c:v>39503</c:v>
                </c:pt>
                <c:pt idx="4657">
                  <c:v>39504</c:v>
                </c:pt>
                <c:pt idx="4658">
                  <c:v>39505</c:v>
                </c:pt>
                <c:pt idx="4659">
                  <c:v>39506</c:v>
                </c:pt>
                <c:pt idx="4660">
                  <c:v>39507</c:v>
                </c:pt>
                <c:pt idx="4661">
                  <c:v>39510</c:v>
                </c:pt>
                <c:pt idx="4662">
                  <c:v>39511</c:v>
                </c:pt>
                <c:pt idx="4663">
                  <c:v>39512</c:v>
                </c:pt>
                <c:pt idx="4664">
                  <c:v>39513</c:v>
                </c:pt>
                <c:pt idx="4665">
                  <c:v>39514</c:v>
                </c:pt>
                <c:pt idx="4666">
                  <c:v>39517</c:v>
                </c:pt>
                <c:pt idx="4667">
                  <c:v>39518</c:v>
                </c:pt>
                <c:pt idx="4668">
                  <c:v>39519</c:v>
                </c:pt>
                <c:pt idx="4669">
                  <c:v>39520</c:v>
                </c:pt>
                <c:pt idx="4670">
                  <c:v>39521</c:v>
                </c:pt>
                <c:pt idx="4671">
                  <c:v>39524</c:v>
                </c:pt>
                <c:pt idx="4672">
                  <c:v>39525</c:v>
                </c:pt>
                <c:pt idx="4673">
                  <c:v>39526</c:v>
                </c:pt>
                <c:pt idx="4674">
                  <c:v>39527</c:v>
                </c:pt>
                <c:pt idx="4675">
                  <c:v>39531</c:v>
                </c:pt>
                <c:pt idx="4676">
                  <c:v>39532</c:v>
                </c:pt>
                <c:pt idx="4677">
                  <c:v>39533</c:v>
                </c:pt>
                <c:pt idx="4678">
                  <c:v>39534</c:v>
                </c:pt>
                <c:pt idx="4679">
                  <c:v>39535</c:v>
                </c:pt>
                <c:pt idx="4680">
                  <c:v>39538</c:v>
                </c:pt>
                <c:pt idx="4681">
                  <c:v>39539</c:v>
                </c:pt>
                <c:pt idx="4682">
                  <c:v>39540</c:v>
                </c:pt>
                <c:pt idx="4683">
                  <c:v>39541</c:v>
                </c:pt>
                <c:pt idx="4684">
                  <c:v>39542</c:v>
                </c:pt>
                <c:pt idx="4685">
                  <c:v>39545</c:v>
                </c:pt>
                <c:pt idx="4686">
                  <c:v>39546</c:v>
                </c:pt>
                <c:pt idx="4687">
                  <c:v>39547</c:v>
                </c:pt>
                <c:pt idx="4688">
                  <c:v>39548</c:v>
                </c:pt>
                <c:pt idx="4689">
                  <c:v>39549</c:v>
                </c:pt>
                <c:pt idx="4690">
                  <c:v>39552</c:v>
                </c:pt>
                <c:pt idx="4691">
                  <c:v>39553</c:v>
                </c:pt>
                <c:pt idx="4692">
                  <c:v>39554</c:v>
                </c:pt>
                <c:pt idx="4693">
                  <c:v>39555</c:v>
                </c:pt>
                <c:pt idx="4694">
                  <c:v>39556</c:v>
                </c:pt>
                <c:pt idx="4695">
                  <c:v>39559</c:v>
                </c:pt>
                <c:pt idx="4696">
                  <c:v>39560</c:v>
                </c:pt>
                <c:pt idx="4697">
                  <c:v>39561</c:v>
                </c:pt>
                <c:pt idx="4698">
                  <c:v>39562</c:v>
                </c:pt>
                <c:pt idx="4699">
                  <c:v>39563</c:v>
                </c:pt>
                <c:pt idx="4700">
                  <c:v>39566</c:v>
                </c:pt>
                <c:pt idx="4701">
                  <c:v>39567</c:v>
                </c:pt>
                <c:pt idx="4702">
                  <c:v>39568</c:v>
                </c:pt>
                <c:pt idx="4703">
                  <c:v>39569</c:v>
                </c:pt>
                <c:pt idx="4704">
                  <c:v>39570</c:v>
                </c:pt>
                <c:pt idx="4705">
                  <c:v>39573</c:v>
                </c:pt>
                <c:pt idx="4706">
                  <c:v>39574</c:v>
                </c:pt>
                <c:pt idx="4707">
                  <c:v>39575</c:v>
                </c:pt>
                <c:pt idx="4708">
                  <c:v>39576</c:v>
                </c:pt>
                <c:pt idx="4709">
                  <c:v>39577</c:v>
                </c:pt>
                <c:pt idx="4710">
                  <c:v>39580</c:v>
                </c:pt>
                <c:pt idx="4711">
                  <c:v>39581</c:v>
                </c:pt>
                <c:pt idx="4712">
                  <c:v>39582</c:v>
                </c:pt>
                <c:pt idx="4713">
                  <c:v>39583</c:v>
                </c:pt>
                <c:pt idx="4714">
                  <c:v>39584</c:v>
                </c:pt>
                <c:pt idx="4715">
                  <c:v>39587</c:v>
                </c:pt>
                <c:pt idx="4716">
                  <c:v>39588</c:v>
                </c:pt>
                <c:pt idx="4717">
                  <c:v>39589</c:v>
                </c:pt>
                <c:pt idx="4718">
                  <c:v>39590</c:v>
                </c:pt>
                <c:pt idx="4719">
                  <c:v>39591</c:v>
                </c:pt>
                <c:pt idx="4720">
                  <c:v>39595</c:v>
                </c:pt>
                <c:pt idx="4721">
                  <c:v>39596</c:v>
                </c:pt>
                <c:pt idx="4722">
                  <c:v>39597</c:v>
                </c:pt>
                <c:pt idx="4723">
                  <c:v>39598</c:v>
                </c:pt>
                <c:pt idx="4724">
                  <c:v>39601</c:v>
                </c:pt>
                <c:pt idx="4725">
                  <c:v>39602</c:v>
                </c:pt>
                <c:pt idx="4726">
                  <c:v>39603</c:v>
                </c:pt>
                <c:pt idx="4727">
                  <c:v>39604</c:v>
                </c:pt>
                <c:pt idx="4728">
                  <c:v>39605</c:v>
                </c:pt>
                <c:pt idx="4729">
                  <c:v>39608</c:v>
                </c:pt>
                <c:pt idx="4730">
                  <c:v>39609</c:v>
                </c:pt>
                <c:pt idx="4731">
                  <c:v>39610</c:v>
                </c:pt>
                <c:pt idx="4732">
                  <c:v>39611</c:v>
                </c:pt>
                <c:pt idx="4733">
                  <c:v>39612</c:v>
                </c:pt>
                <c:pt idx="4734">
                  <c:v>39615</c:v>
                </c:pt>
                <c:pt idx="4735">
                  <c:v>39616</c:v>
                </c:pt>
                <c:pt idx="4736">
                  <c:v>39617</c:v>
                </c:pt>
                <c:pt idx="4737">
                  <c:v>39618</c:v>
                </c:pt>
                <c:pt idx="4738">
                  <c:v>39619</c:v>
                </c:pt>
                <c:pt idx="4739">
                  <c:v>39622</c:v>
                </c:pt>
                <c:pt idx="4740">
                  <c:v>39623</c:v>
                </c:pt>
                <c:pt idx="4741">
                  <c:v>39624</c:v>
                </c:pt>
                <c:pt idx="4742">
                  <c:v>39625</c:v>
                </c:pt>
                <c:pt idx="4743">
                  <c:v>39626</c:v>
                </c:pt>
                <c:pt idx="4744">
                  <c:v>39629</c:v>
                </c:pt>
                <c:pt idx="4745">
                  <c:v>39630</c:v>
                </c:pt>
                <c:pt idx="4746">
                  <c:v>39631</c:v>
                </c:pt>
                <c:pt idx="4747">
                  <c:v>39632</c:v>
                </c:pt>
                <c:pt idx="4748">
                  <c:v>39636</c:v>
                </c:pt>
                <c:pt idx="4749">
                  <c:v>39637</c:v>
                </c:pt>
                <c:pt idx="4750">
                  <c:v>39638</c:v>
                </c:pt>
                <c:pt idx="4751">
                  <c:v>39639</c:v>
                </c:pt>
                <c:pt idx="4752">
                  <c:v>39640</c:v>
                </c:pt>
                <c:pt idx="4753">
                  <c:v>39643</c:v>
                </c:pt>
                <c:pt idx="4754">
                  <c:v>39644</c:v>
                </c:pt>
                <c:pt idx="4755">
                  <c:v>39645</c:v>
                </c:pt>
                <c:pt idx="4756">
                  <c:v>39646</c:v>
                </c:pt>
                <c:pt idx="4757">
                  <c:v>39647</c:v>
                </c:pt>
                <c:pt idx="4758">
                  <c:v>39650</c:v>
                </c:pt>
                <c:pt idx="4759">
                  <c:v>39651</c:v>
                </c:pt>
                <c:pt idx="4760">
                  <c:v>39652</c:v>
                </c:pt>
                <c:pt idx="4761">
                  <c:v>39653</c:v>
                </c:pt>
                <c:pt idx="4762">
                  <c:v>39654</c:v>
                </c:pt>
                <c:pt idx="4763">
                  <c:v>39657</c:v>
                </c:pt>
                <c:pt idx="4764">
                  <c:v>39658</c:v>
                </c:pt>
                <c:pt idx="4765">
                  <c:v>39659</c:v>
                </c:pt>
                <c:pt idx="4766">
                  <c:v>39660</c:v>
                </c:pt>
                <c:pt idx="4767">
                  <c:v>39661</c:v>
                </c:pt>
                <c:pt idx="4768">
                  <c:v>39664</c:v>
                </c:pt>
                <c:pt idx="4769">
                  <c:v>39665</c:v>
                </c:pt>
                <c:pt idx="4770">
                  <c:v>39666</c:v>
                </c:pt>
                <c:pt idx="4771">
                  <c:v>39667</c:v>
                </c:pt>
                <c:pt idx="4772">
                  <c:v>39668</c:v>
                </c:pt>
                <c:pt idx="4773">
                  <c:v>39671</c:v>
                </c:pt>
                <c:pt idx="4774">
                  <c:v>39672</c:v>
                </c:pt>
                <c:pt idx="4775">
                  <c:v>39673</c:v>
                </c:pt>
                <c:pt idx="4776">
                  <c:v>39674</c:v>
                </c:pt>
                <c:pt idx="4777">
                  <c:v>39675</c:v>
                </c:pt>
                <c:pt idx="4778">
                  <c:v>39678</c:v>
                </c:pt>
                <c:pt idx="4779">
                  <c:v>39679</c:v>
                </c:pt>
                <c:pt idx="4780">
                  <c:v>39680</c:v>
                </c:pt>
                <c:pt idx="4781">
                  <c:v>39681</c:v>
                </c:pt>
                <c:pt idx="4782">
                  <c:v>39682</c:v>
                </c:pt>
                <c:pt idx="4783">
                  <c:v>39685</c:v>
                </c:pt>
                <c:pt idx="4784">
                  <c:v>39686</c:v>
                </c:pt>
                <c:pt idx="4785">
                  <c:v>39687</c:v>
                </c:pt>
                <c:pt idx="4786">
                  <c:v>39688</c:v>
                </c:pt>
                <c:pt idx="4787">
                  <c:v>39689</c:v>
                </c:pt>
                <c:pt idx="4788">
                  <c:v>39693</c:v>
                </c:pt>
                <c:pt idx="4789">
                  <c:v>39694</c:v>
                </c:pt>
                <c:pt idx="4790">
                  <c:v>39695</c:v>
                </c:pt>
                <c:pt idx="4791">
                  <c:v>39696</c:v>
                </c:pt>
                <c:pt idx="4792">
                  <c:v>39699</c:v>
                </c:pt>
                <c:pt idx="4793">
                  <c:v>39700</c:v>
                </c:pt>
                <c:pt idx="4794">
                  <c:v>39701</c:v>
                </c:pt>
                <c:pt idx="4795">
                  <c:v>39702</c:v>
                </c:pt>
                <c:pt idx="4796">
                  <c:v>39703</c:v>
                </c:pt>
                <c:pt idx="4797">
                  <c:v>39706</c:v>
                </c:pt>
                <c:pt idx="4798">
                  <c:v>39707</c:v>
                </c:pt>
                <c:pt idx="4799">
                  <c:v>39708</c:v>
                </c:pt>
                <c:pt idx="4800">
                  <c:v>39709</c:v>
                </c:pt>
                <c:pt idx="4801">
                  <c:v>39710</c:v>
                </c:pt>
                <c:pt idx="4802">
                  <c:v>39713</c:v>
                </c:pt>
                <c:pt idx="4803">
                  <c:v>39714</c:v>
                </c:pt>
                <c:pt idx="4804">
                  <c:v>39715</c:v>
                </c:pt>
                <c:pt idx="4805">
                  <c:v>39716</c:v>
                </c:pt>
                <c:pt idx="4806">
                  <c:v>39717</c:v>
                </c:pt>
                <c:pt idx="4807">
                  <c:v>39720</c:v>
                </c:pt>
                <c:pt idx="4808">
                  <c:v>39721</c:v>
                </c:pt>
                <c:pt idx="4809">
                  <c:v>39722</c:v>
                </c:pt>
                <c:pt idx="4810">
                  <c:v>39723</c:v>
                </c:pt>
                <c:pt idx="4811">
                  <c:v>39724</c:v>
                </c:pt>
                <c:pt idx="4812">
                  <c:v>39727</c:v>
                </c:pt>
                <c:pt idx="4813">
                  <c:v>39728</c:v>
                </c:pt>
                <c:pt idx="4814">
                  <c:v>39729</c:v>
                </c:pt>
                <c:pt idx="4815">
                  <c:v>39730</c:v>
                </c:pt>
                <c:pt idx="4816">
                  <c:v>39731</c:v>
                </c:pt>
                <c:pt idx="4817">
                  <c:v>39734</c:v>
                </c:pt>
                <c:pt idx="4818">
                  <c:v>39735</c:v>
                </c:pt>
                <c:pt idx="4819">
                  <c:v>39736</c:v>
                </c:pt>
                <c:pt idx="4820">
                  <c:v>39737</c:v>
                </c:pt>
                <c:pt idx="4821">
                  <c:v>39738</c:v>
                </c:pt>
                <c:pt idx="4822">
                  <c:v>39741</c:v>
                </c:pt>
                <c:pt idx="4823">
                  <c:v>39742</c:v>
                </c:pt>
                <c:pt idx="4824">
                  <c:v>39743</c:v>
                </c:pt>
                <c:pt idx="4825">
                  <c:v>39744</c:v>
                </c:pt>
                <c:pt idx="4826">
                  <c:v>39745</c:v>
                </c:pt>
                <c:pt idx="4827">
                  <c:v>39748</c:v>
                </c:pt>
                <c:pt idx="4828">
                  <c:v>39749</c:v>
                </c:pt>
                <c:pt idx="4829">
                  <c:v>39750</c:v>
                </c:pt>
                <c:pt idx="4830">
                  <c:v>39751</c:v>
                </c:pt>
                <c:pt idx="4831">
                  <c:v>39752</c:v>
                </c:pt>
                <c:pt idx="4832">
                  <c:v>39755</c:v>
                </c:pt>
                <c:pt idx="4833">
                  <c:v>39756</c:v>
                </c:pt>
                <c:pt idx="4834">
                  <c:v>39757</c:v>
                </c:pt>
                <c:pt idx="4835">
                  <c:v>39758</c:v>
                </c:pt>
                <c:pt idx="4836">
                  <c:v>39759</c:v>
                </c:pt>
                <c:pt idx="4837">
                  <c:v>39762</c:v>
                </c:pt>
                <c:pt idx="4838">
                  <c:v>39763</c:v>
                </c:pt>
                <c:pt idx="4839">
                  <c:v>39764</c:v>
                </c:pt>
                <c:pt idx="4840">
                  <c:v>39765</c:v>
                </c:pt>
                <c:pt idx="4841">
                  <c:v>39766</c:v>
                </c:pt>
                <c:pt idx="4842">
                  <c:v>39769</c:v>
                </c:pt>
                <c:pt idx="4843">
                  <c:v>39770</c:v>
                </c:pt>
                <c:pt idx="4844">
                  <c:v>39771</c:v>
                </c:pt>
                <c:pt idx="4845">
                  <c:v>39772</c:v>
                </c:pt>
                <c:pt idx="4846">
                  <c:v>39773</c:v>
                </c:pt>
                <c:pt idx="4847">
                  <c:v>39776</c:v>
                </c:pt>
                <c:pt idx="4848">
                  <c:v>39777</c:v>
                </c:pt>
                <c:pt idx="4849">
                  <c:v>39778</c:v>
                </c:pt>
                <c:pt idx="4850">
                  <c:v>39780</c:v>
                </c:pt>
                <c:pt idx="4851">
                  <c:v>39783</c:v>
                </c:pt>
                <c:pt idx="4852">
                  <c:v>39784</c:v>
                </c:pt>
                <c:pt idx="4853">
                  <c:v>39785</c:v>
                </c:pt>
                <c:pt idx="4854">
                  <c:v>39786</c:v>
                </c:pt>
                <c:pt idx="4855">
                  <c:v>39787</c:v>
                </c:pt>
                <c:pt idx="4856">
                  <c:v>39790</c:v>
                </c:pt>
                <c:pt idx="4857">
                  <c:v>39791</c:v>
                </c:pt>
                <c:pt idx="4858">
                  <c:v>39792</c:v>
                </c:pt>
                <c:pt idx="4859">
                  <c:v>39793</c:v>
                </c:pt>
                <c:pt idx="4860">
                  <c:v>39794</c:v>
                </c:pt>
                <c:pt idx="4861">
                  <c:v>39797</c:v>
                </c:pt>
                <c:pt idx="4862">
                  <c:v>39798</c:v>
                </c:pt>
                <c:pt idx="4863">
                  <c:v>39799</c:v>
                </c:pt>
                <c:pt idx="4864">
                  <c:v>39800</c:v>
                </c:pt>
                <c:pt idx="4865">
                  <c:v>39801</c:v>
                </c:pt>
                <c:pt idx="4866">
                  <c:v>39804</c:v>
                </c:pt>
                <c:pt idx="4867">
                  <c:v>39805</c:v>
                </c:pt>
                <c:pt idx="4868">
                  <c:v>39806</c:v>
                </c:pt>
                <c:pt idx="4869">
                  <c:v>39808</c:v>
                </c:pt>
                <c:pt idx="4870">
                  <c:v>39811</c:v>
                </c:pt>
                <c:pt idx="4871">
                  <c:v>39812</c:v>
                </c:pt>
                <c:pt idx="4872">
                  <c:v>39813</c:v>
                </c:pt>
                <c:pt idx="4873">
                  <c:v>39815</c:v>
                </c:pt>
                <c:pt idx="4874">
                  <c:v>39818</c:v>
                </c:pt>
                <c:pt idx="4875">
                  <c:v>39819</c:v>
                </c:pt>
                <c:pt idx="4876">
                  <c:v>39820</c:v>
                </c:pt>
                <c:pt idx="4877">
                  <c:v>39821</c:v>
                </c:pt>
                <c:pt idx="4878">
                  <c:v>39822</c:v>
                </c:pt>
                <c:pt idx="4879">
                  <c:v>39825</c:v>
                </c:pt>
                <c:pt idx="4880">
                  <c:v>39826</c:v>
                </c:pt>
                <c:pt idx="4881">
                  <c:v>39827</c:v>
                </c:pt>
                <c:pt idx="4882">
                  <c:v>39828</c:v>
                </c:pt>
                <c:pt idx="4883">
                  <c:v>39829</c:v>
                </c:pt>
                <c:pt idx="4884">
                  <c:v>39833</c:v>
                </c:pt>
                <c:pt idx="4885">
                  <c:v>39834</c:v>
                </c:pt>
                <c:pt idx="4886">
                  <c:v>39835</c:v>
                </c:pt>
                <c:pt idx="4887">
                  <c:v>39836</c:v>
                </c:pt>
                <c:pt idx="4888">
                  <c:v>39839</c:v>
                </c:pt>
                <c:pt idx="4889">
                  <c:v>39840</c:v>
                </c:pt>
                <c:pt idx="4890">
                  <c:v>39841</c:v>
                </c:pt>
                <c:pt idx="4891">
                  <c:v>39842</c:v>
                </c:pt>
                <c:pt idx="4892">
                  <c:v>39843</c:v>
                </c:pt>
                <c:pt idx="4893">
                  <c:v>39846</c:v>
                </c:pt>
                <c:pt idx="4894">
                  <c:v>39847</c:v>
                </c:pt>
                <c:pt idx="4895">
                  <c:v>39848</c:v>
                </c:pt>
                <c:pt idx="4896">
                  <c:v>39849</c:v>
                </c:pt>
                <c:pt idx="4897">
                  <c:v>39850</c:v>
                </c:pt>
                <c:pt idx="4898">
                  <c:v>39853</c:v>
                </c:pt>
                <c:pt idx="4899">
                  <c:v>39854</c:v>
                </c:pt>
                <c:pt idx="4900">
                  <c:v>39855</c:v>
                </c:pt>
                <c:pt idx="4901">
                  <c:v>39856</c:v>
                </c:pt>
                <c:pt idx="4902">
                  <c:v>39857</c:v>
                </c:pt>
                <c:pt idx="4903">
                  <c:v>39861</c:v>
                </c:pt>
                <c:pt idx="4904">
                  <c:v>39862</c:v>
                </c:pt>
                <c:pt idx="4905">
                  <c:v>39863</c:v>
                </c:pt>
                <c:pt idx="4906">
                  <c:v>39864</c:v>
                </c:pt>
                <c:pt idx="4907">
                  <c:v>39867</c:v>
                </c:pt>
                <c:pt idx="4908">
                  <c:v>39868</c:v>
                </c:pt>
                <c:pt idx="4909">
                  <c:v>39869</c:v>
                </c:pt>
                <c:pt idx="4910">
                  <c:v>39870</c:v>
                </c:pt>
                <c:pt idx="4911">
                  <c:v>39871</c:v>
                </c:pt>
                <c:pt idx="4912">
                  <c:v>39874</c:v>
                </c:pt>
                <c:pt idx="4913">
                  <c:v>39875</c:v>
                </c:pt>
                <c:pt idx="4914">
                  <c:v>39876</c:v>
                </c:pt>
                <c:pt idx="4915">
                  <c:v>39877</c:v>
                </c:pt>
                <c:pt idx="4916">
                  <c:v>39878</c:v>
                </c:pt>
                <c:pt idx="4917">
                  <c:v>39881</c:v>
                </c:pt>
                <c:pt idx="4918">
                  <c:v>39882</c:v>
                </c:pt>
                <c:pt idx="4919">
                  <c:v>39883</c:v>
                </c:pt>
                <c:pt idx="4920">
                  <c:v>39884</c:v>
                </c:pt>
                <c:pt idx="4921">
                  <c:v>39885</c:v>
                </c:pt>
                <c:pt idx="4922">
                  <c:v>39888</c:v>
                </c:pt>
                <c:pt idx="4923">
                  <c:v>39889</c:v>
                </c:pt>
                <c:pt idx="4924">
                  <c:v>39890</c:v>
                </c:pt>
                <c:pt idx="4925">
                  <c:v>39891</c:v>
                </c:pt>
                <c:pt idx="4926">
                  <c:v>39892</c:v>
                </c:pt>
                <c:pt idx="4927">
                  <c:v>39895</c:v>
                </c:pt>
                <c:pt idx="4928">
                  <c:v>39896</c:v>
                </c:pt>
                <c:pt idx="4929">
                  <c:v>39897</c:v>
                </c:pt>
                <c:pt idx="4930">
                  <c:v>39898</c:v>
                </c:pt>
                <c:pt idx="4931">
                  <c:v>39899</c:v>
                </c:pt>
                <c:pt idx="4932">
                  <c:v>39902</c:v>
                </c:pt>
                <c:pt idx="4933">
                  <c:v>39903</c:v>
                </c:pt>
                <c:pt idx="4934">
                  <c:v>39904</c:v>
                </c:pt>
                <c:pt idx="4935">
                  <c:v>39905</c:v>
                </c:pt>
                <c:pt idx="4936">
                  <c:v>39906</c:v>
                </c:pt>
                <c:pt idx="4937">
                  <c:v>39909</c:v>
                </c:pt>
                <c:pt idx="4938">
                  <c:v>39910</c:v>
                </c:pt>
                <c:pt idx="4939">
                  <c:v>39911</c:v>
                </c:pt>
                <c:pt idx="4940">
                  <c:v>39912</c:v>
                </c:pt>
                <c:pt idx="4941">
                  <c:v>39916</c:v>
                </c:pt>
                <c:pt idx="4942">
                  <c:v>39917</c:v>
                </c:pt>
                <c:pt idx="4943">
                  <c:v>39918</c:v>
                </c:pt>
                <c:pt idx="4944">
                  <c:v>39919</c:v>
                </c:pt>
                <c:pt idx="4945">
                  <c:v>39920</c:v>
                </c:pt>
                <c:pt idx="4946">
                  <c:v>39923</c:v>
                </c:pt>
                <c:pt idx="4947">
                  <c:v>39924</c:v>
                </c:pt>
                <c:pt idx="4948">
                  <c:v>39925</c:v>
                </c:pt>
                <c:pt idx="4949">
                  <c:v>39926</c:v>
                </c:pt>
                <c:pt idx="4950">
                  <c:v>39927</c:v>
                </c:pt>
                <c:pt idx="4951">
                  <c:v>39930</c:v>
                </c:pt>
                <c:pt idx="4952">
                  <c:v>39931</c:v>
                </c:pt>
                <c:pt idx="4953">
                  <c:v>39932</c:v>
                </c:pt>
                <c:pt idx="4954">
                  <c:v>39933</c:v>
                </c:pt>
                <c:pt idx="4955">
                  <c:v>39934</c:v>
                </c:pt>
                <c:pt idx="4956">
                  <c:v>39937</c:v>
                </c:pt>
                <c:pt idx="4957">
                  <c:v>39938</c:v>
                </c:pt>
                <c:pt idx="4958">
                  <c:v>39939</c:v>
                </c:pt>
                <c:pt idx="4959">
                  <c:v>39940</c:v>
                </c:pt>
                <c:pt idx="4960">
                  <c:v>39941</c:v>
                </c:pt>
                <c:pt idx="4961">
                  <c:v>39944</c:v>
                </c:pt>
                <c:pt idx="4962">
                  <c:v>39945</c:v>
                </c:pt>
                <c:pt idx="4963">
                  <c:v>39946</c:v>
                </c:pt>
                <c:pt idx="4964">
                  <c:v>39947</c:v>
                </c:pt>
                <c:pt idx="4965">
                  <c:v>39948</c:v>
                </c:pt>
                <c:pt idx="4966">
                  <c:v>39951</c:v>
                </c:pt>
                <c:pt idx="4967">
                  <c:v>39952</c:v>
                </c:pt>
                <c:pt idx="4968">
                  <c:v>39953</c:v>
                </c:pt>
                <c:pt idx="4969">
                  <c:v>39954</c:v>
                </c:pt>
                <c:pt idx="4970">
                  <c:v>39955</c:v>
                </c:pt>
                <c:pt idx="4971">
                  <c:v>39959</c:v>
                </c:pt>
                <c:pt idx="4972">
                  <c:v>39960</c:v>
                </c:pt>
                <c:pt idx="4973">
                  <c:v>39961</c:v>
                </c:pt>
                <c:pt idx="4974">
                  <c:v>39962</c:v>
                </c:pt>
                <c:pt idx="4975">
                  <c:v>39965</c:v>
                </c:pt>
                <c:pt idx="4976">
                  <c:v>39966</c:v>
                </c:pt>
                <c:pt idx="4977">
                  <c:v>39967</c:v>
                </c:pt>
                <c:pt idx="4978">
                  <c:v>39968</c:v>
                </c:pt>
                <c:pt idx="4979">
                  <c:v>39969</c:v>
                </c:pt>
                <c:pt idx="4980">
                  <c:v>39972</c:v>
                </c:pt>
                <c:pt idx="4981">
                  <c:v>39973</c:v>
                </c:pt>
                <c:pt idx="4982">
                  <c:v>39974</c:v>
                </c:pt>
                <c:pt idx="4983">
                  <c:v>39975</c:v>
                </c:pt>
                <c:pt idx="4984">
                  <c:v>39976</c:v>
                </c:pt>
                <c:pt idx="4985">
                  <c:v>39979</c:v>
                </c:pt>
                <c:pt idx="4986">
                  <c:v>39980</c:v>
                </c:pt>
                <c:pt idx="4987">
                  <c:v>39981</c:v>
                </c:pt>
                <c:pt idx="4988">
                  <c:v>39982</c:v>
                </c:pt>
                <c:pt idx="4989">
                  <c:v>39983</c:v>
                </c:pt>
                <c:pt idx="4990">
                  <c:v>39986</c:v>
                </c:pt>
                <c:pt idx="4991">
                  <c:v>39987</c:v>
                </c:pt>
                <c:pt idx="4992">
                  <c:v>39988</c:v>
                </c:pt>
                <c:pt idx="4993">
                  <c:v>39989</c:v>
                </c:pt>
                <c:pt idx="4994">
                  <c:v>39990</c:v>
                </c:pt>
                <c:pt idx="4995">
                  <c:v>39993</c:v>
                </c:pt>
                <c:pt idx="4996">
                  <c:v>39994</c:v>
                </c:pt>
                <c:pt idx="4997">
                  <c:v>39995</c:v>
                </c:pt>
                <c:pt idx="4998">
                  <c:v>39996</c:v>
                </c:pt>
                <c:pt idx="4999">
                  <c:v>40000</c:v>
                </c:pt>
                <c:pt idx="5000">
                  <c:v>40001</c:v>
                </c:pt>
                <c:pt idx="5001">
                  <c:v>40002</c:v>
                </c:pt>
                <c:pt idx="5002">
                  <c:v>40003</c:v>
                </c:pt>
                <c:pt idx="5003">
                  <c:v>40004</c:v>
                </c:pt>
                <c:pt idx="5004">
                  <c:v>40007</c:v>
                </c:pt>
                <c:pt idx="5005">
                  <c:v>40008</c:v>
                </c:pt>
                <c:pt idx="5006">
                  <c:v>40009</c:v>
                </c:pt>
                <c:pt idx="5007">
                  <c:v>40010</c:v>
                </c:pt>
                <c:pt idx="5008">
                  <c:v>40011</c:v>
                </c:pt>
                <c:pt idx="5009">
                  <c:v>40014</c:v>
                </c:pt>
                <c:pt idx="5010">
                  <c:v>40015</c:v>
                </c:pt>
                <c:pt idx="5011">
                  <c:v>40016</c:v>
                </c:pt>
                <c:pt idx="5012">
                  <c:v>40017</c:v>
                </c:pt>
                <c:pt idx="5013">
                  <c:v>40018</c:v>
                </c:pt>
                <c:pt idx="5014">
                  <c:v>40021</c:v>
                </c:pt>
                <c:pt idx="5015">
                  <c:v>40022</c:v>
                </c:pt>
                <c:pt idx="5016">
                  <c:v>40023</c:v>
                </c:pt>
                <c:pt idx="5017">
                  <c:v>40024</c:v>
                </c:pt>
                <c:pt idx="5018">
                  <c:v>40025</c:v>
                </c:pt>
                <c:pt idx="5019">
                  <c:v>40028</c:v>
                </c:pt>
                <c:pt idx="5020">
                  <c:v>40029</c:v>
                </c:pt>
                <c:pt idx="5021">
                  <c:v>40030</c:v>
                </c:pt>
                <c:pt idx="5022">
                  <c:v>40031</c:v>
                </c:pt>
                <c:pt idx="5023">
                  <c:v>40032</c:v>
                </c:pt>
                <c:pt idx="5024">
                  <c:v>40035</c:v>
                </c:pt>
                <c:pt idx="5025">
                  <c:v>40036</c:v>
                </c:pt>
                <c:pt idx="5026">
                  <c:v>40037</c:v>
                </c:pt>
                <c:pt idx="5027">
                  <c:v>40038</c:v>
                </c:pt>
                <c:pt idx="5028">
                  <c:v>40039</c:v>
                </c:pt>
                <c:pt idx="5029">
                  <c:v>40042</c:v>
                </c:pt>
                <c:pt idx="5030">
                  <c:v>40043</c:v>
                </c:pt>
                <c:pt idx="5031">
                  <c:v>40044</c:v>
                </c:pt>
                <c:pt idx="5032">
                  <c:v>40045</c:v>
                </c:pt>
                <c:pt idx="5033">
                  <c:v>40046</c:v>
                </c:pt>
                <c:pt idx="5034">
                  <c:v>40049</c:v>
                </c:pt>
                <c:pt idx="5035">
                  <c:v>40050</c:v>
                </c:pt>
                <c:pt idx="5036">
                  <c:v>40051</c:v>
                </c:pt>
                <c:pt idx="5037">
                  <c:v>40052</c:v>
                </c:pt>
                <c:pt idx="5038">
                  <c:v>40053</c:v>
                </c:pt>
                <c:pt idx="5039">
                  <c:v>40056</c:v>
                </c:pt>
                <c:pt idx="5040">
                  <c:v>40057</c:v>
                </c:pt>
                <c:pt idx="5041">
                  <c:v>40058</c:v>
                </c:pt>
                <c:pt idx="5042">
                  <c:v>40059</c:v>
                </c:pt>
                <c:pt idx="5043">
                  <c:v>40060</c:v>
                </c:pt>
                <c:pt idx="5044">
                  <c:v>40064</c:v>
                </c:pt>
                <c:pt idx="5045">
                  <c:v>40065</c:v>
                </c:pt>
                <c:pt idx="5046">
                  <c:v>40066</c:v>
                </c:pt>
                <c:pt idx="5047">
                  <c:v>40067</c:v>
                </c:pt>
                <c:pt idx="5048">
                  <c:v>40070</c:v>
                </c:pt>
                <c:pt idx="5049">
                  <c:v>40071</c:v>
                </c:pt>
                <c:pt idx="5050">
                  <c:v>40072</c:v>
                </c:pt>
                <c:pt idx="5051">
                  <c:v>40073</c:v>
                </c:pt>
                <c:pt idx="5052">
                  <c:v>40074</c:v>
                </c:pt>
                <c:pt idx="5053">
                  <c:v>40077</c:v>
                </c:pt>
                <c:pt idx="5054">
                  <c:v>40078</c:v>
                </c:pt>
                <c:pt idx="5055">
                  <c:v>40079</c:v>
                </c:pt>
                <c:pt idx="5056">
                  <c:v>40080</c:v>
                </c:pt>
                <c:pt idx="5057">
                  <c:v>40081</c:v>
                </c:pt>
                <c:pt idx="5058">
                  <c:v>40084</c:v>
                </c:pt>
                <c:pt idx="5059">
                  <c:v>40085</c:v>
                </c:pt>
                <c:pt idx="5060">
                  <c:v>40086</c:v>
                </c:pt>
                <c:pt idx="5061">
                  <c:v>40087</c:v>
                </c:pt>
                <c:pt idx="5062">
                  <c:v>40088</c:v>
                </c:pt>
                <c:pt idx="5063">
                  <c:v>40091</c:v>
                </c:pt>
                <c:pt idx="5064">
                  <c:v>40092</c:v>
                </c:pt>
                <c:pt idx="5065">
                  <c:v>40093</c:v>
                </c:pt>
                <c:pt idx="5066">
                  <c:v>40094</c:v>
                </c:pt>
                <c:pt idx="5067">
                  <c:v>40095</c:v>
                </c:pt>
                <c:pt idx="5068">
                  <c:v>40098</c:v>
                </c:pt>
                <c:pt idx="5069">
                  <c:v>40099</c:v>
                </c:pt>
                <c:pt idx="5070">
                  <c:v>40100</c:v>
                </c:pt>
                <c:pt idx="5071">
                  <c:v>40101</c:v>
                </c:pt>
                <c:pt idx="5072">
                  <c:v>40102</c:v>
                </c:pt>
                <c:pt idx="5073">
                  <c:v>40105</c:v>
                </c:pt>
                <c:pt idx="5074">
                  <c:v>40106</c:v>
                </c:pt>
                <c:pt idx="5075">
                  <c:v>40107</c:v>
                </c:pt>
                <c:pt idx="5076">
                  <c:v>40108</c:v>
                </c:pt>
                <c:pt idx="5077">
                  <c:v>40109</c:v>
                </c:pt>
                <c:pt idx="5078">
                  <c:v>40112</c:v>
                </c:pt>
                <c:pt idx="5079">
                  <c:v>40113</c:v>
                </c:pt>
                <c:pt idx="5080">
                  <c:v>40114</c:v>
                </c:pt>
                <c:pt idx="5081">
                  <c:v>40115</c:v>
                </c:pt>
                <c:pt idx="5082">
                  <c:v>40116</c:v>
                </c:pt>
                <c:pt idx="5083">
                  <c:v>40119</c:v>
                </c:pt>
                <c:pt idx="5084">
                  <c:v>40120</c:v>
                </c:pt>
                <c:pt idx="5085">
                  <c:v>40121</c:v>
                </c:pt>
                <c:pt idx="5086">
                  <c:v>40122</c:v>
                </c:pt>
                <c:pt idx="5087">
                  <c:v>40123</c:v>
                </c:pt>
                <c:pt idx="5088">
                  <c:v>40126</c:v>
                </c:pt>
                <c:pt idx="5089">
                  <c:v>40127</c:v>
                </c:pt>
                <c:pt idx="5090">
                  <c:v>40128</c:v>
                </c:pt>
                <c:pt idx="5091">
                  <c:v>40129</c:v>
                </c:pt>
                <c:pt idx="5092">
                  <c:v>40130</c:v>
                </c:pt>
                <c:pt idx="5093">
                  <c:v>40133</c:v>
                </c:pt>
                <c:pt idx="5094">
                  <c:v>40134</c:v>
                </c:pt>
                <c:pt idx="5095">
                  <c:v>40135</c:v>
                </c:pt>
                <c:pt idx="5096">
                  <c:v>40136</c:v>
                </c:pt>
                <c:pt idx="5097">
                  <c:v>40137</c:v>
                </c:pt>
                <c:pt idx="5098">
                  <c:v>40140</c:v>
                </c:pt>
                <c:pt idx="5099">
                  <c:v>40141</c:v>
                </c:pt>
                <c:pt idx="5100">
                  <c:v>40142</c:v>
                </c:pt>
                <c:pt idx="5101">
                  <c:v>40144</c:v>
                </c:pt>
                <c:pt idx="5102">
                  <c:v>40147</c:v>
                </c:pt>
                <c:pt idx="5103">
                  <c:v>40148</c:v>
                </c:pt>
                <c:pt idx="5104">
                  <c:v>40149</c:v>
                </c:pt>
                <c:pt idx="5105">
                  <c:v>40150</c:v>
                </c:pt>
                <c:pt idx="5106">
                  <c:v>40151</c:v>
                </c:pt>
                <c:pt idx="5107">
                  <c:v>40154</c:v>
                </c:pt>
                <c:pt idx="5108">
                  <c:v>40155</c:v>
                </c:pt>
                <c:pt idx="5109">
                  <c:v>40156</c:v>
                </c:pt>
                <c:pt idx="5110">
                  <c:v>40157</c:v>
                </c:pt>
                <c:pt idx="5111">
                  <c:v>40158</c:v>
                </c:pt>
                <c:pt idx="5112">
                  <c:v>40161</c:v>
                </c:pt>
                <c:pt idx="5113">
                  <c:v>40162</c:v>
                </c:pt>
                <c:pt idx="5114">
                  <c:v>40163</c:v>
                </c:pt>
                <c:pt idx="5115">
                  <c:v>40164</c:v>
                </c:pt>
                <c:pt idx="5116">
                  <c:v>40165</c:v>
                </c:pt>
                <c:pt idx="5117">
                  <c:v>40168</c:v>
                </c:pt>
                <c:pt idx="5118">
                  <c:v>40169</c:v>
                </c:pt>
                <c:pt idx="5119">
                  <c:v>40170</c:v>
                </c:pt>
                <c:pt idx="5120">
                  <c:v>40171</c:v>
                </c:pt>
                <c:pt idx="5121">
                  <c:v>40175</c:v>
                </c:pt>
                <c:pt idx="5122">
                  <c:v>40176</c:v>
                </c:pt>
                <c:pt idx="5123">
                  <c:v>40177</c:v>
                </c:pt>
                <c:pt idx="5124">
                  <c:v>40178</c:v>
                </c:pt>
                <c:pt idx="5125">
                  <c:v>40182</c:v>
                </c:pt>
                <c:pt idx="5126">
                  <c:v>40183</c:v>
                </c:pt>
                <c:pt idx="5127">
                  <c:v>40184</c:v>
                </c:pt>
                <c:pt idx="5128">
                  <c:v>40185</c:v>
                </c:pt>
                <c:pt idx="5129">
                  <c:v>40186</c:v>
                </c:pt>
                <c:pt idx="5130">
                  <c:v>40189</c:v>
                </c:pt>
                <c:pt idx="5131">
                  <c:v>40190</c:v>
                </c:pt>
                <c:pt idx="5132">
                  <c:v>40191</c:v>
                </c:pt>
                <c:pt idx="5133">
                  <c:v>40192</c:v>
                </c:pt>
                <c:pt idx="5134">
                  <c:v>40193</c:v>
                </c:pt>
                <c:pt idx="5135">
                  <c:v>40197</c:v>
                </c:pt>
                <c:pt idx="5136">
                  <c:v>40198</c:v>
                </c:pt>
                <c:pt idx="5137">
                  <c:v>40199</c:v>
                </c:pt>
                <c:pt idx="5138">
                  <c:v>40200</c:v>
                </c:pt>
                <c:pt idx="5139">
                  <c:v>40203</c:v>
                </c:pt>
                <c:pt idx="5140">
                  <c:v>40204</c:v>
                </c:pt>
                <c:pt idx="5141">
                  <c:v>40205</c:v>
                </c:pt>
                <c:pt idx="5142">
                  <c:v>40206</c:v>
                </c:pt>
                <c:pt idx="5143">
                  <c:v>40207</c:v>
                </c:pt>
                <c:pt idx="5144">
                  <c:v>40210</c:v>
                </c:pt>
                <c:pt idx="5145">
                  <c:v>40211</c:v>
                </c:pt>
                <c:pt idx="5146">
                  <c:v>40212</c:v>
                </c:pt>
                <c:pt idx="5147">
                  <c:v>40213</c:v>
                </c:pt>
                <c:pt idx="5148">
                  <c:v>40214</c:v>
                </c:pt>
                <c:pt idx="5149">
                  <c:v>40217</c:v>
                </c:pt>
                <c:pt idx="5150">
                  <c:v>40218</c:v>
                </c:pt>
                <c:pt idx="5151">
                  <c:v>40219</c:v>
                </c:pt>
                <c:pt idx="5152">
                  <c:v>40220</c:v>
                </c:pt>
                <c:pt idx="5153">
                  <c:v>40221</c:v>
                </c:pt>
                <c:pt idx="5154">
                  <c:v>40225</c:v>
                </c:pt>
                <c:pt idx="5155">
                  <c:v>40226</c:v>
                </c:pt>
                <c:pt idx="5156">
                  <c:v>40227</c:v>
                </c:pt>
                <c:pt idx="5157">
                  <c:v>40228</c:v>
                </c:pt>
                <c:pt idx="5158">
                  <c:v>40231</c:v>
                </c:pt>
                <c:pt idx="5159">
                  <c:v>40232</c:v>
                </c:pt>
                <c:pt idx="5160">
                  <c:v>40233</c:v>
                </c:pt>
                <c:pt idx="5161">
                  <c:v>40234</c:v>
                </c:pt>
                <c:pt idx="5162">
                  <c:v>40235</c:v>
                </c:pt>
                <c:pt idx="5163">
                  <c:v>40238</c:v>
                </c:pt>
                <c:pt idx="5164">
                  <c:v>40239</c:v>
                </c:pt>
                <c:pt idx="5165">
                  <c:v>40240</c:v>
                </c:pt>
                <c:pt idx="5166">
                  <c:v>40241</c:v>
                </c:pt>
                <c:pt idx="5167">
                  <c:v>40242</c:v>
                </c:pt>
                <c:pt idx="5168">
                  <c:v>40245</c:v>
                </c:pt>
                <c:pt idx="5169">
                  <c:v>40246</c:v>
                </c:pt>
                <c:pt idx="5170">
                  <c:v>40247</c:v>
                </c:pt>
                <c:pt idx="5171">
                  <c:v>40248</c:v>
                </c:pt>
                <c:pt idx="5172">
                  <c:v>40249</c:v>
                </c:pt>
                <c:pt idx="5173">
                  <c:v>40252</c:v>
                </c:pt>
                <c:pt idx="5174">
                  <c:v>40253</c:v>
                </c:pt>
                <c:pt idx="5175">
                  <c:v>40254</c:v>
                </c:pt>
                <c:pt idx="5176">
                  <c:v>40255</c:v>
                </c:pt>
                <c:pt idx="5177">
                  <c:v>40256</c:v>
                </c:pt>
                <c:pt idx="5178">
                  <c:v>40259</c:v>
                </c:pt>
                <c:pt idx="5179">
                  <c:v>40260</c:v>
                </c:pt>
                <c:pt idx="5180">
                  <c:v>40261</c:v>
                </c:pt>
                <c:pt idx="5181">
                  <c:v>40262</c:v>
                </c:pt>
                <c:pt idx="5182">
                  <c:v>40263</c:v>
                </c:pt>
                <c:pt idx="5183">
                  <c:v>40266</c:v>
                </c:pt>
                <c:pt idx="5184">
                  <c:v>40267</c:v>
                </c:pt>
                <c:pt idx="5185">
                  <c:v>40268</c:v>
                </c:pt>
                <c:pt idx="5186">
                  <c:v>40269</c:v>
                </c:pt>
                <c:pt idx="5187">
                  <c:v>40273</c:v>
                </c:pt>
                <c:pt idx="5188">
                  <c:v>40274</c:v>
                </c:pt>
                <c:pt idx="5189">
                  <c:v>40275</c:v>
                </c:pt>
                <c:pt idx="5190">
                  <c:v>40276</c:v>
                </c:pt>
                <c:pt idx="5191">
                  <c:v>40277</c:v>
                </c:pt>
                <c:pt idx="5192">
                  <c:v>40280</c:v>
                </c:pt>
                <c:pt idx="5193">
                  <c:v>40281</c:v>
                </c:pt>
                <c:pt idx="5194">
                  <c:v>40282</c:v>
                </c:pt>
                <c:pt idx="5195">
                  <c:v>40283</c:v>
                </c:pt>
                <c:pt idx="5196">
                  <c:v>40284</c:v>
                </c:pt>
                <c:pt idx="5197">
                  <c:v>40287</c:v>
                </c:pt>
                <c:pt idx="5198">
                  <c:v>40288</c:v>
                </c:pt>
                <c:pt idx="5199">
                  <c:v>40289</c:v>
                </c:pt>
                <c:pt idx="5200">
                  <c:v>40290</c:v>
                </c:pt>
                <c:pt idx="5201">
                  <c:v>40291</c:v>
                </c:pt>
                <c:pt idx="5202">
                  <c:v>40294</c:v>
                </c:pt>
                <c:pt idx="5203">
                  <c:v>40295</c:v>
                </c:pt>
                <c:pt idx="5204">
                  <c:v>40296</c:v>
                </c:pt>
                <c:pt idx="5205">
                  <c:v>40297</c:v>
                </c:pt>
                <c:pt idx="5206">
                  <c:v>40298</c:v>
                </c:pt>
                <c:pt idx="5207">
                  <c:v>40301</c:v>
                </c:pt>
                <c:pt idx="5208">
                  <c:v>40302</c:v>
                </c:pt>
                <c:pt idx="5209">
                  <c:v>40303</c:v>
                </c:pt>
                <c:pt idx="5210">
                  <c:v>40304</c:v>
                </c:pt>
                <c:pt idx="5211">
                  <c:v>40305</c:v>
                </c:pt>
                <c:pt idx="5212">
                  <c:v>40308</c:v>
                </c:pt>
                <c:pt idx="5213">
                  <c:v>40309</c:v>
                </c:pt>
                <c:pt idx="5214">
                  <c:v>40310</c:v>
                </c:pt>
                <c:pt idx="5215">
                  <c:v>40311</c:v>
                </c:pt>
                <c:pt idx="5216">
                  <c:v>40312</c:v>
                </c:pt>
                <c:pt idx="5217">
                  <c:v>40315</c:v>
                </c:pt>
                <c:pt idx="5218">
                  <c:v>40316</c:v>
                </c:pt>
                <c:pt idx="5219">
                  <c:v>40317</c:v>
                </c:pt>
                <c:pt idx="5220">
                  <c:v>40318</c:v>
                </c:pt>
                <c:pt idx="5221">
                  <c:v>40319</c:v>
                </c:pt>
                <c:pt idx="5222">
                  <c:v>40322</c:v>
                </c:pt>
                <c:pt idx="5223">
                  <c:v>40323</c:v>
                </c:pt>
                <c:pt idx="5224">
                  <c:v>40324</c:v>
                </c:pt>
                <c:pt idx="5225">
                  <c:v>40325</c:v>
                </c:pt>
                <c:pt idx="5226">
                  <c:v>40326</c:v>
                </c:pt>
                <c:pt idx="5227">
                  <c:v>40330</c:v>
                </c:pt>
                <c:pt idx="5228">
                  <c:v>40331</c:v>
                </c:pt>
                <c:pt idx="5229">
                  <c:v>40332</c:v>
                </c:pt>
                <c:pt idx="5230">
                  <c:v>40333</c:v>
                </c:pt>
                <c:pt idx="5231">
                  <c:v>40336</c:v>
                </c:pt>
                <c:pt idx="5232">
                  <c:v>40337</c:v>
                </c:pt>
                <c:pt idx="5233">
                  <c:v>40338</c:v>
                </c:pt>
                <c:pt idx="5234">
                  <c:v>40339</c:v>
                </c:pt>
                <c:pt idx="5235">
                  <c:v>40340</c:v>
                </c:pt>
                <c:pt idx="5236">
                  <c:v>40343</c:v>
                </c:pt>
                <c:pt idx="5237">
                  <c:v>40344</c:v>
                </c:pt>
                <c:pt idx="5238">
                  <c:v>40345</c:v>
                </c:pt>
                <c:pt idx="5239">
                  <c:v>40346</c:v>
                </c:pt>
                <c:pt idx="5240">
                  <c:v>40347</c:v>
                </c:pt>
                <c:pt idx="5241">
                  <c:v>40350</c:v>
                </c:pt>
                <c:pt idx="5242">
                  <c:v>40351</c:v>
                </c:pt>
                <c:pt idx="5243">
                  <c:v>40352</c:v>
                </c:pt>
                <c:pt idx="5244">
                  <c:v>40353</c:v>
                </c:pt>
                <c:pt idx="5245">
                  <c:v>40354</c:v>
                </c:pt>
                <c:pt idx="5246">
                  <c:v>40357</c:v>
                </c:pt>
                <c:pt idx="5247">
                  <c:v>40358</c:v>
                </c:pt>
                <c:pt idx="5248">
                  <c:v>40359</c:v>
                </c:pt>
                <c:pt idx="5249">
                  <c:v>40360</c:v>
                </c:pt>
                <c:pt idx="5250">
                  <c:v>40361</c:v>
                </c:pt>
                <c:pt idx="5251">
                  <c:v>40365</c:v>
                </c:pt>
                <c:pt idx="5252">
                  <c:v>40366</c:v>
                </c:pt>
                <c:pt idx="5253">
                  <c:v>40367</c:v>
                </c:pt>
                <c:pt idx="5254">
                  <c:v>40368</c:v>
                </c:pt>
                <c:pt idx="5255">
                  <c:v>40371</c:v>
                </c:pt>
                <c:pt idx="5256">
                  <c:v>40372</c:v>
                </c:pt>
                <c:pt idx="5257">
                  <c:v>40373</c:v>
                </c:pt>
                <c:pt idx="5258">
                  <c:v>40374</c:v>
                </c:pt>
                <c:pt idx="5259">
                  <c:v>40375</c:v>
                </c:pt>
                <c:pt idx="5260">
                  <c:v>40378</c:v>
                </c:pt>
                <c:pt idx="5261">
                  <c:v>40379</c:v>
                </c:pt>
                <c:pt idx="5262">
                  <c:v>40380</c:v>
                </c:pt>
                <c:pt idx="5263">
                  <c:v>40381</c:v>
                </c:pt>
                <c:pt idx="5264">
                  <c:v>40382</c:v>
                </c:pt>
                <c:pt idx="5265">
                  <c:v>40385</c:v>
                </c:pt>
                <c:pt idx="5266">
                  <c:v>40386</c:v>
                </c:pt>
                <c:pt idx="5267">
                  <c:v>40387</c:v>
                </c:pt>
                <c:pt idx="5268">
                  <c:v>40388</c:v>
                </c:pt>
                <c:pt idx="5269">
                  <c:v>40389</c:v>
                </c:pt>
                <c:pt idx="5270">
                  <c:v>40392</c:v>
                </c:pt>
                <c:pt idx="5271">
                  <c:v>40393</c:v>
                </c:pt>
                <c:pt idx="5272">
                  <c:v>40394</c:v>
                </c:pt>
                <c:pt idx="5273">
                  <c:v>40395</c:v>
                </c:pt>
                <c:pt idx="5274">
                  <c:v>40396</c:v>
                </c:pt>
                <c:pt idx="5275">
                  <c:v>40399</c:v>
                </c:pt>
                <c:pt idx="5276">
                  <c:v>40400</c:v>
                </c:pt>
                <c:pt idx="5277">
                  <c:v>40401</c:v>
                </c:pt>
                <c:pt idx="5278">
                  <c:v>40402</c:v>
                </c:pt>
                <c:pt idx="5279">
                  <c:v>40403</c:v>
                </c:pt>
                <c:pt idx="5280">
                  <c:v>40406</c:v>
                </c:pt>
                <c:pt idx="5281">
                  <c:v>40407</c:v>
                </c:pt>
                <c:pt idx="5282">
                  <c:v>40408</c:v>
                </c:pt>
                <c:pt idx="5283">
                  <c:v>40409</c:v>
                </c:pt>
                <c:pt idx="5284">
                  <c:v>40410</c:v>
                </c:pt>
                <c:pt idx="5285">
                  <c:v>40413</c:v>
                </c:pt>
                <c:pt idx="5286">
                  <c:v>40414</c:v>
                </c:pt>
                <c:pt idx="5287">
                  <c:v>40415</c:v>
                </c:pt>
                <c:pt idx="5288">
                  <c:v>40416</c:v>
                </c:pt>
                <c:pt idx="5289">
                  <c:v>40417</c:v>
                </c:pt>
                <c:pt idx="5290">
                  <c:v>40420</c:v>
                </c:pt>
                <c:pt idx="5291">
                  <c:v>40421</c:v>
                </c:pt>
                <c:pt idx="5292">
                  <c:v>40422</c:v>
                </c:pt>
                <c:pt idx="5293">
                  <c:v>40423</c:v>
                </c:pt>
                <c:pt idx="5294">
                  <c:v>40424</c:v>
                </c:pt>
                <c:pt idx="5295">
                  <c:v>40428</c:v>
                </c:pt>
                <c:pt idx="5296">
                  <c:v>40429</c:v>
                </c:pt>
                <c:pt idx="5297">
                  <c:v>40430</c:v>
                </c:pt>
                <c:pt idx="5298">
                  <c:v>40431</c:v>
                </c:pt>
                <c:pt idx="5299">
                  <c:v>40434</c:v>
                </c:pt>
                <c:pt idx="5300">
                  <c:v>40435</c:v>
                </c:pt>
                <c:pt idx="5301">
                  <c:v>40436</c:v>
                </c:pt>
                <c:pt idx="5302">
                  <c:v>40437</c:v>
                </c:pt>
                <c:pt idx="5303">
                  <c:v>40438</c:v>
                </c:pt>
                <c:pt idx="5304">
                  <c:v>40441</c:v>
                </c:pt>
                <c:pt idx="5305">
                  <c:v>40442</c:v>
                </c:pt>
                <c:pt idx="5306">
                  <c:v>40443</c:v>
                </c:pt>
                <c:pt idx="5307">
                  <c:v>40444</c:v>
                </c:pt>
                <c:pt idx="5308">
                  <c:v>40445</c:v>
                </c:pt>
                <c:pt idx="5309">
                  <c:v>40448</c:v>
                </c:pt>
                <c:pt idx="5310">
                  <c:v>40449</c:v>
                </c:pt>
                <c:pt idx="5311">
                  <c:v>40450</c:v>
                </c:pt>
                <c:pt idx="5312">
                  <c:v>40451</c:v>
                </c:pt>
                <c:pt idx="5313">
                  <c:v>40452</c:v>
                </c:pt>
                <c:pt idx="5314">
                  <c:v>40455</c:v>
                </c:pt>
                <c:pt idx="5315">
                  <c:v>40456</c:v>
                </c:pt>
                <c:pt idx="5316">
                  <c:v>40457</c:v>
                </c:pt>
                <c:pt idx="5317">
                  <c:v>40458</c:v>
                </c:pt>
                <c:pt idx="5318">
                  <c:v>40459</c:v>
                </c:pt>
                <c:pt idx="5319">
                  <c:v>40462</c:v>
                </c:pt>
                <c:pt idx="5320">
                  <c:v>40463</c:v>
                </c:pt>
                <c:pt idx="5321">
                  <c:v>40464</c:v>
                </c:pt>
                <c:pt idx="5322">
                  <c:v>40465</c:v>
                </c:pt>
                <c:pt idx="5323">
                  <c:v>40466</c:v>
                </c:pt>
                <c:pt idx="5324">
                  <c:v>40469</c:v>
                </c:pt>
                <c:pt idx="5325">
                  <c:v>40470</c:v>
                </c:pt>
                <c:pt idx="5326">
                  <c:v>40471</c:v>
                </c:pt>
                <c:pt idx="5327">
                  <c:v>40472</c:v>
                </c:pt>
                <c:pt idx="5328">
                  <c:v>40473</c:v>
                </c:pt>
                <c:pt idx="5329">
                  <c:v>40476</c:v>
                </c:pt>
                <c:pt idx="5330">
                  <c:v>40477</c:v>
                </c:pt>
                <c:pt idx="5331">
                  <c:v>40478</c:v>
                </c:pt>
                <c:pt idx="5332">
                  <c:v>40479</c:v>
                </c:pt>
                <c:pt idx="5333">
                  <c:v>40480</c:v>
                </c:pt>
                <c:pt idx="5334">
                  <c:v>40483</c:v>
                </c:pt>
                <c:pt idx="5335">
                  <c:v>40484</c:v>
                </c:pt>
                <c:pt idx="5336">
                  <c:v>40485</c:v>
                </c:pt>
                <c:pt idx="5337">
                  <c:v>40486</c:v>
                </c:pt>
                <c:pt idx="5338">
                  <c:v>40487</c:v>
                </c:pt>
                <c:pt idx="5339">
                  <c:v>40490</c:v>
                </c:pt>
                <c:pt idx="5340">
                  <c:v>40491</c:v>
                </c:pt>
                <c:pt idx="5341">
                  <c:v>40492</c:v>
                </c:pt>
                <c:pt idx="5342">
                  <c:v>40493</c:v>
                </c:pt>
                <c:pt idx="5343">
                  <c:v>40494</c:v>
                </c:pt>
                <c:pt idx="5344">
                  <c:v>40497</c:v>
                </c:pt>
                <c:pt idx="5345">
                  <c:v>40498</c:v>
                </c:pt>
                <c:pt idx="5346">
                  <c:v>40499</c:v>
                </c:pt>
                <c:pt idx="5347">
                  <c:v>40500</c:v>
                </c:pt>
                <c:pt idx="5348">
                  <c:v>40501</c:v>
                </c:pt>
                <c:pt idx="5349">
                  <c:v>40504</c:v>
                </c:pt>
                <c:pt idx="5350">
                  <c:v>40505</c:v>
                </c:pt>
                <c:pt idx="5351">
                  <c:v>40506</c:v>
                </c:pt>
                <c:pt idx="5352">
                  <c:v>40508</c:v>
                </c:pt>
                <c:pt idx="5353">
                  <c:v>40511</c:v>
                </c:pt>
                <c:pt idx="5354">
                  <c:v>40512</c:v>
                </c:pt>
                <c:pt idx="5355">
                  <c:v>40513</c:v>
                </c:pt>
                <c:pt idx="5356">
                  <c:v>40514</c:v>
                </c:pt>
                <c:pt idx="5357">
                  <c:v>40515</c:v>
                </c:pt>
                <c:pt idx="5358">
                  <c:v>40518</c:v>
                </c:pt>
                <c:pt idx="5359">
                  <c:v>40519</c:v>
                </c:pt>
                <c:pt idx="5360">
                  <c:v>40520</c:v>
                </c:pt>
                <c:pt idx="5361">
                  <c:v>40521</c:v>
                </c:pt>
                <c:pt idx="5362">
                  <c:v>40522</c:v>
                </c:pt>
                <c:pt idx="5363">
                  <c:v>40525</c:v>
                </c:pt>
                <c:pt idx="5364">
                  <c:v>40526</c:v>
                </c:pt>
                <c:pt idx="5365">
                  <c:v>40527</c:v>
                </c:pt>
                <c:pt idx="5366">
                  <c:v>40528</c:v>
                </c:pt>
                <c:pt idx="5367">
                  <c:v>40529</c:v>
                </c:pt>
                <c:pt idx="5368">
                  <c:v>40532</c:v>
                </c:pt>
                <c:pt idx="5369">
                  <c:v>40533</c:v>
                </c:pt>
                <c:pt idx="5370">
                  <c:v>40534</c:v>
                </c:pt>
                <c:pt idx="5371">
                  <c:v>40535</c:v>
                </c:pt>
                <c:pt idx="5372">
                  <c:v>40539</c:v>
                </c:pt>
                <c:pt idx="5373">
                  <c:v>40540</c:v>
                </c:pt>
                <c:pt idx="5374">
                  <c:v>40541</c:v>
                </c:pt>
                <c:pt idx="5375">
                  <c:v>40542</c:v>
                </c:pt>
                <c:pt idx="5376">
                  <c:v>40543</c:v>
                </c:pt>
                <c:pt idx="5377">
                  <c:v>40546</c:v>
                </c:pt>
                <c:pt idx="5378">
                  <c:v>40547</c:v>
                </c:pt>
                <c:pt idx="5379">
                  <c:v>40548</c:v>
                </c:pt>
                <c:pt idx="5380">
                  <c:v>40549</c:v>
                </c:pt>
                <c:pt idx="5381">
                  <c:v>40550</c:v>
                </c:pt>
                <c:pt idx="5382">
                  <c:v>40553</c:v>
                </c:pt>
                <c:pt idx="5383">
                  <c:v>40554</c:v>
                </c:pt>
                <c:pt idx="5384">
                  <c:v>40555</c:v>
                </c:pt>
                <c:pt idx="5385">
                  <c:v>40556</c:v>
                </c:pt>
                <c:pt idx="5386">
                  <c:v>40557</c:v>
                </c:pt>
                <c:pt idx="5387">
                  <c:v>40561</c:v>
                </c:pt>
                <c:pt idx="5388">
                  <c:v>40562</c:v>
                </c:pt>
                <c:pt idx="5389">
                  <c:v>40563</c:v>
                </c:pt>
                <c:pt idx="5390">
                  <c:v>40564</c:v>
                </c:pt>
                <c:pt idx="5391">
                  <c:v>40567</c:v>
                </c:pt>
                <c:pt idx="5392">
                  <c:v>40568</c:v>
                </c:pt>
                <c:pt idx="5393">
                  <c:v>40569</c:v>
                </c:pt>
                <c:pt idx="5394">
                  <c:v>40570</c:v>
                </c:pt>
                <c:pt idx="5395">
                  <c:v>40571</c:v>
                </c:pt>
                <c:pt idx="5396">
                  <c:v>40574</c:v>
                </c:pt>
                <c:pt idx="5397">
                  <c:v>40575</c:v>
                </c:pt>
                <c:pt idx="5398">
                  <c:v>40576</c:v>
                </c:pt>
                <c:pt idx="5399">
                  <c:v>40577</c:v>
                </c:pt>
                <c:pt idx="5400">
                  <c:v>40578</c:v>
                </c:pt>
                <c:pt idx="5401">
                  <c:v>40581</c:v>
                </c:pt>
                <c:pt idx="5402">
                  <c:v>40582</c:v>
                </c:pt>
                <c:pt idx="5403">
                  <c:v>40583</c:v>
                </c:pt>
                <c:pt idx="5404">
                  <c:v>40584</c:v>
                </c:pt>
                <c:pt idx="5405">
                  <c:v>40585</c:v>
                </c:pt>
                <c:pt idx="5406">
                  <c:v>40588</c:v>
                </c:pt>
                <c:pt idx="5407">
                  <c:v>40589</c:v>
                </c:pt>
                <c:pt idx="5408">
                  <c:v>40590</c:v>
                </c:pt>
                <c:pt idx="5409">
                  <c:v>40591</c:v>
                </c:pt>
                <c:pt idx="5410">
                  <c:v>40592</c:v>
                </c:pt>
                <c:pt idx="5411">
                  <c:v>40596</c:v>
                </c:pt>
                <c:pt idx="5412">
                  <c:v>40597</c:v>
                </c:pt>
                <c:pt idx="5413">
                  <c:v>40598</c:v>
                </c:pt>
                <c:pt idx="5414">
                  <c:v>40599</c:v>
                </c:pt>
                <c:pt idx="5415">
                  <c:v>40602</c:v>
                </c:pt>
                <c:pt idx="5416">
                  <c:v>40603</c:v>
                </c:pt>
                <c:pt idx="5417">
                  <c:v>40604</c:v>
                </c:pt>
                <c:pt idx="5418">
                  <c:v>40605</c:v>
                </c:pt>
                <c:pt idx="5419">
                  <c:v>40606</c:v>
                </c:pt>
                <c:pt idx="5420">
                  <c:v>40609</c:v>
                </c:pt>
                <c:pt idx="5421">
                  <c:v>40610</c:v>
                </c:pt>
                <c:pt idx="5422">
                  <c:v>40611</c:v>
                </c:pt>
                <c:pt idx="5423">
                  <c:v>40612</c:v>
                </c:pt>
                <c:pt idx="5424">
                  <c:v>40613</c:v>
                </c:pt>
                <c:pt idx="5425">
                  <c:v>40616</c:v>
                </c:pt>
                <c:pt idx="5426">
                  <c:v>40617</c:v>
                </c:pt>
                <c:pt idx="5427">
                  <c:v>40618</c:v>
                </c:pt>
                <c:pt idx="5428">
                  <c:v>40619</c:v>
                </c:pt>
                <c:pt idx="5429">
                  <c:v>40620</c:v>
                </c:pt>
                <c:pt idx="5430">
                  <c:v>40623</c:v>
                </c:pt>
                <c:pt idx="5431">
                  <c:v>40624</c:v>
                </c:pt>
                <c:pt idx="5432">
                  <c:v>40625</c:v>
                </c:pt>
                <c:pt idx="5433">
                  <c:v>40626</c:v>
                </c:pt>
                <c:pt idx="5434">
                  <c:v>40627</c:v>
                </c:pt>
                <c:pt idx="5435">
                  <c:v>40630</c:v>
                </c:pt>
                <c:pt idx="5436">
                  <c:v>40631</c:v>
                </c:pt>
                <c:pt idx="5437">
                  <c:v>40632</c:v>
                </c:pt>
                <c:pt idx="5438">
                  <c:v>40633</c:v>
                </c:pt>
                <c:pt idx="5439">
                  <c:v>40634</c:v>
                </c:pt>
                <c:pt idx="5440">
                  <c:v>40637</c:v>
                </c:pt>
                <c:pt idx="5441">
                  <c:v>40638</c:v>
                </c:pt>
                <c:pt idx="5442">
                  <c:v>40639</c:v>
                </c:pt>
                <c:pt idx="5443">
                  <c:v>40640</c:v>
                </c:pt>
                <c:pt idx="5444">
                  <c:v>40641</c:v>
                </c:pt>
                <c:pt idx="5445">
                  <c:v>40644</c:v>
                </c:pt>
                <c:pt idx="5446">
                  <c:v>40645</c:v>
                </c:pt>
                <c:pt idx="5447">
                  <c:v>40646</c:v>
                </c:pt>
                <c:pt idx="5448">
                  <c:v>40647</c:v>
                </c:pt>
                <c:pt idx="5449">
                  <c:v>40648</c:v>
                </c:pt>
                <c:pt idx="5450">
                  <c:v>40651</c:v>
                </c:pt>
                <c:pt idx="5451">
                  <c:v>40652</c:v>
                </c:pt>
                <c:pt idx="5452">
                  <c:v>40653</c:v>
                </c:pt>
                <c:pt idx="5453">
                  <c:v>40654</c:v>
                </c:pt>
                <c:pt idx="5454">
                  <c:v>40658</c:v>
                </c:pt>
                <c:pt idx="5455">
                  <c:v>40659</c:v>
                </c:pt>
                <c:pt idx="5456">
                  <c:v>40660</c:v>
                </c:pt>
                <c:pt idx="5457">
                  <c:v>40661</c:v>
                </c:pt>
                <c:pt idx="5458">
                  <c:v>40662</c:v>
                </c:pt>
                <c:pt idx="5459">
                  <c:v>40665</c:v>
                </c:pt>
                <c:pt idx="5460">
                  <c:v>40666</c:v>
                </c:pt>
                <c:pt idx="5461">
                  <c:v>40667</c:v>
                </c:pt>
                <c:pt idx="5462">
                  <c:v>40668</c:v>
                </c:pt>
                <c:pt idx="5463">
                  <c:v>40669</c:v>
                </c:pt>
                <c:pt idx="5464">
                  <c:v>40672</c:v>
                </c:pt>
                <c:pt idx="5465">
                  <c:v>40673</c:v>
                </c:pt>
                <c:pt idx="5466">
                  <c:v>40674</c:v>
                </c:pt>
                <c:pt idx="5467">
                  <c:v>40675</c:v>
                </c:pt>
                <c:pt idx="5468">
                  <c:v>40676</c:v>
                </c:pt>
                <c:pt idx="5469">
                  <c:v>40679</c:v>
                </c:pt>
                <c:pt idx="5470">
                  <c:v>40680</c:v>
                </c:pt>
                <c:pt idx="5471">
                  <c:v>40681</c:v>
                </c:pt>
                <c:pt idx="5472">
                  <c:v>40682</c:v>
                </c:pt>
                <c:pt idx="5473">
                  <c:v>40683</c:v>
                </c:pt>
                <c:pt idx="5474">
                  <c:v>40686</c:v>
                </c:pt>
                <c:pt idx="5475">
                  <c:v>40687</c:v>
                </c:pt>
                <c:pt idx="5476">
                  <c:v>40688</c:v>
                </c:pt>
                <c:pt idx="5477">
                  <c:v>40689</c:v>
                </c:pt>
                <c:pt idx="5478">
                  <c:v>40690</c:v>
                </c:pt>
                <c:pt idx="5479">
                  <c:v>40694</c:v>
                </c:pt>
                <c:pt idx="5480">
                  <c:v>40695</c:v>
                </c:pt>
                <c:pt idx="5481">
                  <c:v>40696</c:v>
                </c:pt>
                <c:pt idx="5482">
                  <c:v>40697</c:v>
                </c:pt>
                <c:pt idx="5483">
                  <c:v>40700</c:v>
                </c:pt>
                <c:pt idx="5484">
                  <c:v>40701</c:v>
                </c:pt>
                <c:pt idx="5485">
                  <c:v>40702</c:v>
                </c:pt>
                <c:pt idx="5486">
                  <c:v>40703</c:v>
                </c:pt>
                <c:pt idx="5487">
                  <c:v>40704</c:v>
                </c:pt>
                <c:pt idx="5488">
                  <c:v>40707</c:v>
                </c:pt>
                <c:pt idx="5489">
                  <c:v>40708</c:v>
                </c:pt>
                <c:pt idx="5490">
                  <c:v>40709</c:v>
                </c:pt>
                <c:pt idx="5491">
                  <c:v>40710</c:v>
                </c:pt>
                <c:pt idx="5492">
                  <c:v>40711</c:v>
                </c:pt>
                <c:pt idx="5493">
                  <c:v>40714</c:v>
                </c:pt>
                <c:pt idx="5494">
                  <c:v>40715</c:v>
                </c:pt>
                <c:pt idx="5495">
                  <c:v>40716</c:v>
                </c:pt>
                <c:pt idx="5496">
                  <c:v>40717</c:v>
                </c:pt>
                <c:pt idx="5497">
                  <c:v>40718</c:v>
                </c:pt>
                <c:pt idx="5498">
                  <c:v>40721</c:v>
                </c:pt>
                <c:pt idx="5499">
                  <c:v>40722</c:v>
                </c:pt>
                <c:pt idx="5500">
                  <c:v>40723</c:v>
                </c:pt>
                <c:pt idx="5501">
                  <c:v>40724</c:v>
                </c:pt>
                <c:pt idx="5502">
                  <c:v>40725</c:v>
                </c:pt>
                <c:pt idx="5503">
                  <c:v>40729</c:v>
                </c:pt>
                <c:pt idx="5504">
                  <c:v>40730</c:v>
                </c:pt>
                <c:pt idx="5505">
                  <c:v>40731</c:v>
                </c:pt>
                <c:pt idx="5506">
                  <c:v>40732</c:v>
                </c:pt>
                <c:pt idx="5507">
                  <c:v>40735</c:v>
                </c:pt>
                <c:pt idx="5508">
                  <c:v>40736</c:v>
                </c:pt>
                <c:pt idx="5509">
                  <c:v>40737</c:v>
                </c:pt>
                <c:pt idx="5510">
                  <c:v>40738</c:v>
                </c:pt>
                <c:pt idx="5511">
                  <c:v>40739</c:v>
                </c:pt>
                <c:pt idx="5512">
                  <c:v>40742</c:v>
                </c:pt>
                <c:pt idx="5513">
                  <c:v>40743</c:v>
                </c:pt>
                <c:pt idx="5514">
                  <c:v>40744</c:v>
                </c:pt>
                <c:pt idx="5515">
                  <c:v>40745</c:v>
                </c:pt>
                <c:pt idx="5516">
                  <c:v>40746</c:v>
                </c:pt>
                <c:pt idx="5517">
                  <c:v>40749</c:v>
                </c:pt>
                <c:pt idx="5518">
                  <c:v>40750</c:v>
                </c:pt>
                <c:pt idx="5519">
                  <c:v>40751</c:v>
                </c:pt>
                <c:pt idx="5520">
                  <c:v>40752</c:v>
                </c:pt>
                <c:pt idx="5521">
                  <c:v>40753</c:v>
                </c:pt>
                <c:pt idx="5522">
                  <c:v>40756</c:v>
                </c:pt>
                <c:pt idx="5523">
                  <c:v>40757</c:v>
                </c:pt>
                <c:pt idx="5524">
                  <c:v>40758</c:v>
                </c:pt>
                <c:pt idx="5525">
                  <c:v>40759</c:v>
                </c:pt>
                <c:pt idx="5526">
                  <c:v>40760</c:v>
                </c:pt>
                <c:pt idx="5527">
                  <c:v>40763</c:v>
                </c:pt>
                <c:pt idx="5528">
                  <c:v>40764</c:v>
                </c:pt>
                <c:pt idx="5529">
                  <c:v>40765</c:v>
                </c:pt>
                <c:pt idx="5530">
                  <c:v>40766</c:v>
                </c:pt>
                <c:pt idx="5531">
                  <c:v>40767</c:v>
                </c:pt>
                <c:pt idx="5532">
                  <c:v>40770</c:v>
                </c:pt>
                <c:pt idx="5533">
                  <c:v>40771</c:v>
                </c:pt>
                <c:pt idx="5534">
                  <c:v>40772</c:v>
                </c:pt>
                <c:pt idx="5535">
                  <c:v>40773</c:v>
                </c:pt>
                <c:pt idx="5536">
                  <c:v>40774</c:v>
                </c:pt>
                <c:pt idx="5537">
                  <c:v>40777</c:v>
                </c:pt>
                <c:pt idx="5538">
                  <c:v>40778</c:v>
                </c:pt>
                <c:pt idx="5539">
                  <c:v>40779</c:v>
                </c:pt>
                <c:pt idx="5540">
                  <c:v>40780</c:v>
                </c:pt>
                <c:pt idx="5541">
                  <c:v>40781</c:v>
                </c:pt>
                <c:pt idx="5542">
                  <c:v>40784</c:v>
                </c:pt>
                <c:pt idx="5543">
                  <c:v>40785</c:v>
                </c:pt>
                <c:pt idx="5544">
                  <c:v>40786</c:v>
                </c:pt>
                <c:pt idx="5545">
                  <c:v>40787</c:v>
                </c:pt>
                <c:pt idx="5546">
                  <c:v>40788</c:v>
                </c:pt>
                <c:pt idx="5547">
                  <c:v>40792</c:v>
                </c:pt>
                <c:pt idx="5548">
                  <c:v>40793</c:v>
                </c:pt>
                <c:pt idx="5549">
                  <c:v>40794</c:v>
                </c:pt>
                <c:pt idx="5550">
                  <c:v>40795</c:v>
                </c:pt>
                <c:pt idx="5551">
                  <c:v>40798</c:v>
                </c:pt>
                <c:pt idx="5552">
                  <c:v>40799</c:v>
                </c:pt>
                <c:pt idx="5553">
                  <c:v>40800</c:v>
                </c:pt>
                <c:pt idx="5554">
                  <c:v>40801</c:v>
                </c:pt>
                <c:pt idx="5555">
                  <c:v>40802</c:v>
                </c:pt>
                <c:pt idx="5556">
                  <c:v>40805</c:v>
                </c:pt>
                <c:pt idx="5557">
                  <c:v>40806</c:v>
                </c:pt>
                <c:pt idx="5558">
                  <c:v>40807</c:v>
                </c:pt>
                <c:pt idx="5559">
                  <c:v>40808</c:v>
                </c:pt>
                <c:pt idx="5560">
                  <c:v>40809</c:v>
                </c:pt>
                <c:pt idx="5561">
                  <c:v>40812</c:v>
                </c:pt>
                <c:pt idx="5562">
                  <c:v>40813</c:v>
                </c:pt>
                <c:pt idx="5563">
                  <c:v>40814</c:v>
                </c:pt>
                <c:pt idx="5564">
                  <c:v>40815</c:v>
                </c:pt>
                <c:pt idx="5565">
                  <c:v>40816</c:v>
                </c:pt>
                <c:pt idx="5566">
                  <c:v>40819</c:v>
                </c:pt>
                <c:pt idx="5567">
                  <c:v>40820</c:v>
                </c:pt>
                <c:pt idx="5568">
                  <c:v>40821</c:v>
                </c:pt>
                <c:pt idx="5569">
                  <c:v>40822</c:v>
                </c:pt>
                <c:pt idx="5570">
                  <c:v>40823</c:v>
                </c:pt>
                <c:pt idx="5571">
                  <c:v>40826</c:v>
                </c:pt>
                <c:pt idx="5572">
                  <c:v>40827</c:v>
                </c:pt>
                <c:pt idx="5573">
                  <c:v>40828</c:v>
                </c:pt>
                <c:pt idx="5574">
                  <c:v>40829</c:v>
                </c:pt>
                <c:pt idx="5575">
                  <c:v>40830</c:v>
                </c:pt>
                <c:pt idx="5576">
                  <c:v>40833</c:v>
                </c:pt>
                <c:pt idx="5577">
                  <c:v>40834</c:v>
                </c:pt>
                <c:pt idx="5578">
                  <c:v>40835</c:v>
                </c:pt>
                <c:pt idx="5579">
                  <c:v>40836</c:v>
                </c:pt>
                <c:pt idx="5580">
                  <c:v>40837</c:v>
                </c:pt>
                <c:pt idx="5581">
                  <c:v>40840</c:v>
                </c:pt>
                <c:pt idx="5582">
                  <c:v>40841</c:v>
                </c:pt>
                <c:pt idx="5583">
                  <c:v>40842</c:v>
                </c:pt>
                <c:pt idx="5584">
                  <c:v>40843</c:v>
                </c:pt>
                <c:pt idx="5585">
                  <c:v>40844</c:v>
                </c:pt>
                <c:pt idx="5586">
                  <c:v>40847</c:v>
                </c:pt>
                <c:pt idx="5587">
                  <c:v>40848</c:v>
                </c:pt>
                <c:pt idx="5588">
                  <c:v>40849</c:v>
                </c:pt>
                <c:pt idx="5589">
                  <c:v>40850</c:v>
                </c:pt>
                <c:pt idx="5590">
                  <c:v>40851</c:v>
                </c:pt>
                <c:pt idx="5591">
                  <c:v>40854</c:v>
                </c:pt>
                <c:pt idx="5592">
                  <c:v>40855</c:v>
                </c:pt>
                <c:pt idx="5593">
                  <c:v>40856</c:v>
                </c:pt>
                <c:pt idx="5594">
                  <c:v>40857</c:v>
                </c:pt>
                <c:pt idx="5595">
                  <c:v>40858</c:v>
                </c:pt>
                <c:pt idx="5596">
                  <c:v>40861</c:v>
                </c:pt>
                <c:pt idx="5597">
                  <c:v>40862</c:v>
                </c:pt>
                <c:pt idx="5598">
                  <c:v>40863</c:v>
                </c:pt>
                <c:pt idx="5599">
                  <c:v>40864</c:v>
                </c:pt>
                <c:pt idx="5600">
                  <c:v>40865</c:v>
                </c:pt>
                <c:pt idx="5601">
                  <c:v>40868</c:v>
                </c:pt>
                <c:pt idx="5602">
                  <c:v>40869</c:v>
                </c:pt>
                <c:pt idx="5603">
                  <c:v>40870</c:v>
                </c:pt>
                <c:pt idx="5604">
                  <c:v>40872</c:v>
                </c:pt>
                <c:pt idx="5605">
                  <c:v>40875</c:v>
                </c:pt>
                <c:pt idx="5606">
                  <c:v>40876</c:v>
                </c:pt>
                <c:pt idx="5607">
                  <c:v>40877</c:v>
                </c:pt>
                <c:pt idx="5608">
                  <c:v>40878</c:v>
                </c:pt>
                <c:pt idx="5609">
                  <c:v>40879</c:v>
                </c:pt>
                <c:pt idx="5610">
                  <c:v>40882</c:v>
                </c:pt>
                <c:pt idx="5611">
                  <c:v>40883</c:v>
                </c:pt>
                <c:pt idx="5612">
                  <c:v>40884</c:v>
                </c:pt>
                <c:pt idx="5613">
                  <c:v>40885</c:v>
                </c:pt>
                <c:pt idx="5614">
                  <c:v>40886</c:v>
                </c:pt>
                <c:pt idx="5615">
                  <c:v>40889</c:v>
                </c:pt>
                <c:pt idx="5616">
                  <c:v>40890</c:v>
                </c:pt>
                <c:pt idx="5617">
                  <c:v>40891</c:v>
                </c:pt>
                <c:pt idx="5618">
                  <c:v>40892</c:v>
                </c:pt>
                <c:pt idx="5619">
                  <c:v>40893</c:v>
                </c:pt>
                <c:pt idx="5620">
                  <c:v>40896</c:v>
                </c:pt>
                <c:pt idx="5621">
                  <c:v>40897</c:v>
                </c:pt>
                <c:pt idx="5622">
                  <c:v>40898</c:v>
                </c:pt>
                <c:pt idx="5623">
                  <c:v>40899</c:v>
                </c:pt>
                <c:pt idx="5624">
                  <c:v>40900</c:v>
                </c:pt>
                <c:pt idx="5625">
                  <c:v>40904</c:v>
                </c:pt>
                <c:pt idx="5626">
                  <c:v>40905</c:v>
                </c:pt>
                <c:pt idx="5627">
                  <c:v>40906</c:v>
                </c:pt>
                <c:pt idx="5628">
                  <c:v>40907</c:v>
                </c:pt>
                <c:pt idx="5629">
                  <c:v>40911</c:v>
                </c:pt>
                <c:pt idx="5630">
                  <c:v>40912</c:v>
                </c:pt>
                <c:pt idx="5631">
                  <c:v>40913</c:v>
                </c:pt>
                <c:pt idx="5632">
                  <c:v>40914</c:v>
                </c:pt>
                <c:pt idx="5633">
                  <c:v>40917</c:v>
                </c:pt>
                <c:pt idx="5634">
                  <c:v>40918</c:v>
                </c:pt>
                <c:pt idx="5635">
                  <c:v>40919</c:v>
                </c:pt>
                <c:pt idx="5636">
                  <c:v>40920</c:v>
                </c:pt>
                <c:pt idx="5637">
                  <c:v>40921</c:v>
                </c:pt>
                <c:pt idx="5638">
                  <c:v>40925</c:v>
                </c:pt>
                <c:pt idx="5639">
                  <c:v>40926</c:v>
                </c:pt>
                <c:pt idx="5640">
                  <c:v>40927</c:v>
                </c:pt>
                <c:pt idx="5641">
                  <c:v>40928</c:v>
                </c:pt>
                <c:pt idx="5642">
                  <c:v>40931</c:v>
                </c:pt>
                <c:pt idx="5643">
                  <c:v>40932</c:v>
                </c:pt>
                <c:pt idx="5644">
                  <c:v>40933</c:v>
                </c:pt>
                <c:pt idx="5645">
                  <c:v>40934</c:v>
                </c:pt>
                <c:pt idx="5646">
                  <c:v>40935</c:v>
                </c:pt>
                <c:pt idx="5647">
                  <c:v>40938</c:v>
                </c:pt>
                <c:pt idx="5648">
                  <c:v>40939</c:v>
                </c:pt>
                <c:pt idx="5649">
                  <c:v>40940</c:v>
                </c:pt>
                <c:pt idx="5650">
                  <c:v>40941</c:v>
                </c:pt>
                <c:pt idx="5651">
                  <c:v>40942</c:v>
                </c:pt>
                <c:pt idx="5652">
                  <c:v>40945</c:v>
                </c:pt>
                <c:pt idx="5653">
                  <c:v>40946</c:v>
                </c:pt>
                <c:pt idx="5654">
                  <c:v>40947</c:v>
                </c:pt>
                <c:pt idx="5655">
                  <c:v>40948</c:v>
                </c:pt>
                <c:pt idx="5656">
                  <c:v>40949</c:v>
                </c:pt>
                <c:pt idx="5657">
                  <c:v>40952</c:v>
                </c:pt>
                <c:pt idx="5658">
                  <c:v>40953</c:v>
                </c:pt>
                <c:pt idx="5659">
                  <c:v>40954</c:v>
                </c:pt>
                <c:pt idx="5660">
                  <c:v>40955</c:v>
                </c:pt>
                <c:pt idx="5661">
                  <c:v>40956</c:v>
                </c:pt>
                <c:pt idx="5662">
                  <c:v>40960</c:v>
                </c:pt>
                <c:pt idx="5663">
                  <c:v>40961</c:v>
                </c:pt>
                <c:pt idx="5664">
                  <c:v>40962</c:v>
                </c:pt>
                <c:pt idx="5665">
                  <c:v>40963</c:v>
                </c:pt>
                <c:pt idx="5666">
                  <c:v>40966</c:v>
                </c:pt>
                <c:pt idx="5667">
                  <c:v>40967</c:v>
                </c:pt>
                <c:pt idx="5668">
                  <c:v>40968</c:v>
                </c:pt>
                <c:pt idx="5669">
                  <c:v>40969</c:v>
                </c:pt>
                <c:pt idx="5670">
                  <c:v>40970</c:v>
                </c:pt>
                <c:pt idx="5671">
                  <c:v>40973</c:v>
                </c:pt>
                <c:pt idx="5672">
                  <c:v>40974</c:v>
                </c:pt>
                <c:pt idx="5673">
                  <c:v>40975</c:v>
                </c:pt>
                <c:pt idx="5674">
                  <c:v>40976</c:v>
                </c:pt>
                <c:pt idx="5675">
                  <c:v>40977</c:v>
                </c:pt>
                <c:pt idx="5676">
                  <c:v>40980</c:v>
                </c:pt>
                <c:pt idx="5677">
                  <c:v>40981</c:v>
                </c:pt>
                <c:pt idx="5678">
                  <c:v>40982</c:v>
                </c:pt>
                <c:pt idx="5679">
                  <c:v>40983</c:v>
                </c:pt>
                <c:pt idx="5680">
                  <c:v>40984</c:v>
                </c:pt>
                <c:pt idx="5681">
                  <c:v>40987</c:v>
                </c:pt>
                <c:pt idx="5682">
                  <c:v>40988</c:v>
                </c:pt>
                <c:pt idx="5683">
                  <c:v>40989</c:v>
                </c:pt>
                <c:pt idx="5684">
                  <c:v>40990</c:v>
                </c:pt>
                <c:pt idx="5685">
                  <c:v>40991</c:v>
                </c:pt>
                <c:pt idx="5686">
                  <c:v>40994</c:v>
                </c:pt>
                <c:pt idx="5687">
                  <c:v>40995</c:v>
                </c:pt>
                <c:pt idx="5688">
                  <c:v>40996</c:v>
                </c:pt>
                <c:pt idx="5689">
                  <c:v>40997</c:v>
                </c:pt>
                <c:pt idx="5690">
                  <c:v>40998</c:v>
                </c:pt>
                <c:pt idx="5691">
                  <c:v>41001</c:v>
                </c:pt>
                <c:pt idx="5692">
                  <c:v>41002</c:v>
                </c:pt>
                <c:pt idx="5693">
                  <c:v>41003</c:v>
                </c:pt>
                <c:pt idx="5694">
                  <c:v>41004</c:v>
                </c:pt>
                <c:pt idx="5695">
                  <c:v>41008</c:v>
                </c:pt>
                <c:pt idx="5696">
                  <c:v>41009</c:v>
                </c:pt>
                <c:pt idx="5697">
                  <c:v>41010</c:v>
                </c:pt>
                <c:pt idx="5698">
                  <c:v>41011</c:v>
                </c:pt>
                <c:pt idx="5699">
                  <c:v>41012</c:v>
                </c:pt>
                <c:pt idx="5700">
                  <c:v>41015</c:v>
                </c:pt>
                <c:pt idx="5701">
                  <c:v>41016</c:v>
                </c:pt>
                <c:pt idx="5702">
                  <c:v>41017</c:v>
                </c:pt>
                <c:pt idx="5703">
                  <c:v>41018</c:v>
                </c:pt>
                <c:pt idx="5704">
                  <c:v>41019</c:v>
                </c:pt>
                <c:pt idx="5705">
                  <c:v>41022</c:v>
                </c:pt>
                <c:pt idx="5706">
                  <c:v>41023</c:v>
                </c:pt>
                <c:pt idx="5707">
                  <c:v>41024</c:v>
                </c:pt>
                <c:pt idx="5708">
                  <c:v>41025</c:v>
                </c:pt>
                <c:pt idx="5709">
                  <c:v>41026</c:v>
                </c:pt>
                <c:pt idx="5710">
                  <c:v>41029</c:v>
                </c:pt>
                <c:pt idx="5711">
                  <c:v>41030</c:v>
                </c:pt>
                <c:pt idx="5712">
                  <c:v>41031</c:v>
                </c:pt>
                <c:pt idx="5713">
                  <c:v>41032</c:v>
                </c:pt>
                <c:pt idx="5714">
                  <c:v>41033</c:v>
                </c:pt>
                <c:pt idx="5715">
                  <c:v>41036</c:v>
                </c:pt>
                <c:pt idx="5716">
                  <c:v>41037</c:v>
                </c:pt>
                <c:pt idx="5717">
                  <c:v>41038</c:v>
                </c:pt>
                <c:pt idx="5718">
                  <c:v>41039</c:v>
                </c:pt>
                <c:pt idx="5719">
                  <c:v>41040</c:v>
                </c:pt>
                <c:pt idx="5720">
                  <c:v>41043</c:v>
                </c:pt>
                <c:pt idx="5721">
                  <c:v>41044</c:v>
                </c:pt>
                <c:pt idx="5722">
                  <c:v>41045</c:v>
                </c:pt>
                <c:pt idx="5723">
                  <c:v>41046</c:v>
                </c:pt>
                <c:pt idx="5724">
                  <c:v>41047</c:v>
                </c:pt>
                <c:pt idx="5725">
                  <c:v>41050</c:v>
                </c:pt>
                <c:pt idx="5726">
                  <c:v>41051</c:v>
                </c:pt>
                <c:pt idx="5727">
                  <c:v>41052</c:v>
                </c:pt>
                <c:pt idx="5728">
                  <c:v>41053</c:v>
                </c:pt>
                <c:pt idx="5729">
                  <c:v>41054</c:v>
                </c:pt>
                <c:pt idx="5730">
                  <c:v>41058</c:v>
                </c:pt>
                <c:pt idx="5731">
                  <c:v>41059</c:v>
                </c:pt>
                <c:pt idx="5732">
                  <c:v>41060</c:v>
                </c:pt>
                <c:pt idx="5733">
                  <c:v>41061</c:v>
                </c:pt>
                <c:pt idx="5734">
                  <c:v>41064</c:v>
                </c:pt>
                <c:pt idx="5735">
                  <c:v>41065</c:v>
                </c:pt>
                <c:pt idx="5736">
                  <c:v>41066</c:v>
                </c:pt>
                <c:pt idx="5737">
                  <c:v>41067</c:v>
                </c:pt>
                <c:pt idx="5738">
                  <c:v>41068</c:v>
                </c:pt>
                <c:pt idx="5739">
                  <c:v>41071</c:v>
                </c:pt>
                <c:pt idx="5740">
                  <c:v>41072</c:v>
                </c:pt>
                <c:pt idx="5741">
                  <c:v>41073</c:v>
                </c:pt>
                <c:pt idx="5742">
                  <c:v>41074</c:v>
                </c:pt>
                <c:pt idx="5743">
                  <c:v>41075</c:v>
                </c:pt>
                <c:pt idx="5744">
                  <c:v>41078</c:v>
                </c:pt>
                <c:pt idx="5745">
                  <c:v>41079</c:v>
                </c:pt>
                <c:pt idx="5746">
                  <c:v>41080</c:v>
                </c:pt>
                <c:pt idx="5747">
                  <c:v>41081</c:v>
                </c:pt>
                <c:pt idx="5748">
                  <c:v>41082</c:v>
                </c:pt>
                <c:pt idx="5749">
                  <c:v>41085</c:v>
                </c:pt>
                <c:pt idx="5750">
                  <c:v>41086</c:v>
                </c:pt>
                <c:pt idx="5751">
                  <c:v>41087</c:v>
                </c:pt>
                <c:pt idx="5752">
                  <c:v>41088</c:v>
                </c:pt>
                <c:pt idx="5753">
                  <c:v>41089</c:v>
                </c:pt>
                <c:pt idx="5754">
                  <c:v>41092</c:v>
                </c:pt>
                <c:pt idx="5755">
                  <c:v>41093</c:v>
                </c:pt>
                <c:pt idx="5756">
                  <c:v>41095</c:v>
                </c:pt>
                <c:pt idx="5757">
                  <c:v>41096</c:v>
                </c:pt>
                <c:pt idx="5758">
                  <c:v>41099</c:v>
                </c:pt>
                <c:pt idx="5759">
                  <c:v>41100</c:v>
                </c:pt>
                <c:pt idx="5760">
                  <c:v>41101</c:v>
                </c:pt>
                <c:pt idx="5761">
                  <c:v>41102</c:v>
                </c:pt>
                <c:pt idx="5762">
                  <c:v>41103</c:v>
                </c:pt>
                <c:pt idx="5763">
                  <c:v>41106</c:v>
                </c:pt>
                <c:pt idx="5764">
                  <c:v>41107</c:v>
                </c:pt>
                <c:pt idx="5765">
                  <c:v>41108</c:v>
                </c:pt>
                <c:pt idx="5766">
                  <c:v>41109</c:v>
                </c:pt>
                <c:pt idx="5767">
                  <c:v>41110</c:v>
                </c:pt>
                <c:pt idx="5768">
                  <c:v>41113</c:v>
                </c:pt>
                <c:pt idx="5769">
                  <c:v>41114</c:v>
                </c:pt>
                <c:pt idx="5770">
                  <c:v>41115</c:v>
                </c:pt>
                <c:pt idx="5771">
                  <c:v>41116</c:v>
                </c:pt>
                <c:pt idx="5772">
                  <c:v>41117</c:v>
                </c:pt>
                <c:pt idx="5773">
                  <c:v>41120</c:v>
                </c:pt>
                <c:pt idx="5774">
                  <c:v>41121</c:v>
                </c:pt>
                <c:pt idx="5775">
                  <c:v>41122</c:v>
                </c:pt>
                <c:pt idx="5776">
                  <c:v>41123</c:v>
                </c:pt>
                <c:pt idx="5777">
                  <c:v>41124</c:v>
                </c:pt>
                <c:pt idx="5778">
                  <c:v>41127</c:v>
                </c:pt>
                <c:pt idx="5779">
                  <c:v>41128</c:v>
                </c:pt>
                <c:pt idx="5780">
                  <c:v>41129</c:v>
                </c:pt>
                <c:pt idx="5781">
                  <c:v>41130</c:v>
                </c:pt>
                <c:pt idx="5782">
                  <c:v>41131</c:v>
                </c:pt>
                <c:pt idx="5783">
                  <c:v>41134</c:v>
                </c:pt>
                <c:pt idx="5784">
                  <c:v>41135</c:v>
                </c:pt>
                <c:pt idx="5785">
                  <c:v>41136</c:v>
                </c:pt>
                <c:pt idx="5786">
                  <c:v>41137</c:v>
                </c:pt>
                <c:pt idx="5787">
                  <c:v>41138</c:v>
                </c:pt>
                <c:pt idx="5788">
                  <c:v>41141</c:v>
                </c:pt>
                <c:pt idx="5789">
                  <c:v>41142</c:v>
                </c:pt>
                <c:pt idx="5790">
                  <c:v>41143</c:v>
                </c:pt>
                <c:pt idx="5791">
                  <c:v>41144</c:v>
                </c:pt>
                <c:pt idx="5792">
                  <c:v>41145</c:v>
                </c:pt>
                <c:pt idx="5793">
                  <c:v>41148</c:v>
                </c:pt>
                <c:pt idx="5794">
                  <c:v>41149</c:v>
                </c:pt>
                <c:pt idx="5795">
                  <c:v>41150</c:v>
                </c:pt>
                <c:pt idx="5796">
                  <c:v>41151</c:v>
                </c:pt>
                <c:pt idx="5797">
                  <c:v>41152</c:v>
                </c:pt>
                <c:pt idx="5798">
                  <c:v>41156</c:v>
                </c:pt>
                <c:pt idx="5799">
                  <c:v>41157</c:v>
                </c:pt>
                <c:pt idx="5800">
                  <c:v>41158</c:v>
                </c:pt>
                <c:pt idx="5801">
                  <c:v>41159</c:v>
                </c:pt>
                <c:pt idx="5802">
                  <c:v>41162</c:v>
                </c:pt>
                <c:pt idx="5803">
                  <c:v>41163</c:v>
                </c:pt>
                <c:pt idx="5804">
                  <c:v>41164</c:v>
                </c:pt>
                <c:pt idx="5805">
                  <c:v>41165</c:v>
                </c:pt>
                <c:pt idx="5806">
                  <c:v>41166</c:v>
                </c:pt>
                <c:pt idx="5807">
                  <c:v>41169</c:v>
                </c:pt>
                <c:pt idx="5808">
                  <c:v>41170</c:v>
                </c:pt>
                <c:pt idx="5809">
                  <c:v>41171</c:v>
                </c:pt>
                <c:pt idx="5810">
                  <c:v>41172</c:v>
                </c:pt>
                <c:pt idx="5811">
                  <c:v>41173</c:v>
                </c:pt>
                <c:pt idx="5812">
                  <c:v>41176</c:v>
                </c:pt>
                <c:pt idx="5813">
                  <c:v>41177</c:v>
                </c:pt>
                <c:pt idx="5814">
                  <c:v>41178</c:v>
                </c:pt>
                <c:pt idx="5815">
                  <c:v>41179</c:v>
                </c:pt>
                <c:pt idx="5816">
                  <c:v>41180</c:v>
                </c:pt>
                <c:pt idx="5817">
                  <c:v>41183</c:v>
                </c:pt>
                <c:pt idx="5818">
                  <c:v>41184</c:v>
                </c:pt>
                <c:pt idx="5819">
                  <c:v>41185</c:v>
                </c:pt>
                <c:pt idx="5820">
                  <c:v>41186</c:v>
                </c:pt>
                <c:pt idx="5821">
                  <c:v>41187</c:v>
                </c:pt>
                <c:pt idx="5822">
                  <c:v>41190</c:v>
                </c:pt>
                <c:pt idx="5823">
                  <c:v>41191</c:v>
                </c:pt>
                <c:pt idx="5824">
                  <c:v>41192</c:v>
                </c:pt>
                <c:pt idx="5825">
                  <c:v>41193</c:v>
                </c:pt>
                <c:pt idx="5826">
                  <c:v>41194</c:v>
                </c:pt>
                <c:pt idx="5827">
                  <c:v>41197</c:v>
                </c:pt>
                <c:pt idx="5828">
                  <c:v>41198</c:v>
                </c:pt>
                <c:pt idx="5829">
                  <c:v>41199</c:v>
                </c:pt>
                <c:pt idx="5830">
                  <c:v>41200</c:v>
                </c:pt>
                <c:pt idx="5831">
                  <c:v>41201</c:v>
                </c:pt>
                <c:pt idx="5832">
                  <c:v>41204</c:v>
                </c:pt>
                <c:pt idx="5833">
                  <c:v>41205</c:v>
                </c:pt>
                <c:pt idx="5834">
                  <c:v>41206</c:v>
                </c:pt>
                <c:pt idx="5835">
                  <c:v>41207</c:v>
                </c:pt>
                <c:pt idx="5836">
                  <c:v>41208</c:v>
                </c:pt>
                <c:pt idx="5837">
                  <c:v>41213</c:v>
                </c:pt>
                <c:pt idx="5838">
                  <c:v>41214</c:v>
                </c:pt>
                <c:pt idx="5839">
                  <c:v>41215</c:v>
                </c:pt>
                <c:pt idx="5840">
                  <c:v>41218</c:v>
                </c:pt>
                <c:pt idx="5841">
                  <c:v>41219</c:v>
                </c:pt>
                <c:pt idx="5842">
                  <c:v>41220</c:v>
                </c:pt>
                <c:pt idx="5843">
                  <c:v>41221</c:v>
                </c:pt>
                <c:pt idx="5844">
                  <c:v>41222</c:v>
                </c:pt>
                <c:pt idx="5845">
                  <c:v>41225</c:v>
                </c:pt>
                <c:pt idx="5846">
                  <c:v>41226</c:v>
                </c:pt>
                <c:pt idx="5847">
                  <c:v>41227</c:v>
                </c:pt>
                <c:pt idx="5848">
                  <c:v>41228</c:v>
                </c:pt>
                <c:pt idx="5849">
                  <c:v>41229</c:v>
                </c:pt>
                <c:pt idx="5850">
                  <c:v>41232</c:v>
                </c:pt>
                <c:pt idx="5851">
                  <c:v>41233</c:v>
                </c:pt>
                <c:pt idx="5852">
                  <c:v>41234</c:v>
                </c:pt>
                <c:pt idx="5853">
                  <c:v>41236</c:v>
                </c:pt>
                <c:pt idx="5854">
                  <c:v>41239</c:v>
                </c:pt>
                <c:pt idx="5855">
                  <c:v>41240</c:v>
                </c:pt>
                <c:pt idx="5856">
                  <c:v>41241</c:v>
                </c:pt>
                <c:pt idx="5857">
                  <c:v>41242</c:v>
                </c:pt>
                <c:pt idx="5858">
                  <c:v>41243</c:v>
                </c:pt>
                <c:pt idx="5859">
                  <c:v>41246</c:v>
                </c:pt>
                <c:pt idx="5860">
                  <c:v>41247</c:v>
                </c:pt>
                <c:pt idx="5861">
                  <c:v>41248</c:v>
                </c:pt>
                <c:pt idx="5862">
                  <c:v>41249</c:v>
                </c:pt>
                <c:pt idx="5863">
                  <c:v>41250</c:v>
                </c:pt>
                <c:pt idx="5864">
                  <c:v>41253</c:v>
                </c:pt>
                <c:pt idx="5865">
                  <c:v>41254</c:v>
                </c:pt>
                <c:pt idx="5866">
                  <c:v>41255</c:v>
                </c:pt>
                <c:pt idx="5867">
                  <c:v>41256</c:v>
                </c:pt>
                <c:pt idx="5868">
                  <c:v>41257</c:v>
                </c:pt>
                <c:pt idx="5869">
                  <c:v>41260</c:v>
                </c:pt>
                <c:pt idx="5870">
                  <c:v>41261</c:v>
                </c:pt>
                <c:pt idx="5871">
                  <c:v>41262</c:v>
                </c:pt>
                <c:pt idx="5872">
                  <c:v>41263</c:v>
                </c:pt>
                <c:pt idx="5873">
                  <c:v>41264</c:v>
                </c:pt>
                <c:pt idx="5874">
                  <c:v>41267</c:v>
                </c:pt>
                <c:pt idx="5875">
                  <c:v>41269</c:v>
                </c:pt>
                <c:pt idx="5876">
                  <c:v>41270</c:v>
                </c:pt>
                <c:pt idx="5877">
                  <c:v>41271</c:v>
                </c:pt>
                <c:pt idx="5878">
                  <c:v>41274</c:v>
                </c:pt>
                <c:pt idx="5879">
                  <c:v>41276</c:v>
                </c:pt>
                <c:pt idx="5880">
                  <c:v>41277</c:v>
                </c:pt>
                <c:pt idx="5881">
                  <c:v>41278</c:v>
                </c:pt>
                <c:pt idx="5882">
                  <c:v>41281</c:v>
                </c:pt>
                <c:pt idx="5883">
                  <c:v>41282</c:v>
                </c:pt>
                <c:pt idx="5884">
                  <c:v>41283</c:v>
                </c:pt>
                <c:pt idx="5885">
                  <c:v>41284</c:v>
                </c:pt>
                <c:pt idx="5886">
                  <c:v>41285</c:v>
                </c:pt>
                <c:pt idx="5887">
                  <c:v>41288</c:v>
                </c:pt>
                <c:pt idx="5888">
                  <c:v>41289</c:v>
                </c:pt>
                <c:pt idx="5889">
                  <c:v>41290</c:v>
                </c:pt>
                <c:pt idx="5890">
                  <c:v>41291</c:v>
                </c:pt>
                <c:pt idx="5891">
                  <c:v>41292</c:v>
                </c:pt>
                <c:pt idx="5892">
                  <c:v>41296</c:v>
                </c:pt>
                <c:pt idx="5893">
                  <c:v>41297</c:v>
                </c:pt>
                <c:pt idx="5894">
                  <c:v>41298</c:v>
                </c:pt>
                <c:pt idx="5895">
                  <c:v>41299</c:v>
                </c:pt>
                <c:pt idx="5896">
                  <c:v>41302</c:v>
                </c:pt>
                <c:pt idx="5897">
                  <c:v>41303</c:v>
                </c:pt>
                <c:pt idx="5898">
                  <c:v>41304</c:v>
                </c:pt>
                <c:pt idx="5899">
                  <c:v>41305</c:v>
                </c:pt>
                <c:pt idx="5900">
                  <c:v>41306</c:v>
                </c:pt>
                <c:pt idx="5901">
                  <c:v>41309</c:v>
                </c:pt>
                <c:pt idx="5902">
                  <c:v>41310</c:v>
                </c:pt>
                <c:pt idx="5903">
                  <c:v>41311</c:v>
                </c:pt>
                <c:pt idx="5904">
                  <c:v>41312</c:v>
                </c:pt>
                <c:pt idx="5905">
                  <c:v>41313</c:v>
                </c:pt>
                <c:pt idx="5906">
                  <c:v>41316</c:v>
                </c:pt>
                <c:pt idx="5907">
                  <c:v>41317</c:v>
                </c:pt>
                <c:pt idx="5908">
                  <c:v>41318</c:v>
                </c:pt>
                <c:pt idx="5909">
                  <c:v>41319</c:v>
                </c:pt>
                <c:pt idx="5910">
                  <c:v>41320</c:v>
                </c:pt>
                <c:pt idx="5911">
                  <c:v>41324</c:v>
                </c:pt>
                <c:pt idx="5912">
                  <c:v>41325</c:v>
                </c:pt>
                <c:pt idx="5913">
                  <c:v>41326</c:v>
                </c:pt>
                <c:pt idx="5914">
                  <c:v>41327</c:v>
                </c:pt>
                <c:pt idx="5915">
                  <c:v>41330</c:v>
                </c:pt>
                <c:pt idx="5916">
                  <c:v>41331</c:v>
                </c:pt>
                <c:pt idx="5917">
                  <c:v>41332</c:v>
                </c:pt>
                <c:pt idx="5918">
                  <c:v>41333</c:v>
                </c:pt>
                <c:pt idx="5919">
                  <c:v>41334</c:v>
                </c:pt>
                <c:pt idx="5920">
                  <c:v>41337</c:v>
                </c:pt>
                <c:pt idx="5921">
                  <c:v>41338</c:v>
                </c:pt>
                <c:pt idx="5922">
                  <c:v>41339</c:v>
                </c:pt>
                <c:pt idx="5923">
                  <c:v>41340</c:v>
                </c:pt>
                <c:pt idx="5924">
                  <c:v>41341</c:v>
                </c:pt>
                <c:pt idx="5925">
                  <c:v>41344</c:v>
                </c:pt>
                <c:pt idx="5926">
                  <c:v>41345</c:v>
                </c:pt>
                <c:pt idx="5927">
                  <c:v>41346</c:v>
                </c:pt>
                <c:pt idx="5928">
                  <c:v>41347</c:v>
                </c:pt>
                <c:pt idx="5929">
                  <c:v>41348</c:v>
                </c:pt>
                <c:pt idx="5930">
                  <c:v>41351</c:v>
                </c:pt>
                <c:pt idx="5931">
                  <c:v>41352</c:v>
                </c:pt>
                <c:pt idx="5932">
                  <c:v>41353</c:v>
                </c:pt>
                <c:pt idx="5933">
                  <c:v>41354</c:v>
                </c:pt>
                <c:pt idx="5934">
                  <c:v>41355</c:v>
                </c:pt>
                <c:pt idx="5935">
                  <c:v>41358</c:v>
                </c:pt>
                <c:pt idx="5936">
                  <c:v>41359</c:v>
                </c:pt>
                <c:pt idx="5937">
                  <c:v>41360</c:v>
                </c:pt>
                <c:pt idx="5938">
                  <c:v>41361</c:v>
                </c:pt>
                <c:pt idx="5939">
                  <c:v>41365</c:v>
                </c:pt>
                <c:pt idx="5940">
                  <c:v>41366</c:v>
                </c:pt>
                <c:pt idx="5941">
                  <c:v>41367</c:v>
                </c:pt>
                <c:pt idx="5942">
                  <c:v>41368</c:v>
                </c:pt>
                <c:pt idx="5943">
                  <c:v>41369</c:v>
                </c:pt>
                <c:pt idx="5944">
                  <c:v>41372</c:v>
                </c:pt>
                <c:pt idx="5945">
                  <c:v>41373</c:v>
                </c:pt>
                <c:pt idx="5946">
                  <c:v>41374</c:v>
                </c:pt>
                <c:pt idx="5947">
                  <c:v>41375</c:v>
                </c:pt>
                <c:pt idx="5948">
                  <c:v>41376</c:v>
                </c:pt>
                <c:pt idx="5949">
                  <c:v>41379</c:v>
                </c:pt>
                <c:pt idx="5950">
                  <c:v>41380</c:v>
                </c:pt>
                <c:pt idx="5951">
                  <c:v>41381</c:v>
                </c:pt>
                <c:pt idx="5952">
                  <c:v>41382</c:v>
                </c:pt>
                <c:pt idx="5953">
                  <c:v>41383</c:v>
                </c:pt>
                <c:pt idx="5954">
                  <c:v>41386</c:v>
                </c:pt>
                <c:pt idx="5955">
                  <c:v>41387</c:v>
                </c:pt>
                <c:pt idx="5956">
                  <c:v>41388</c:v>
                </c:pt>
                <c:pt idx="5957">
                  <c:v>41389</c:v>
                </c:pt>
                <c:pt idx="5958">
                  <c:v>41390</c:v>
                </c:pt>
                <c:pt idx="5959">
                  <c:v>41393</c:v>
                </c:pt>
                <c:pt idx="5960">
                  <c:v>41394</c:v>
                </c:pt>
                <c:pt idx="5961">
                  <c:v>41395</c:v>
                </c:pt>
                <c:pt idx="5962">
                  <c:v>41396</c:v>
                </c:pt>
                <c:pt idx="5963">
                  <c:v>41397</c:v>
                </c:pt>
                <c:pt idx="5964">
                  <c:v>41400</c:v>
                </c:pt>
                <c:pt idx="5965">
                  <c:v>41401</c:v>
                </c:pt>
                <c:pt idx="5966">
                  <c:v>41402</c:v>
                </c:pt>
                <c:pt idx="5967">
                  <c:v>41403</c:v>
                </c:pt>
                <c:pt idx="5968">
                  <c:v>41404</c:v>
                </c:pt>
                <c:pt idx="5969">
                  <c:v>41407</c:v>
                </c:pt>
                <c:pt idx="5970">
                  <c:v>41408</c:v>
                </c:pt>
                <c:pt idx="5971">
                  <c:v>41409</c:v>
                </c:pt>
                <c:pt idx="5972">
                  <c:v>41410</c:v>
                </c:pt>
                <c:pt idx="5973">
                  <c:v>41411</c:v>
                </c:pt>
                <c:pt idx="5974">
                  <c:v>41414</c:v>
                </c:pt>
                <c:pt idx="5975">
                  <c:v>41415</c:v>
                </c:pt>
                <c:pt idx="5976">
                  <c:v>41416</c:v>
                </c:pt>
                <c:pt idx="5977">
                  <c:v>41417</c:v>
                </c:pt>
                <c:pt idx="5978">
                  <c:v>41418</c:v>
                </c:pt>
                <c:pt idx="5979">
                  <c:v>41422</c:v>
                </c:pt>
                <c:pt idx="5980">
                  <c:v>41423</c:v>
                </c:pt>
                <c:pt idx="5981">
                  <c:v>41424</c:v>
                </c:pt>
                <c:pt idx="5982">
                  <c:v>41425</c:v>
                </c:pt>
                <c:pt idx="5983">
                  <c:v>41428</c:v>
                </c:pt>
                <c:pt idx="5984">
                  <c:v>41429</c:v>
                </c:pt>
                <c:pt idx="5985">
                  <c:v>41430</c:v>
                </c:pt>
                <c:pt idx="5986">
                  <c:v>41431</c:v>
                </c:pt>
                <c:pt idx="5987">
                  <c:v>41432</c:v>
                </c:pt>
                <c:pt idx="5988">
                  <c:v>41435</c:v>
                </c:pt>
                <c:pt idx="5989">
                  <c:v>41436</c:v>
                </c:pt>
                <c:pt idx="5990">
                  <c:v>41437</c:v>
                </c:pt>
                <c:pt idx="5991">
                  <c:v>41438</c:v>
                </c:pt>
                <c:pt idx="5992">
                  <c:v>41439</c:v>
                </c:pt>
                <c:pt idx="5993">
                  <c:v>41442</c:v>
                </c:pt>
                <c:pt idx="5994">
                  <c:v>41443</c:v>
                </c:pt>
                <c:pt idx="5995">
                  <c:v>41444</c:v>
                </c:pt>
                <c:pt idx="5996">
                  <c:v>41445</c:v>
                </c:pt>
                <c:pt idx="5997">
                  <c:v>41446</c:v>
                </c:pt>
                <c:pt idx="5998">
                  <c:v>41449</c:v>
                </c:pt>
                <c:pt idx="5999">
                  <c:v>41450</c:v>
                </c:pt>
                <c:pt idx="6000">
                  <c:v>41451</c:v>
                </c:pt>
                <c:pt idx="6001">
                  <c:v>41452</c:v>
                </c:pt>
                <c:pt idx="6002">
                  <c:v>41453</c:v>
                </c:pt>
                <c:pt idx="6003">
                  <c:v>41456</c:v>
                </c:pt>
                <c:pt idx="6004">
                  <c:v>41457</c:v>
                </c:pt>
                <c:pt idx="6005">
                  <c:v>41458</c:v>
                </c:pt>
                <c:pt idx="6006">
                  <c:v>41460</c:v>
                </c:pt>
                <c:pt idx="6007">
                  <c:v>41463</c:v>
                </c:pt>
                <c:pt idx="6008">
                  <c:v>41464</c:v>
                </c:pt>
                <c:pt idx="6009">
                  <c:v>41465</c:v>
                </c:pt>
                <c:pt idx="6010">
                  <c:v>41466</c:v>
                </c:pt>
                <c:pt idx="6011">
                  <c:v>41467</c:v>
                </c:pt>
                <c:pt idx="6012">
                  <c:v>41470</c:v>
                </c:pt>
                <c:pt idx="6013">
                  <c:v>41471</c:v>
                </c:pt>
                <c:pt idx="6014">
                  <c:v>41472</c:v>
                </c:pt>
                <c:pt idx="6015">
                  <c:v>41473</c:v>
                </c:pt>
                <c:pt idx="6016">
                  <c:v>41474</c:v>
                </c:pt>
                <c:pt idx="6017">
                  <c:v>41477</c:v>
                </c:pt>
                <c:pt idx="6018">
                  <c:v>41478</c:v>
                </c:pt>
                <c:pt idx="6019">
                  <c:v>41479</c:v>
                </c:pt>
                <c:pt idx="6020">
                  <c:v>41480</c:v>
                </c:pt>
                <c:pt idx="6021">
                  <c:v>41481</c:v>
                </c:pt>
                <c:pt idx="6022">
                  <c:v>41484</c:v>
                </c:pt>
                <c:pt idx="6023">
                  <c:v>41485</c:v>
                </c:pt>
                <c:pt idx="6024">
                  <c:v>41486</c:v>
                </c:pt>
                <c:pt idx="6025">
                  <c:v>41487</c:v>
                </c:pt>
                <c:pt idx="6026">
                  <c:v>41488</c:v>
                </c:pt>
                <c:pt idx="6027">
                  <c:v>41491</c:v>
                </c:pt>
                <c:pt idx="6028">
                  <c:v>41492</c:v>
                </c:pt>
                <c:pt idx="6029">
                  <c:v>41493</c:v>
                </c:pt>
                <c:pt idx="6030">
                  <c:v>41494</c:v>
                </c:pt>
                <c:pt idx="6031">
                  <c:v>41495</c:v>
                </c:pt>
                <c:pt idx="6032">
                  <c:v>41498</c:v>
                </c:pt>
                <c:pt idx="6033">
                  <c:v>41499</c:v>
                </c:pt>
                <c:pt idx="6034">
                  <c:v>41500</c:v>
                </c:pt>
                <c:pt idx="6035">
                  <c:v>41501</c:v>
                </c:pt>
                <c:pt idx="6036">
                  <c:v>41502</c:v>
                </c:pt>
                <c:pt idx="6037">
                  <c:v>41505</c:v>
                </c:pt>
                <c:pt idx="6038">
                  <c:v>41506</c:v>
                </c:pt>
                <c:pt idx="6039">
                  <c:v>41507</c:v>
                </c:pt>
                <c:pt idx="6040">
                  <c:v>41508</c:v>
                </c:pt>
                <c:pt idx="6041">
                  <c:v>41509</c:v>
                </c:pt>
                <c:pt idx="6042">
                  <c:v>41512</c:v>
                </c:pt>
                <c:pt idx="6043">
                  <c:v>41513</c:v>
                </c:pt>
                <c:pt idx="6044">
                  <c:v>41514</c:v>
                </c:pt>
                <c:pt idx="6045">
                  <c:v>41515</c:v>
                </c:pt>
                <c:pt idx="6046">
                  <c:v>41516</c:v>
                </c:pt>
                <c:pt idx="6047">
                  <c:v>41520</c:v>
                </c:pt>
                <c:pt idx="6048">
                  <c:v>41521</c:v>
                </c:pt>
                <c:pt idx="6049">
                  <c:v>41522</c:v>
                </c:pt>
                <c:pt idx="6050">
                  <c:v>41523</c:v>
                </c:pt>
                <c:pt idx="6051">
                  <c:v>41526</c:v>
                </c:pt>
                <c:pt idx="6052">
                  <c:v>41527</c:v>
                </c:pt>
                <c:pt idx="6053">
                  <c:v>41528</c:v>
                </c:pt>
                <c:pt idx="6054">
                  <c:v>41529</c:v>
                </c:pt>
                <c:pt idx="6055">
                  <c:v>41530</c:v>
                </c:pt>
                <c:pt idx="6056">
                  <c:v>41533</c:v>
                </c:pt>
                <c:pt idx="6057">
                  <c:v>41534</c:v>
                </c:pt>
                <c:pt idx="6058">
                  <c:v>41535</c:v>
                </c:pt>
                <c:pt idx="6059">
                  <c:v>41536</c:v>
                </c:pt>
                <c:pt idx="6060">
                  <c:v>41537</c:v>
                </c:pt>
                <c:pt idx="6061">
                  <c:v>41540</c:v>
                </c:pt>
                <c:pt idx="6062">
                  <c:v>41541</c:v>
                </c:pt>
                <c:pt idx="6063">
                  <c:v>41542</c:v>
                </c:pt>
                <c:pt idx="6064">
                  <c:v>41543</c:v>
                </c:pt>
                <c:pt idx="6065">
                  <c:v>41544</c:v>
                </c:pt>
                <c:pt idx="6066">
                  <c:v>41547</c:v>
                </c:pt>
                <c:pt idx="6067">
                  <c:v>41548</c:v>
                </c:pt>
                <c:pt idx="6068">
                  <c:v>41549</c:v>
                </c:pt>
                <c:pt idx="6069">
                  <c:v>41550</c:v>
                </c:pt>
                <c:pt idx="6070">
                  <c:v>41551</c:v>
                </c:pt>
                <c:pt idx="6071">
                  <c:v>41554</c:v>
                </c:pt>
                <c:pt idx="6072">
                  <c:v>41555</c:v>
                </c:pt>
                <c:pt idx="6073">
                  <c:v>41556</c:v>
                </c:pt>
                <c:pt idx="6074">
                  <c:v>41557</c:v>
                </c:pt>
                <c:pt idx="6075">
                  <c:v>41558</c:v>
                </c:pt>
                <c:pt idx="6076">
                  <c:v>41561</c:v>
                </c:pt>
                <c:pt idx="6077">
                  <c:v>41562</c:v>
                </c:pt>
                <c:pt idx="6078">
                  <c:v>41563</c:v>
                </c:pt>
                <c:pt idx="6079">
                  <c:v>41564</c:v>
                </c:pt>
                <c:pt idx="6080">
                  <c:v>41565</c:v>
                </c:pt>
                <c:pt idx="6081">
                  <c:v>41568</c:v>
                </c:pt>
                <c:pt idx="6082">
                  <c:v>41569</c:v>
                </c:pt>
                <c:pt idx="6083">
                  <c:v>41570</c:v>
                </c:pt>
                <c:pt idx="6084">
                  <c:v>41571</c:v>
                </c:pt>
                <c:pt idx="6085">
                  <c:v>41572</c:v>
                </c:pt>
                <c:pt idx="6086">
                  <c:v>41575</c:v>
                </c:pt>
                <c:pt idx="6087">
                  <c:v>41576</c:v>
                </c:pt>
                <c:pt idx="6088">
                  <c:v>41577</c:v>
                </c:pt>
                <c:pt idx="6089">
                  <c:v>41578</c:v>
                </c:pt>
                <c:pt idx="6090">
                  <c:v>41579</c:v>
                </c:pt>
                <c:pt idx="6091">
                  <c:v>41582</c:v>
                </c:pt>
                <c:pt idx="6092">
                  <c:v>41583</c:v>
                </c:pt>
                <c:pt idx="6093">
                  <c:v>41584</c:v>
                </c:pt>
                <c:pt idx="6094">
                  <c:v>41585</c:v>
                </c:pt>
                <c:pt idx="6095">
                  <c:v>41586</c:v>
                </c:pt>
                <c:pt idx="6096">
                  <c:v>41589</c:v>
                </c:pt>
                <c:pt idx="6097">
                  <c:v>41590</c:v>
                </c:pt>
                <c:pt idx="6098">
                  <c:v>41591</c:v>
                </c:pt>
                <c:pt idx="6099">
                  <c:v>41592</c:v>
                </c:pt>
                <c:pt idx="6100">
                  <c:v>41593</c:v>
                </c:pt>
                <c:pt idx="6101">
                  <c:v>41596</c:v>
                </c:pt>
                <c:pt idx="6102">
                  <c:v>41597</c:v>
                </c:pt>
                <c:pt idx="6103">
                  <c:v>41598</c:v>
                </c:pt>
                <c:pt idx="6104">
                  <c:v>41599</c:v>
                </c:pt>
                <c:pt idx="6105">
                  <c:v>41600</c:v>
                </c:pt>
                <c:pt idx="6106">
                  <c:v>41603</c:v>
                </c:pt>
                <c:pt idx="6107">
                  <c:v>41604</c:v>
                </c:pt>
                <c:pt idx="6108">
                  <c:v>41605</c:v>
                </c:pt>
                <c:pt idx="6109">
                  <c:v>41607</c:v>
                </c:pt>
                <c:pt idx="6110">
                  <c:v>41610</c:v>
                </c:pt>
                <c:pt idx="6111">
                  <c:v>41611</c:v>
                </c:pt>
                <c:pt idx="6112">
                  <c:v>41612</c:v>
                </c:pt>
                <c:pt idx="6113">
                  <c:v>41613</c:v>
                </c:pt>
                <c:pt idx="6114">
                  <c:v>41614</c:v>
                </c:pt>
                <c:pt idx="6115">
                  <c:v>41617</c:v>
                </c:pt>
                <c:pt idx="6116">
                  <c:v>41618</c:v>
                </c:pt>
                <c:pt idx="6117">
                  <c:v>41619</c:v>
                </c:pt>
                <c:pt idx="6118">
                  <c:v>41620</c:v>
                </c:pt>
                <c:pt idx="6119">
                  <c:v>41621</c:v>
                </c:pt>
                <c:pt idx="6120">
                  <c:v>41624</c:v>
                </c:pt>
                <c:pt idx="6121">
                  <c:v>41625</c:v>
                </c:pt>
                <c:pt idx="6122">
                  <c:v>41626</c:v>
                </c:pt>
                <c:pt idx="6123">
                  <c:v>41627</c:v>
                </c:pt>
                <c:pt idx="6124">
                  <c:v>41628</c:v>
                </c:pt>
                <c:pt idx="6125">
                  <c:v>41631</c:v>
                </c:pt>
                <c:pt idx="6126">
                  <c:v>41632</c:v>
                </c:pt>
                <c:pt idx="6127">
                  <c:v>41634</c:v>
                </c:pt>
                <c:pt idx="6128">
                  <c:v>41635</c:v>
                </c:pt>
                <c:pt idx="6129">
                  <c:v>41638</c:v>
                </c:pt>
                <c:pt idx="6130">
                  <c:v>41639</c:v>
                </c:pt>
                <c:pt idx="6131">
                  <c:v>41641</c:v>
                </c:pt>
                <c:pt idx="6132">
                  <c:v>41642</c:v>
                </c:pt>
                <c:pt idx="6133">
                  <c:v>41645</c:v>
                </c:pt>
                <c:pt idx="6134">
                  <c:v>41646</c:v>
                </c:pt>
                <c:pt idx="6135">
                  <c:v>41647</c:v>
                </c:pt>
                <c:pt idx="6136">
                  <c:v>41648</c:v>
                </c:pt>
                <c:pt idx="6137">
                  <c:v>41649</c:v>
                </c:pt>
                <c:pt idx="6138">
                  <c:v>41652</c:v>
                </c:pt>
                <c:pt idx="6139">
                  <c:v>41653</c:v>
                </c:pt>
                <c:pt idx="6140">
                  <c:v>41654</c:v>
                </c:pt>
                <c:pt idx="6141">
                  <c:v>41655</c:v>
                </c:pt>
                <c:pt idx="6142">
                  <c:v>41656</c:v>
                </c:pt>
                <c:pt idx="6143">
                  <c:v>41660</c:v>
                </c:pt>
                <c:pt idx="6144">
                  <c:v>41661</c:v>
                </c:pt>
                <c:pt idx="6145">
                  <c:v>41662</c:v>
                </c:pt>
                <c:pt idx="6146">
                  <c:v>41663</c:v>
                </c:pt>
                <c:pt idx="6147">
                  <c:v>41666</c:v>
                </c:pt>
                <c:pt idx="6148">
                  <c:v>41667</c:v>
                </c:pt>
                <c:pt idx="6149">
                  <c:v>41668</c:v>
                </c:pt>
                <c:pt idx="6150">
                  <c:v>41669</c:v>
                </c:pt>
                <c:pt idx="6151">
                  <c:v>41670</c:v>
                </c:pt>
                <c:pt idx="6152">
                  <c:v>41673</c:v>
                </c:pt>
                <c:pt idx="6153">
                  <c:v>41674</c:v>
                </c:pt>
                <c:pt idx="6154">
                  <c:v>41675</c:v>
                </c:pt>
                <c:pt idx="6155">
                  <c:v>41676</c:v>
                </c:pt>
                <c:pt idx="6156">
                  <c:v>41677</c:v>
                </c:pt>
                <c:pt idx="6157">
                  <c:v>41680</c:v>
                </c:pt>
                <c:pt idx="6158">
                  <c:v>41681</c:v>
                </c:pt>
                <c:pt idx="6159">
                  <c:v>41682</c:v>
                </c:pt>
                <c:pt idx="6160">
                  <c:v>41683</c:v>
                </c:pt>
                <c:pt idx="6161">
                  <c:v>41684</c:v>
                </c:pt>
                <c:pt idx="6162">
                  <c:v>41688</c:v>
                </c:pt>
                <c:pt idx="6163">
                  <c:v>41689</c:v>
                </c:pt>
                <c:pt idx="6164">
                  <c:v>41690</c:v>
                </c:pt>
                <c:pt idx="6165">
                  <c:v>41691</c:v>
                </c:pt>
                <c:pt idx="6166">
                  <c:v>41694</c:v>
                </c:pt>
                <c:pt idx="6167">
                  <c:v>41695</c:v>
                </c:pt>
                <c:pt idx="6168">
                  <c:v>41696</c:v>
                </c:pt>
                <c:pt idx="6169">
                  <c:v>41697</c:v>
                </c:pt>
                <c:pt idx="6170">
                  <c:v>41698</c:v>
                </c:pt>
                <c:pt idx="6171">
                  <c:v>41701</c:v>
                </c:pt>
                <c:pt idx="6172">
                  <c:v>41702</c:v>
                </c:pt>
                <c:pt idx="6173">
                  <c:v>41703</c:v>
                </c:pt>
                <c:pt idx="6174">
                  <c:v>41704</c:v>
                </c:pt>
                <c:pt idx="6175">
                  <c:v>41705</c:v>
                </c:pt>
                <c:pt idx="6176">
                  <c:v>41708</c:v>
                </c:pt>
                <c:pt idx="6177">
                  <c:v>41709</c:v>
                </c:pt>
                <c:pt idx="6178">
                  <c:v>41710</c:v>
                </c:pt>
                <c:pt idx="6179">
                  <c:v>41711</c:v>
                </c:pt>
                <c:pt idx="6180">
                  <c:v>41712</c:v>
                </c:pt>
                <c:pt idx="6181">
                  <c:v>41715</c:v>
                </c:pt>
                <c:pt idx="6182">
                  <c:v>41716</c:v>
                </c:pt>
                <c:pt idx="6183">
                  <c:v>41717</c:v>
                </c:pt>
                <c:pt idx="6184">
                  <c:v>41718</c:v>
                </c:pt>
                <c:pt idx="6185">
                  <c:v>41719</c:v>
                </c:pt>
                <c:pt idx="6186">
                  <c:v>41722</c:v>
                </c:pt>
                <c:pt idx="6187">
                  <c:v>41723</c:v>
                </c:pt>
                <c:pt idx="6188">
                  <c:v>41724</c:v>
                </c:pt>
                <c:pt idx="6189">
                  <c:v>41725</c:v>
                </c:pt>
                <c:pt idx="6190">
                  <c:v>41726</c:v>
                </c:pt>
                <c:pt idx="6191">
                  <c:v>41729</c:v>
                </c:pt>
                <c:pt idx="6192">
                  <c:v>41730</c:v>
                </c:pt>
                <c:pt idx="6193">
                  <c:v>41731</c:v>
                </c:pt>
                <c:pt idx="6194">
                  <c:v>41732</c:v>
                </c:pt>
                <c:pt idx="6195">
                  <c:v>41733</c:v>
                </c:pt>
                <c:pt idx="6196">
                  <c:v>41736</c:v>
                </c:pt>
                <c:pt idx="6197">
                  <c:v>41737</c:v>
                </c:pt>
                <c:pt idx="6198">
                  <c:v>41738</c:v>
                </c:pt>
                <c:pt idx="6199">
                  <c:v>41739</c:v>
                </c:pt>
                <c:pt idx="6200">
                  <c:v>41740</c:v>
                </c:pt>
                <c:pt idx="6201">
                  <c:v>41743</c:v>
                </c:pt>
                <c:pt idx="6202">
                  <c:v>41744</c:v>
                </c:pt>
                <c:pt idx="6203">
                  <c:v>41745</c:v>
                </c:pt>
                <c:pt idx="6204">
                  <c:v>41746</c:v>
                </c:pt>
                <c:pt idx="6205">
                  <c:v>41750</c:v>
                </c:pt>
                <c:pt idx="6206">
                  <c:v>41751</c:v>
                </c:pt>
                <c:pt idx="6207">
                  <c:v>41752</c:v>
                </c:pt>
                <c:pt idx="6208">
                  <c:v>41753</c:v>
                </c:pt>
                <c:pt idx="6209">
                  <c:v>41754</c:v>
                </c:pt>
                <c:pt idx="6210">
                  <c:v>41757</c:v>
                </c:pt>
                <c:pt idx="6211">
                  <c:v>41758</c:v>
                </c:pt>
                <c:pt idx="6212">
                  <c:v>41759</c:v>
                </c:pt>
                <c:pt idx="6213">
                  <c:v>41760</c:v>
                </c:pt>
                <c:pt idx="6214">
                  <c:v>41761</c:v>
                </c:pt>
                <c:pt idx="6215">
                  <c:v>41764</c:v>
                </c:pt>
                <c:pt idx="6216">
                  <c:v>41765</c:v>
                </c:pt>
                <c:pt idx="6217">
                  <c:v>41766</c:v>
                </c:pt>
                <c:pt idx="6218">
                  <c:v>41767</c:v>
                </c:pt>
                <c:pt idx="6219">
                  <c:v>41768</c:v>
                </c:pt>
                <c:pt idx="6220">
                  <c:v>41771</c:v>
                </c:pt>
                <c:pt idx="6221">
                  <c:v>41772</c:v>
                </c:pt>
                <c:pt idx="6222">
                  <c:v>41773</c:v>
                </c:pt>
                <c:pt idx="6223">
                  <c:v>41774</c:v>
                </c:pt>
                <c:pt idx="6224">
                  <c:v>41775</c:v>
                </c:pt>
                <c:pt idx="6225">
                  <c:v>41778</c:v>
                </c:pt>
                <c:pt idx="6226">
                  <c:v>41779</c:v>
                </c:pt>
                <c:pt idx="6227">
                  <c:v>41780</c:v>
                </c:pt>
                <c:pt idx="6228">
                  <c:v>41781</c:v>
                </c:pt>
                <c:pt idx="6229">
                  <c:v>41782</c:v>
                </c:pt>
                <c:pt idx="6230">
                  <c:v>41786</c:v>
                </c:pt>
                <c:pt idx="6231">
                  <c:v>41787</c:v>
                </c:pt>
                <c:pt idx="6232">
                  <c:v>41788</c:v>
                </c:pt>
                <c:pt idx="6233">
                  <c:v>41789</c:v>
                </c:pt>
                <c:pt idx="6234">
                  <c:v>41792</c:v>
                </c:pt>
                <c:pt idx="6235">
                  <c:v>41793</c:v>
                </c:pt>
                <c:pt idx="6236">
                  <c:v>41794</c:v>
                </c:pt>
                <c:pt idx="6237">
                  <c:v>41795</c:v>
                </c:pt>
                <c:pt idx="6238">
                  <c:v>41796</c:v>
                </c:pt>
                <c:pt idx="6239">
                  <c:v>41799</c:v>
                </c:pt>
                <c:pt idx="6240">
                  <c:v>41800</c:v>
                </c:pt>
                <c:pt idx="6241">
                  <c:v>41801</c:v>
                </c:pt>
                <c:pt idx="6242">
                  <c:v>41802</c:v>
                </c:pt>
                <c:pt idx="6243">
                  <c:v>41803</c:v>
                </c:pt>
                <c:pt idx="6244">
                  <c:v>41806</c:v>
                </c:pt>
                <c:pt idx="6245">
                  <c:v>41807</c:v>
                </c:pt>
                <c:pt idx="6246">
                  <c:v>41808</c:v>
                </c:pt>
                <c:pt idx="6247">
                  <c:v>41809</c:v>
                </c:pt>
                <c:pt idx="6248">
                  <c:v>41810</c:v>
                </c:pt>
                <c:pt idx="6249">
                  <c:v>41813</c:v>
                </c:pt>
                <c:pt idx="6250">
                  <c:v>41814</c:v>
                </c:pt>
                <c:pt idx="6251">
                  <c:v>41815</c:v>
                </c:pt>
                <c:pt idx="6252">
                  <c:v>41816</c:v>
                </c:pt>
                <c:pt idx="6253">
                  <c:v>41817</c:v>
                </c:pt>
                <c:pt idx="6254">
                  <c:v>41820</c:v>
                </c:pt>
                <c:pt idx="6255">
                  <c:v>41821</c:v>
                </c:pt>
                <c:pt idx="6256">
                  <c:v>41822</c:v>
                </c:pt>
                <c:pt idx="6257">
                  <c:v>41823</c:v>
                </c:pt>
                <c:pt idx="6258">
                  <c:v>41827</c:v>
                </c:pt>
                <c:pt idx="6259">
                  <c:v>41828</c:v>
                </c:pt>
                <c:pt idx="6260">
                  <c:v>41829</c:v>
                </c:pt>
                <c:pt idx="6261">
                  <c:v>41830</c:v>
                </c:pt>
                <c:pt idx="6262">
                  <c:v>41831</c:v>
                </c:pt>
                <c:pt idx="6263">
                  <c:v>41834</c:v>
                </c:pt>
                <c:pt idx="6264">
                  <c:v>41835</c:v>
                </c:pt>
                <c:pt idx="6265">
                  <c:v>41836</c:v>
                </c:pt>
                <c:pt idx="6266">
                  <c:v>41837</c:v>
                </c:pt>
                <c:pt idx="6267">
                  <c:v>41838</c:v>
                </c:pt>
                <c:pt idx="6268">
                  <c:v>41841</c:v>
                </c:pt>
                <c:pt idx="6269">
                  <c:v>41842</c:v>
                </c:pt>
                <c:pt idx="6270">
                  <c:v>41843</c:v>
                </c:pt>
                <c:pt idx="6271">
                  <c:v>41844</c:v>
                </c:pt>
                <c:pt idx="6272">
                  <c:v>41845</c:v>
                </c:pt>
                <c:pt idx="6273">
                  <c:v>41848</c:v>
                </c:pt>
                <c:pt idx="6274">
                  <c:v>41849</c:v>
                </c:pt>
                <c:pt idx="6275">
                  <c:v>41850</c:v>
                </c:pt>
                <c:pt idx="6276">
                  <c:v>41851</c:v>
                </c:pt>
                <c:pt idx="6277">
                  <c:v>41852</c:v>
                </c:pt>
                <c:pt idx="6278">
                  <c:v>41855</c:v>
                </c:pt>
                <c:pt idx="6279">
                  <c:v>41856</c:v>
                </c:pt>
                <c:pt idx="6280">
                  <c:v>41857</c:v>
                </c:pt>
                <c:pt idx="6281">
                  <c:v>41858</c:v>
                </c:pt>
                <c:pt idx="6282">
                  <c:v>41859</c:v>
                </c:pt>
                <c:pt idx="6283">
                  <c:v>41862</c:v>
                </c:pt>
                <c:pt idx="6284">
                  <c:v>41863</c:v>
                </c:pt>
                <c:pt idx="6285">
                  <c:v>41864</c:v>
                </c:pt>
                <c:pt idx="6286">
                  <c:v>41865</c:v>
                </c:pt>
                <c:pt idx="6287">
                  <c:v>41866</c:v>
                </c:pt>
                <c:pt idx="6288">
                  <c:v>41869</c:v>
                </c:pt>
                <c:pt idx="6289">
                  <c:v>41870</c:v>
                </c:pt>
                <c:pt idx="6290">
                  <c:v>41871</c:v>
                </c:pt>
                <c:pt idx="6291">
                  <c:v>41872</c:v>
                </c:pt>
                <c:pt idx="6292">
                  <c:v>41873</c:v>
                </c:pt>
                <c:pt idx="6293">
                  <c:v>41876</c:v>
                </c:pt>
                <c:pt idx="6294">
                  <c:v>41877</c:v>
                </c:pt>
                <c:pt idx="6295">
                  <c:v>41878</c:v>
                </c:pt>
                <c:pt idx="6296">
                  <c:v>41879</c:v>
                </c:pt>
                <c:pt idx="6297">
                  <c:v>41880</c:v>
                </c:pt>
                <c:pt idx="6298">
                  <c:v>41884</c:v>
                </c:pt>
                <c:pt idx="6299">
                  <c:v>41885</c:v>
                </c:pt>
                <c:pt idx="6300">
                  <c:v>41886</c:v>
                </c:pt>
                <c:pt idx="6301">
                  <c:v>41887</c:v>
                </c:pt>
                <c:pt idx="6302">
                  <c:v>41890</c:v>
                </c:pt>
                <c:pt idx="6303">
                  <c:v>41891</c:v>
                </c:pt>
                <c:pt idx="6304">
                  <c:v>41892</c:v>
                </c:pt>
                <c:pt idx="6305">
                  <c:v>41893</c:v>
                </c:pt>
                <c:pt idx="6306">
                  <c:v>41894</c:v>
                </c:pt>
                <c:pt idx="6307">
                  <c:v>41897</c:v>
                </c:pt>
                <c:pt idx="6308">
                  <c:v>41898</c:v>
                </c:pt>
                <c:pt idx="6309">
                  <c:v>41899</c:v>
                </c:pt>
                <c:pt idx="6310">
                  <c:v>41900</c:v>
                </c:pt>
                <c:pt idx="6311">
                  <c:v>41901</c:v>
                </c:pt>
                <c:pt idx="6312">
                  <c:v>41904</c:v>
                </c:pt>
                <c:pt idx="6313">
                  <c:v>41905</c:v>
                </c:pt>
                <c:pt idx="6314">
                  <c:v>41906</c:v>
                </c:pt>
                <c:pt idx="6315">
                  <c:v>41907</c:v>
                </c:pt>
                <c:pt idx="6316">
                  <c:v>41908</c:v>
                </c:pt>
                <c:pt idx="6317">
                  <c:v>41911</c:v>
                </c:pt>
                <c:pt idx="6318">
                  <c:v>41912</c:v>
                </c:pt>
                <c:pt idx="6319">
                  <c:v>41913</c:v>
                </c:pt>
                <c:pt idx="6320">
                  <c:v>41914</c:v>
                </c:pt>
                <c:pt idx="6321">
                  <c:v>41915</c:v>
                </c:pt>
                <c:pt idx="6322">
                  <c:v>41918</c:v>
                </c:pt>
                <c:pt idx="6323">
                  <c:v>41919</c:v>
                </c:pt>
                <c:pt idx="6324">
                  <c:v>41920</c:v>
                </c:pt>
                <c:pt idx="6325">
                  <c:v>41921</c:v>
                </c:pt>
                <c:pt idx="6326">
                  <c:v>41922</c:v>
                </c:pt>
                <c:pt idx="6327">
                  <c:v>41925</c:v>
                </c:pt>
                <c:pt idx="6328">
                  <c:v>41926</c:v>
                </c:pt>
                <c:pt idx="6329">
                  <c:v>41927</c:v>
                </c:pt>
                <c:pt idx="6330">
                  <c:v>41928</c:v>
                </c:pt>
                <c:pt idx="6331">
                  <c:v>41929</c:v>
                </c:pt>
                <c:pt idx="6332">
                  <c:v>41932</c:v>
                </c:pt>
                <c:pt idx="6333">
                  <c:v>41933</c:v>
                </c:pt>
                <c:pt idx="6334">
                  <c:v>41934</c:v>
                </c:pt>
                <c:pt idx="6335">
                  <c:v>41935</c:v>
                </c:pt>
                <c:pt idx="6336">
                  <c:v>41936</c:v>
                </c:pt>
                <c:pt idx="6337">
                  <c:v>41939</c:v>
                </c:pt>
                <c:pt idx="6338">
                  <c:v>41940</c:v>
                </c:pt>
                <c:pt idx="6339">
                  <c:v>41941</c:v>
                </c:pt>
                <c:pt idx="6340">
                  <c:v>41942</c:v>
                </c:pt>
                <c:pt idx="6341">
                  <c:v>41943</c:v>
                </c:pt>
                <c:pt idx="6342">
                  <c:v>41946</c:v>
                </c:pt>
                <c:pt idx="6343">
                  <c:v>41947</c:v>
                </c:pt>
                <c:pt idx="6344">
                  <c:v>41948</c:v>
                </c:pt>
                <c:pt idx="6345">
                  <c:v>41949</c:v>
                </c:pt>
                <c:pt idx="6346">
                  <c:v>41950</c:v>
                </c:pt>
                <c:pt idx="6347">
                  <c:v>41953</c:v>
                </c:pt>
                <c:pt idx="6348">
                  <c:v>41954</c:v>
                </c:pt>
                <c:pt idx="6349">
                  <c:v>41955</c:v>
                </c:pt>
                <c:pt idx="6350">
                  <c:v>41956</c:v>
                </c:pt>
                <c:pt idx="6351">
                  <c:v>41957</c:v>
                </c:pt>
                <c:pt idx="6352">
                  <c:v>41960</c:v>
                </c:pt>
                <c:pt idx="6353">
                  <c:v>41961</c:v>
                </c:pt>
                <c:pt idx="6354">
                  <c:v>41962</c:v>
                </c:pt>
                <c:pt idx="6355">
                  <c:v>41963</c:v>
                </c:pt>
                <c:pt idx="6356">
                  <c:v>41964</c:v>
                </c:pt>
                <c:pt idx="6357">
                  <c:v>41967</c:v>
                </c:pt>
                <c:pt idx="6358">
                  <c:v>41968</c:v>
                </c:pt>
                <c:pt idx="6359">
                  <c:v>41969</c:v>
                </c:pt>
                <c:pt idx="6360">
                  <c:v>41971</c:v>
                </c:pt>
                <c:pt idx="6361">
                  <c:v>41974</c:v>
                </c:pt>
                <c:pt idx="6362">
                  <c:v>41975</c:v>
                </c:pt>
                <c:pt idx="6363">
                  <c:v>41976</c:v>
                </c:pt>
                <c:pt idx="6364">
                  <c:v>41977</c:v>
                </c:pt>
                <c:pt idx="6365">
                  <c:v>41978</c:v>
                </c:pt>
                <c:pt idx="6366">
                  <c:v>41981</c:v>
                </c:pt>
                <c:pt idx="6367">
                  <c:v>41982</c:v>
                </c:pt>
                <c:pt idx="6368">
                  <c:v>41983</c:v>
                </c:pt>
                <c:pt idx="6369">
                  <c:v>41984</c:v>
                </c:pt>
                <c:pt idx="6370">
                  <c:v>41985</c:v>
                </c:pt>
                <c:pt idx="6371">
                  <c:v>41988</c:v>
                </c:pt>
                <c:pt idx="6372">
                  <c:v>41989</c:v>
                </c:pt>
                <c:pt idx="6373">
                  <c:v>41990</c:v>
                </c:pt>
                <c:pt idx="6374">
                  <c:v>41991</c:v>
                </c:pt>
                <c:pt idx="6375">
                  <c:v>41992</c:v>
                </c:pt>
                <c:pt idx="6376">
                  <c:v>41995</c:v>
                </c:pt>
                <c:pt idx="6377">
                  <c:v>41996</c:v>
                </c:pt>
                <c:pt idx="6378">
                  <c:v>41997</c:v>
                </c:pt>
                <c:pt idx="6379">
                  <c:v>41999</c:v>
                </c:pt>
                <c:pt idx="6380">
                  <c:v>42002</c:v>
                </c:pt>
                <c:pt idx="6381">
                  <c:v>42003</c:v>
                </c:pt>
                <c:pt idx="6382">
                  <c:v>42004</c:v>
                </c:pt>
                <c:pt idx="6383">
                  <c:v>42006</c:v>
                </c:pt>
                <c:pt idx="6384">
                  <c:v>42009</c:v>
                </c:pt>
                <c:pt idx="6385">
                  <c:v>42010</c:v>
                </c:pt>
                <c:pt idx="6386">
                  <c:v>42011</c:v>
                </c:pt>
                <c:pt idx="6387">
                  <c:v>42012</c:v>
                </c:pt>
                <c:pt idx="6388">
                  <c:v>42013</c:v>
                </c:pt>
                <c:pt idx="6389">
                  <c:v>42016</c:v>
                </c:pt>
                <c:pt idx="6390">
                  <c:v>42017</c:v>
                </c:pt>
                <c:pt idx="6391">
                  <c:v>42018</c:v>
                </c:pt>
                <c:pt idx="6392">
                  <c:v>42019</c:v>
                </c:pt>
                <c:pt idx="6393">
                  <c:v>42020</c:v>
                </c:pt>
                <c:pt idx="6394">
                  <c:v>42024</c:v>
                </c:pt>
                <c:pt idx="6395">
                  <c:v>42025</c:v>
                </c:pt>
                <c:pt idx="6396">
                  <c:v>42026</c:v>
                </c:pt>
                <c:pt idx="6397">
                  <c:v>42027</c:v>
                </c:pt>
                <c:pt idx="6398">
                  <c:v>42030</c:v>
                </c:pt>
                <c:pt idx="6399">
                  <c:v>42031</c:v>
                </c:pt>
                <c:pt idx="6400">
                  <c:v>42032</c:v>
                </c:pt>
                <c:pt idx="6401">
                  <c:v>42033</c:v>
                </c:pt>
                <c:pt idx="6402">
                  <c:v>42034</c:v>
                </c:pt>
                <c:pt idx="6403">
                  <c:v>42037</c:v>
                </c:pt>
                <c:pt idx="6404">
                  <c:v>42038</c:v>
                </c:pt>
                <c:pt idx="6405">
                  <c:v>42039</c:v>
                </c:pt>
                <c:pt idx="6406">
                  <c:v>42040</c:v>
                </c:pt>
                <c:pt idx="6407">
                  <c:v>42041</c:v>
                </c:pt>
                <c:pt idx="6408">
                  <c:v>42044</c:v>
                </c:pt>
                <c:pt idx="6409">
                  <c:v>42045</c:v>
                </c:pt>
                <c:pt idx="6410">
                  <c:v>42046</c:v>
                </c:pt>
                <c:pt idx="6411">
                  <c:v>42047</c:v>
                </c:pt>
                <c:pt idx="6412">
                  <c:v>42048</c:v>
                </c:pt>
                <c:pt idx="6413">
                  <c:v>42052</c:v>
                </c:pt>
                <c:pt idx="6414">
                  <c:v>42053</c:v>
                </c:pt>
                <c:pt idx="6415">
                  <c:v>42054</c:v>
                </c:pt>
                <c:pt idx="6416">
                  <c:v>42055</c:v>
                </c:pt>
                <c:pt idx="6417">
                  <c:v>42058</c:v>
                </c:pt>
                <c:pt idx="6418">
                  <c:v>42059</c:v>
                </c:pt>
                <c:pt idx="6419">
                  <c:v>42060</c:v>
                </c:pt>
                <c:pt idx="6420">
                  <c:v>42061</c:v>
                </c:pt>
                <c:pt idx="6421">
                  <c:v>42062</c:v>
                </c:pt>
                <c:pt idx="6422">
                  <c:v>42065</c:v>
                </c:pt>
                <c:pt idx="6423">
                  <c:v>42066</c:v>
                </c:pt>
                <c:pt idx="6424">
                  <c:v>42067</c:v>
                </c:pt>
                <c:pt idx="6425">
                  <c:v>42068</c:v>
                </c:pt>
                <c:pt idx="6426">
                  <c:v>42069</c:v>
                </c:pt>
                <c:pt idx="6427">
                  <c:v>42072</c:v>
                </c:pt>
                <c:pt idx="6428">
                  <c:v>42073</c:v>
                </c:pt>
                <c:pt idx="6429">
                  <c:v>42074</c:v>
                </c:pt>
                <c:pt idx="6430">
                  <c:v>42075</c:v>
                </c:pt>
                <c:pt idx="6431">
                  <c:v>42076</c:v>
                </c:pt>
                <c:pt idx="6432">
                  <c:v>42079</c:v>
                </c:pt>
                <c:pt idx="6433">
                  <c:v>42080</c:v>
                </c:pt>
                <c:pt idx="6434">
                  <c:v>42081</c:v>
                </c:pt>
                <c:pt idx="6435">
                  <c:v>42082</c:v>
                </c:pt>
                <c:pt idx="6436">
                  <c:v>42083</c:v>
                </c:pt>
                <c:pt idx="6437">
                  <c:v>42086</c:v>
                </c:pt>
                <c:pt idx="6438">
                  <c:v>42087</c:v>
                </c:pt>
                <c:pt idx="6439">
                  <c:v>42088</c:v>
                </c:pt>
                <c:pt idx="6440">
                  <c:v>42089</c:v>
                </c:pt>
                <c:pt idx="6441">
                  <c:v>42090</c:v>
                </c:pt>
                <c:pt idx="6442">
                  <c:v>42093</c:v>
                </c:pt>
                <c:pt idx="6443">
                  <c:v>42094</c:v>
                </c:pt>
                <c:pt idx="6444">
                  <c:v>42095</c:v>
                </c:pt>
                <c:pt idx="6445">
                  <c:v>42096</c:v>
                </c:pt>
                <c:pt idx="6446">
                  <c:v>42100</c:v>
                </c:pt>
                <c:pt idx="6447">
                  <c:v>42101</c:v>
                </c:pt>
                <c:pt idx="6448">
                  <c:v>42102</c:v>
                </c:pt>
                <c:pt idx="6449">
                  <c:v>42103</c:v>
                </c:pt>
                <c:pt idx="6450">
                  <c:v>42104</c:v>
                </c:pt>
                <c:pt idx="6451">
                  <c:v>42107</c:v>
                </c:pt>
                <c:pt idx="6452">
                  <c:v>42108</c:v>
                </c:pt>
                <c:pt idx="6453">
                  <c:v>42109</c:v>
                </c:pt>
                <c:pt idx="6454">
                  <c:v>42110</c:v>
                </c:pt>
                <c:pt idx="6455">
                  <c:v>42111</c:v>
                </c:pt>
                <c:pt idx="6456">
                  <c:v>42114</c:v>
                </c:pt>
                <c:pt idx="6457">
                  <c:v>42115</c:v>
                </c:pt>
                <c:pt idx="6458">
                  <c:v>42116</c:v>
                </c:pt>
                <c:pt idx="6459">
                  <c:v>42117</c:v>
                </c:pt>
                <c:pt idx="6460">
                  <c:v>42118</c:v>
                </c:pt>
                <c:pt idx="6461">
                  <c:v>42121</c:v>
                </c:pt>
                <c:pt idx="6462">
                  <c:v>42122</c:v>
                </c:pt>
                <c:pt idx="6463">
                  <c:v>42123</c:v>
                </c:pt>
                <c:pt idx="6464">
                  <c:v>42124</c:v>
                </c:pt>
                <c:pt idx="6465">
                  <c:v>42125</c:v>
                </c:pt>
                <c:pt idx="6466">
                  <c:v>42128</c:v>
                </c:pt>
                <c:pt idx="6467">
                  <c:v>42129</c:v>
                </c:pt>
                <c:pt idx="6468">
                  <c:v>42130</c:v>
                </c:pt>
                <c:pt idx="6469">
                  <c:v>42131</c:v>
                </c:pt>
                <c:pt idx="6470">
                  <c:v>42132</c:v>
                </c:pt>
                <c:pt idx="6471">
                  <c:v>42135</c:v>
                </c:pt>
                <c:pt idx="6472">
                  <c:v>42136</c:v>
                </c:pt>
                <c:pt idx="6473">
                  <c:v>42137</c:v>
                </c:pt>
                <c:pt idx="6474">
                  <c:v>42138</c:v>
                </c:pt>
                <c:pt idx="6475">
                  <c:v>42139</c:v>
                </c:pt>
                <c:pt idx="6476">
                  <c:v>42142</c:v>
                </c:pt>
                <c:pt idx="6477">
                  <c:v>42143</c:v>
                </c:pt>
                <c:pt idx="6478">
                  <c:v>42144</c:v>
                </c:pt>
                <c:pt idx="6479">
                  <c:v>42145</c:v>
                </c:pt>
                <c:pt idx="6480">
                  <c:v>42146</c:v>
                </c:pt>
                <c:pt idx="6481">
                  <c:v>42150</c:v>
                </c:pt>
                <c:pt idx="6482">
                  <c:v>42151</c:v>
                </c:pt>
                <c:pt idx="6483">
                  <c:v>42152</c:v>
                </c:pt>
                <c:pt idx="6484">
                  <c:v>42153</c:v>
                </c:pt>
                <c:pt idx="6485">
                  <c:v>42156</c:v>
                </c:pt>
                <c:pt idx="6486">
                  <c:v>42157</c:v>
                </c:pt>
                <c:pt idx="6487">
                  <c:v>42158</c:v>
                </c:pt>
                <c:pt idx="6488">
                  <c:v>42159</c:v>
                </c:pt>
                <c:pt idx="6489">
                  <c:v>42160</c:v>
                </c:pt>
                <c:pt idx="6490">
                  <c:v>42163</c:v>
                </c:pt>
                <c:pt idx="6491">
                  <c:v>42164</c:v>
                </c:pt>
                <c:pt idx="6492">
                  <c:v>42165</c:v>
                </c:pt>
                <c:pt idx="6493">
                  <c:v>42166</c:v>
                </c:pt>
                <c:pt idx="6494">
                  <c:v>42167</c:v>
                </c:pt>
                <c:pt idx="6495">
                  <c:v>42170</c:v>
                </c:pt>
                <c:pt idx="6496">
                  <c:v>42171</c:v>
                </c:pt>
                <c:pt idx="6497">
                  <c:v>42172</c:v>
                </c:pt>
                <c:pt idx="6498">
                  <c:v>42173</c:v>
                </c:pt>
                <c:pt idx="6499">
                  <c:v>42174</c:v>
                </c:pt>
                <c:pt idx="6500">
                  <c:v>42177</c:v>
                </c:pt>
                <c:pt idx="6501">
                  <c:v>42178</c:v>
                </c:pt>
                <c:pt idx="6502">
                  <c:v>42179</c:v>
                </c:pt>
                <c:pt idx="6503">
                  <c:v>42180</c:v>
                </c:pt>
                <c:pt idx="6504">
                  <c:v>42181</c:v>
                </c:pt>
                <c:pt idx="6505">
                  <c:v>42184</c:v>
                </c:pt>
                <c:pt idx="6506">
                  <c:v>42185</c:v>
                </c:pt>
                <c:pt idx="6507">
                  <c:v>42186</c:v>
                </c:pt>
                <c:pt idx="6508">
                  <c:v>42187</c:v>
                </c:pt>
                <c:pt idx="6509">
                  <c:v>42191</c:v>
                </c:pt>
                <c:pt idx="6510">
                  <c:v>42192</c:v>
                </c:pt>
                <c:pt idx="6511">
                  <c:v>42193</c:v>
                </c:pt>
                <c:pt idx="6512">
                  <c:v>42194</c:v>
                </c:pt>
                <c:pt idx="6513">
                  <c:v>42195</c:v>
                </c:pt>
                <c:pt idx="6514">
                  <c:v>42198</c:v>
                </c:pt>
                <c:pt idx="6515">
                  <c:v>42199</c:v>
                </c:pt>
                <c:pt idx="6516">
                  <c:v>42200</c:v>
                </c:pt>
                <c:pt idx="6517">
                  <c:v>42201</c:v>
                </c:pt>
                <c:pt idx="6518">
                  <c:v>42202</c:v>
                </c:pt>
                <c:pt idx="6519">
                  <c:v>42205</c:v>
                </c:pt>
                <c:pt idx="6520">
                  <c:v>42206</c:v>
                </c:pt>
                <c:pt idx="6521">
                  <c:v>42207</c:v>
                </c:pt>
                <c:pt idx="6522">
                  <c:v>42208</c:v>
                </c:pt>
                <c:pt idx="6523">
                  <c:v>42209</c:v>
                </c:pt>
                <c:pt idx="6524">
                  <c:v>42212</c:v>
                </c:pt>
                <c:pt idx="6525">
                  <c:v>42213</c:v>
                </c:pt>
                <c:pt idx="6526">
                  <c:v>42214</c:v>
                </c:pt>
                <c:pt idx="6527">
                  <c:v>42215</c:v>
                </c:pt>
                <c:pt idx="6528">
                  <c:v>42216</c:v>
                </c:pt>
                <c:pt idx="6529">
                  <c:v>42219</c:v>
                </c:pt>
                <c:pt idx="6530">
                  <c:v>42220</c:v>
                </c:pt>
                <c:pt idx="6531">
                  <c:v>42221</c:v>
                </c:pt>
                <c:pt idx="6532">
                  <c:v>42222</c:v>
                </c:pt>
                <c:pt idx="6533">
                  <c:v>42223</c:v>
                </c:pt>
                <c:pt idx="6534">
                  <c:v>42226</c:v>
                </c:pt>
                <c:pt idx="6535">
                  <c:v>42227</c:v>
                </c:pt>
                <c:pt idx="6536">
                  <c:v>42228</c:v>
                </c:pt>
                <c:pt idx="6537">
                  <c:v>42229</c:v>
                </c:pt>
                <c:pt idx="6538">
                  <c:v>42230</c:v>
                </c:pt>
                <c:pt idx="6539">
                  <c:v>42233</c:v>
                </c:pt>
                <c:pt idx="6540">
                  <c:v>42234</c:v>
                </c:pt>
                <c:pt idx="6541">
                  <c:v>42235</c:v>
                </c:pt>
                <c:pt idx="6542">
                  <c:v>42236</c:v>
                </c:pt>
                <c:pt idx="6543">
                  <c:v>42237</c:v>
                </c:pt>
                <c:pt idx="6544">
                  <c:v>42240</c:v>
                </c:pt>
                <c:pt idx="6545">
                  <c:v>42241</c:v>
                </c:pt>
                <c:pt idx="6546">
                  <c:v>42242</c:v>
                </c:pt>
                <c:pt idx="6547">
                  <c:v>42243</c:v>
                </c:pt>
                <c:pt idx="6548">
                  <c:v>42244</c:v>
                </c:pt>
                <c:pt idx="6549">
                  <c:v>42247</c:v>
                </c:pt>
                <c:pt idx="6550">
                  <c:v>42248</c:v>
                </c:pt>
                <c:pt idx="6551">
                  <c:v>42249</c:v>
                </c:pt>
                <c:pt idx="6552">
                  <c:v>42250</c:v>
                </c:pt>
                <c:pt idx="6553">
                  <c:v>42251</c:v>
                </c:pt>
                <c:pt idx="6554">
                  <c:v>42255</c:v>
                </c:pt>
                <c:pt idx="6555">
                  <c:v>42256</c:v>
                </c:pt>
                <c:pt idx="6556">
                  <c:v>42257</c:v>
                </c:pt>
                <c:pt idx="6557">
                  <c:v>42258</c:v>
                </c:pt>
                <c:pt idx="6558">
                  <c:v>42261</c:v>
                </c:pt>
                <c:pt idx="6559">
                  <c:v>42262</c:v>
                </c:pt>
                <c:pt idx="6560">
                  <c:v>42263</c:v>
                </c:pt>
                <c:pt idx="6561">
                  <c:v>42264</c:v>
                </c:pt>
                <c:pt idx="6562">
                  <c:v>42265</c:v>
                </c:pt>
                <c:pt idx="6563">
                  <c:v>42268</c:v>
                </c:pt>
                <c:pt idx="6564">
                  <c:v>42269</c:v>
                </c:pt>
                <c:pt idx="6565">
                  <c:v>42270</c:v>
                </c:pt>
                <c:pt idx="6566">
                  <c:v>42271</c:v>
                </c:pt>
                <c:pt idx="6567">
                  <c:v>42272</c:v>
                </c:pt>
                <c:pt idx="6568">
                  <c:v>42275</c:v>
                </c:pt>
                <c:pt idx="6569">
                  <c:v>42276</c:v>
                </c:pt>
                <c:pt idx="6570">
                  <c:v>42277</c:v>
                </c:pt>
                <c:pt idx="6571">
                  <c:v>42278</c:v>
                </c:pt>
                <c:pt idx="6572">
                  <c:v>42279</c:v>
                </c:pt>
                <c:pt idx="6573">
                  <c:v>42282</c:v>
                </c:pt>
                <c:pt idx="6574">
                  <c:v>42283</c:v>
                </c:pt>
                <c:pt idx="6575">
                  <c:v>42284</c:v>
                </c:pt>
                <c:pt idx="6576">
                  <c:v>42285</c:v>
                </c:pt>
                <c:pt idx="6577">
                  <c:v>42286</c:v>
                </c:pt>
                <c:pt idx="6578">
                  <c:v>42289</c:v>
                </c:pt>
                <c:pt idx="6579">
                  <c:v>42290</c:v>
                </c:pt>
                <c:pt idx="6580">
                  <c:v>42291</c:v>
                </c:pt>
                <c:pt idx="6581">
                  <c:v>42292</c:v>
                </c:pt>
                <c:pt idx="6582">
                  <c:v>42293</c:v>
                </c:pt>
                <c:pt idx="6583">
                  <c:v>42296</c:v>
                </c:pt>
                <c:pt idx="6584">
                  <c:v>42297</c:v>
                </c:pt>
                <c:pt idx="6585">
                  <c:v>42298</c:v>
                </c:pt>
                <c:pt idx="6586">
                  <c:v>42299</c:v>
                </c:pt>
                <c:pt idx="6587">
                  <c:v>42300</c:v>
                </c:pt>
                <c:pt idx="6588">
                  <c:v>42303</c:v>
                </c:pt>
                <c:pt idx="6589">
                  <c:v>42304</c:v>
                </c:pt>
                <c:pt idx="6590">
                  <c:v>42305</c:v>
                </c:pt>
                <c:pt idx="6591">
                  <c:v>42306</c:v>
                </c:pt>
                <c:pt idx="6592">
                  <c:v>42307</c:v>
                </c:pt>
                <c:pt idx="6593">
                  <c:v>42310</c:v>
                </c:pt>
                <c:pt idx="6594">
                  <c:v>42311</c:v>
                </c:pt>
                <c:pt idx="6595">
                  <c:v>42312</c:v>
                </c:pt>
                <c:pt idx="6596">
                  <c:v>42313</c:v>
                </c:pt>
                <c:pt idx="6597">
                  <c:v>42314</c:v>
                </c:pt>
                <c:pt idx="6598">
                  <c:v>42317</c:v>
                </c:pt>
                <c:pt idx="6599">
                  <c:v>42318</c:v>
                </c:pt>
                <c:pt idx="6600">
                  <c:v>42319</c:v>
                </c:pt>
                <c:pt idx="6601">
                  <c:v>42320</c:v>
                </c:pt>
                <c:pt idx="6602">
                  <c:v>42321</c:v>
                </c:pt>
                <c:pt idx="6603">
                  <c:v>42324</c:v>
                </c:pt>
                <c:pt idx="6604">
                  <c:v>42325</c:v>
                </c:pt>
                <c:pt idx="6605">
                  <c:v>42326</c:v>
                </c:pt>
                <c:pt idx="6606">
                  <c:v>42327</c:v>
                </c:pt>
                <c:pt idx="6607">
                  <c:v>42328</c:v>
                </c:pt>
                <c:pt idx="6608">
                  <c:v>42331</c:v>
                </c:pt>
                <c:pt idx="6609">
                  <c:v>42332</c:v>
                </c:pt>
                <c:pt idx="6610">
                  <c:v>42333</c:v>
                </c:pt>
                <c:pt idx="6611">
                  <c:v>42335</c:v>
                </c:pt>
                <c:pt idx="6612">
                  <c:v>42338</c:v>
                </c:pt>
                <c:pt idx="6613">
                  <c:v>42339</c:v>
                </c:pt>
                <c:pt idx="6614">
                  <c:v>42340</c:v>
                </c:pt>
                <c:pt idx="6615">
                  <c:v>42341</c:v>
                </c:pt>
                <c:pt idx="6616">
                  <c:v>42342</c:v>
                </c:pt>
                <c:pt idx="6617">
                  <c:v>42345</c:v>
                </c:pt>
                <c:pt idx="6618">
                  <c:v>42346</c:v>
                </c:pt>
                <c:pt idx="6619">
                  <c:v>42347</c:v>
                </c:pt>
                <c:pt idx="6620">
                  <c:v>42348</c:v>
                </c:pt>
                <c:pt idx="6621">
                  <c:v>42349</c:v>
                </c:pt>
                <c:pt idx="6622">
                  <c:v>42352</c:v>
                </c:pt>
                <c:pt idx="6623">
                  <c:v>42353</c:v>
                </c:pt>
                <c:pt idx="6624">
                  <c:v>42354</c:v>
                </c:pt>
                <c:pt idx="6625">
                  <c:v>42355</c:v>
                </c:pt>
                <c:pt idx="6626">
                  <c:v>42356</c:v>
                </c:pt>
                <c:pt idx="6627">
                  <c:v>42359</c:v>
                </c:pt>
                <c:pt idx="6628">
                  <c:v>42360</c:v>
                </c:pt>
                <c:pt idx="6629">
                  <c:v>42361</c:v>
                </c:pt>
                <c:pt idx="6630">
                  <c:v>42362</c:v>
                </c:pt>
                <c:pt idx="6631">
                  <c:v>42366</c:v>
                </c:pt>
                <c:pt idx="6632">
                  <c:v>42367</c:v>
                </c:pt>
                <c:pt idx="6633">
                  <c:v>42368</c:v>
                </c:pt>
                <c:pt idx="6634">
                  <c:v>42369</c:v>
                </c:pt>
                <c:pt idx="6635">
                  <c:v>42373</c:v>
                </c:pt>
                <c:pt idx="6636">
                  <c:v>42374</c:v>
                </c:pt>
                <c:pt idx="6637">
                  <c:v>42375</c:v>
                </c:pt>
                <c:pt idx="6638">
                  <c:v>42376</c:v>
                </c:pt>
                <c:pt idx="6639">
                  <c:v>42377</c:v>
                </c:pt>
                <c:pt idx="6640">
                  <c:v>42380</c:v>
                </c:pt>
                <c:pt idx="6641">
                  <c:v>42381</c:v>
                </c:pt>
                <c:pt idx="6642">
                  <c:v>42382</c:v>
                </c:pt>
                <c:pt idx="6643">
                  <c:v>42383</c:v>
                </c:pt>
                <c:pt idx="6644">
                  <c:v>42384</c:v>
                </c:pt>
                <c:pt idx="6645">
                  <c:v>42388</c:v>
                </c:pt>
                <c:pt idx="6646">
                  <c:v>42389</c:v>
                </c:pt>
                <c:pt idx="6647">
                  <c:v>42390</c:v>
                </c:pt>
                <c:pt idx="6648">
                  <c:v>42391</c:v>
                </c:pt>
                <c:pt idx="6649">
                  <c:v>42394</c:v>
                </c:pt>
                <c:pt idx="6650">
                  <c:v>42395</c:v>
                </c:pt>
                <c:pt idx="6651">
                  <c:v>42396</c:v>
                </c:pt>
                <c:pt idx="6652">
                  <c:v>42397</c:v>
                </c:pt>
                <c:pt idx="6653">
                  <c:v>42398</c:v>
                </c:pt>
                <c:pt idx="6654">
                  <c:v>42401</c:v>
                </c:pt>
                <c:pt idx="6655">
                  <c:v>42402</c:v>
                </c:pt>
                <c:pt idx="6656">
                  <c:v>42403</c:v>
                </c:pt>
                <c:pt idx="6657">
                  <c:v>42404</c:v>
                </c:pt>
                <c:pt idx="6658">
                  <c:v>42405</c:v>
                </c:pt>
                <c:pt idx="6659">
                  <c:v>42408</c:v>
                </c:pt>
                <c:pt idx="6660">
                  <c:v>42409</c:v>
                </c:pt>
                <c:pt idx="6661">
                  <c:v>42410</c:v>
                </c:pt>
                <c:pt idx="6662">
                  <c:v>42411</c:v>
                </c:pt>
                <c:pt idx="6663">
                  <c:v>42412</c:v>
                </c:pt>
                <c:pt idx="6664">
                  <c:v>42416</c:v>
                </c:pt>
                <c:pt idx="6665">
                  <c:v>42417</c:v>
                </c:pt>
                <c:pt idx="6666">
                  <c:v>42418</c:v>
                </c:pt>
                <c:pt idx="6667">
                  <c:v>42419</c:v>
                </c:pt>
                <c:pt idx="6668">
                  <c:v>42422</c:v>
                </c:pt>
                <c:pt idx="6669">
                  <c:v>42423</c:v>
                </c:pt>
                <c:pt idx="6670">
                  <c:v>42424</c:v>
                </c:pt>
                <c:pt idx="6671">
                  <c:v>42425</c:v>
                </c:pt>
                <c:pt idx="6672">
                  <c:v>42426</c:v>
                </c:pt>
                <c:pt idx="6673">
                  <c:v>42429</c:v>
                </c:pt>
                <c:pt idx="6674">
                  <c:v>42430</c:v>
                </c:pt>
                <c:pt idx="6675">
                  <c:v>42431</c:v>
                </c:pt>
                <c:pt idx="6676">
                  <c:v>42432</c:v>
                </c:pt>
                <c:pt idx="6677">
                  <c:v>42433</c:v>
                </c:pt>
                <c:pt idx="6678">
                  <c:v>42436</c:v>
                </c:pt>
                <c:pt idx="6679">
                  <c:v>42437</c:v>
                </c:pt>
                <c:pt idx="6680">
                  <c:v>42438</c:v>
                </c:pt>
                <c:pt idx="6681">
                  <c:v>42439</c:v>
                </c:pt>
                <c:pt idx="6682">
                  <c:v>42440</c:v>
                </c:pt>
                <c:pt idx="6683">
                  <c:v>42443</c:v>
                </c:pt>
                <c:pt idx="6684">
                  <c:v>42444</c:v>
                </c:pt>
                <c:pt idx="6685">
                  <c:v>42445</c:v>
                </c:pt>
                <c:pt idx="6686">
                  <c:v>42446</c:v>
                </c:pt>
                <c:pt idx="6687">
                  <c:v>42447</c:v>
                </c:pt>
                <c:pt idx="6688">
                  <c:v>42450</c:v>
                </c:pt>
                <c:pt idx="6689">
                  <c:v>42451</c:v>
                </c:pt>
                <c:pt idx="6690">
                  <c:v>42452</c:v>
                </c:pt>
                <c:pt idx="6691">
                  <c:v>42453</c:v>
                </c:pt>
                <c:pt idx="6692">
                  <c:v>42457</c:v>
                </c:pt>
                <c:pt idx="6693">
                  <c:v>42458</c:v>
                </c:pt>
                <c:pt idx="6694">
                  <c:v>42459</c:v>
                </c:pt>
                <c:pt idx="6695">
                  <c:v>42460</c:v>
                </c:pt>
                <c:pt idx="6696">
                  <c:v>42461</c:v>
                </c:pt>
                <c:pt idx="6697">
                  <c:v>42464</c:v>
                </c:pt>
                <c:pt idx="6698">
                  <c:v>42465</c:v>
                </c:pt>
                <c:pt idx="6699">
                  <c:v>42466</c:v>
                </c:pt>
                <c:pt idx="6700">
                  <c:v>42467</c:v>
                </c:pt>
                <c:pt idx="6701">
                  <c:v>42468</c:v>
                </c:pt>
                <c:pt idx="6702">
                  <c:v>42471</c:v>
                </c:pt>
                <c:pt idx="6703">
                  <c:v>42472</c:v>
                </c:pt>
                <c:pt idx="6704">
                  <c:v>42473</c:v>
                </c:pt>
                <c:pt idx="6705">
                  <c:v>42474</c:v>
                </c:pt>
                <c:pt idx="6706">
                  <c:v>42475</c:v>
                </c:pt>
                <c:pt idx="6707">
                  <c:v>42478</c:v>
                </c:pt>
                <c:pt idx="6708">
                  <c:v>42479</c:v>
                </c:pt>
                <c:pt idx="6709">
                  <c:v>42480</c:v>
                </c:pt>
                <c:pt idx="6710">
                  <c:v>42481</c:v>
                </c:pt>
                <c:pt idx="6711">
                  <c:v>42482</c:v>
                </c:pt>
                <c:pt idx="6712">
                  <c:v>42485</c:v>
                </c:pt>
                <c:pt idx="6713">
                  <c:v>42486</c:v>
                </c:pt>
                <c:pt idx="6714">
                  <c:v>42487</c:v>
                </c:pt>
                <c:pt idx="6715">
                  <c:v>42488</c:v>
                </c:pt>
                <c:pt idx="6716">
                  <c:v>42489</c:v>
                </c:pt>
                <c:pt idx="6717">
                  <c:v>42492</c:v>
                </c:pt>
                <c:pt idx="6718">
                  <c:v>42493</c:v>
                </c:pt>
                <c:pt idx="6719">
                  <c:v>42494</c:v>
                </c:pt>
                <c:pt idx="6720">
                  <c:v>42495</c:v>
                </c:pt>
                <c:pt idx="6721">
                  <c:v>42496</c:v>
                </c:pt>
                <c:pt idx="6722">
                  <c:v>42499</c:v>
                </c:pt>
                <c:pt idx="6723">
                  <c:v>42500</c:v>
                </c:pt>
                <c:pt idx="6724">
                  <c:v>42501</c:v>
                </c:pt>
                <c:pt idx="6725">
                  <c:v>42502</c:v>
                </c:pt>
                <c:pt idx="6726">
                  <c:v>42503</c:v>
                </c:pt>
                <c:pt idx="6727">
                  <c:v>42506</c:v>
                </c:pt>
                <c:pt idx="6728">
                  <c:v>42507</c:v>
                </c:pt>
                <c:pt idx="6729">
                  <c:v>42508</c:v>
                </c:pt>
                <c:pt idx="6730">
                  <c:v>42509</c:v>
                </c:pt>
                <c:pt idx="6731">
                  <c:v>42510</c:v>
                </c:pt>
                <c:pt idx="6732">
                  <c:v>42513</c:v>
                </c:pt>
                <c:pt idx="6733">
                  <c:v>42514</c:v>
                </c:pt>
                <c:pt idx="6734">
                  <c:v>42515</c:v>
                </c:pt>
                <c:pt idx="6735">
                  <c:v>42516</c:v>
                </c:pt>
                <c:pt idx="6736">
                  <c:v>42517</c:v>
                </c:pt>
                <c:pt idx="6737">
                  <c:v>42521</c:v>
                </c:pt>
                <c:pt idx="6738">
                  <c:v>42522</c:v>
                </c:pt>
                <c:pt idx="6739">
                  <c:v>42523</c:v>
                </c:pt>
                <c:pt idx="6740">
                  <c:v>42524</c:v>
                </c:pt>
                <c:pt idx="6741">
                  <c:v>42527</c:v>
                </c:pt>
                <c:pt idx="6742">
                  <c:v>42528</c:v>
                </c:pt>
                <c:pt idx="6743">
                  <c:v>42529</c:v>
                </c:pt>
                <c:pt idx="6744">
                  <c:v>42530</c:v>
                </c:pt>
                <c:pt idx="6745">
                  <c:v>42531</c:v>
                </c:pt>
                <c:pt idx="6746">
                  <c:v>42534</c:v>
                </c:pt>
                <c:pt idx="6747">
                  <c:v>42535</c:v>
                </c:pt>
                <c:pt idx="6748">
                  <c:v>42536</c:v>
                </c:pt>
                <c:pt idx="6749">
                  <c:v>42537</c:v>
                </c:pt>
                <c:pt idx="6750">
                  <c:v>42538</c:v>
                </c:pt>
                <c:pt idx="6751">
                  <c:v>42541</c:v>
                </c:pt>
                <c:pt idx="6752">
                  <c:v>42542</c:v>
                </c:pt>
                <c:pt idx="6753">
                  <c:v>42543</c:v>
                </c:pt>
                <c:pt idx="6754">
                  <c:v>42544</c:v>
                </c:pt>
                <c:pt idx="6755">
                  <c:v>42545</c:v>
                </c:pt>
                <c:pt idx="6756">
                  <c:v>42548</c:v>
                </c:pt>
                <c:pt idx="6757">
                  <c:v>42549</c:v>
                </c:pt>
                <c:pt idx="6758">
                  <c:v>42550</c:v>
                </c:pt>
                <c:pt idx="6759">
                  <c:v>42551</c:v>
                </c:pt>
                <c:pt idx="6760">
                  <c:v>42552</c:v>
                </c:pt>
                <c:pt idx="6761">
                  <c:v>42556</c:v>
                </c:pt>
                <c:pt idx="6762">
                  <c:v>42557</c:v>
                </c:pt>
                <c:pt idx="6763">
                  <c:v>42558</c:v>
                </c:pt>
                <c:pt idx="6764">
                  <c:v>42559</c:v>
                </c:pt>
                <c:pt idx="6765">
                  <c:v>42562</c:v>
                </c:pt>
                <c:pt idx="6766">
                  <c:v>42563</c:v>
                </c:pt>
                <c:pt idx="6767">
                  <c:v>42564</c:v>
                </c:pt>
                <c:pt idx="6768">
                  <c:v>42565</c:v>
                </c:pt>
                <c:pt idx="6769">
                  <c:v>42566</c:v>
                </c:pt>
                <c:pt idx="6770">
                  <c:v>42569</c:v>
                </c:pt>
                <c:pt idx="6771">
                  <c:v>42570</c:v>
                </c:pt>
                <c:pt idx="6772">
                  <c:v>42571</c:v>
                </c:pt>
                <c:pt idx="6773">
                  <c:v>42572</c:v>
                </c:pt>
                <c:pt idx="6774">
                  <c:v>42573</c:v>
                </c:pt>
                <c:pt idx="6775">
                  <c:v>42576</c:v>
                </c:pt>
                <c:pt idx="6776">
                  <c:v>42577</c:v>
                </c:pt>
                <c:pt idx="6777">
                  <c:v>42578</c:v>
                </c:pt>
                <c:pt idx="6778">
                  <c:v>42579</c:v>
                </c:pt>
                <c:pt idx="6779">
                  <c:v>42580</c:v>
                </c:pt>
                <c:pt idx="6780">
                  <c:v>42583</c:v>
                </c:pt>
                <c:pt idx="6781">
                  <c:v>42584</c:v>
                </c:pt>
                <c:pt idx="6782">
                  <c:v>42585</c:v>
                </c:pt>
                <c:pt idx="6783">
                  <c:v>42586</c:v>
                </c:pt>
                <c:pt idx="6784">
                  <c:v>42587</c:v>
                </c:pt>
                <c:pt idx="6785">
                  <c:v>42590</c:v>
                </c:pt>
                <c:pt idx="6786">
                  <c:v>42591</c:v>
                </c:pt>
                <c:pt idx="6787">
                  <c:v>42592</c:v>
                </c:pt>
                <c:pt idx="6788">
                  <c:v>42593</c:v>
                </c:pt>
                <c:pt idx="6789">
                  <c:v>42594</c:v>
                </c:pt>
                <c:pt idx="6790">
                  <c:v>42597</c:v>
                </c:pt>
                <c:pt idx="6791">
                  <c:v>42598</c:v>
                </c:pt>
                <c:pt idx="6792">
                  <c:v>42599</c:v>
                </c:pt>
                <c:pt idx="6793">
                  <c:v>42600</c:v>
                </c:pt>
                <c:pt idx="6794">
                  <c:v>42601</c:v>
                </c:pt>
                <c:pt idx="6795">
                  <c:v>42604</c:v>
                </c:pt>
                <c:pt idx="6796">
                  <c:v>42605</c:v>
                </c:pt>
                <c:pt idx="6797">
                  <c:v>42606</c:v>
                </c:pt>
                <c:pt idx="6798">
                  <c:v>42607</c:v>
                </c:pt>
                <c:pt idx="6799">
                  <c:v>42608</c:v>
                </c:pt>
                <c:pt idx="6800">
                  <c:v>42611</c:v>
                </c:pt>
                <c:pt idx="6801">
                  <c:v>42612</c:v>
                </c:pt>
                <c:pt idx="6802">
                  <c:v>42613</c:v>
                </c:pt>
                <c:pt idx="6803">
                  <c:v>42614</c:v>
                </c:pt>
                <c:pt idx="6804">
                  <c:v>42615</c:v>
                </c:pt>
                <c:pt idx="6805">
                  <c:v>42619</c:v>
                </c:pt>
                <c:pt idx="6806">
                  <c:v>42620</c:v>
                </c:pt>
                <c:pt idx="6807">
                  <c:v>42621</c:v>
                </c:pt>
                <c:pt idx="6808">
                  <c:v>42622</c:v>
                </c:pt>
                <c:pt idx="6809">
                  <c:v>42625</c:v>
                </c:pt>
                <c:pt idx="6810">
                  <c:v>42626</c:v>
                </c:pt>
                <c:pt idx="6811">
                  <c:v>42627</c:v>
                </c:pt>
                <c:pt idx="6812">
                  <c:v>42628</c:v>
                </c:pt>
                <c:pt idx="6813">
                  <c:v>42629</c:v>
                </c:pt>
                <c:pt idx="6814">
                  <c:v>42632</c:v>
                </c:pt>
                <c:pt idx="6815">
                  <c:v>42633</c:v>
                </c:pt>
                <c:pt idx="6816">
                  <c:v>42634</c:v>
                </c:pt>
                <c:pt idx="6817">
                  <c:v>42635</c:v>
                </c:pt>
                <c:pt idx="6818">
                  <c:v>42636</c:v>
                </c:pt>
                <c:pt idx="6819">
                  <c:v>42639</c:v>
                </c:pt>
                <c:pt idx="6820">
                  <c:v>42640</c:v>
                </c:pt>
                <c:pt idx="6821">
                  <c:v>42641</c:v>
                </c:pt>
                <c:pt idx="6822">
                  <c:v>42642</c:v>
                </c:pt>
                <c:pt idx="6823">
                  <c:v>42643</c:v>
                </c:pt>
                <c:pt idx="6824">
                  <c:v>42646</c:v>
                </c:pt>
                <c:pt idx="6825">
                  <c:v>42647</c:v>
                </c:pt>
                <c:pt idx="6826">
                  <c:v>42648</c:v>
                </c:pt>
                <c:pt idx="6827">
                  <c:v>42649</c:v>
                </c:pt>
                <c:pt idx="6828">
                  <c:v>42650</c:v>
                </c:pt>
                <c:pt idx="6829">
                  <c:v>42653</c:v>
                </c:pt>
                <c:pt idx="6830">
                  <c:v>42654</c:v>
                </c:pt>
                <c:pt idx="6831">
                  <c:v>42655</c:v>
                </c:pt>
                <c:pt idx="6832">
                  <c:v>42656</c:v>
                </c:pt>
                <c:pt idx="6833">
                  <c:v>42657</c:v>
                </c:pt>
                <c:pt idx="6834">
                  <c:v>42660</c:v>
                </c:pt>
                <c:pt idx="6835">
                  <c:v>42661</c:v>
                </c:pt>
                <c:pt idx="6836">
                  <c:v>42662</c:v>
                </c:pt>
                <c:pt idx="6837">
                  <c:v>42663</c:v>
                </c:pt>
                <c:pt idx="6838">
                  <c:v>42664</c:v>
                </c:pt>
                <c:pt idx="6839">
                  <c:v>42667</c:v>
                </c:pt>
                <c:pt idx="6840">
                  <c:v>42668</c:v>
                </c:pt>
                <c:pt idx="6841">
                  <c:v>42669</c:v>
                </c:pt>
                <c:pt idx="6842">
                  <c:v>42670</c:v>
                </c:pt>
                <c:pt idx="6843">
                  <c:v>42671</c:v>
                </c:pt>
                <c:pt idx="6844">
                  <c:v>42674</c:v>
                </c:pt>
                <c:pt idx="6845">
                  <c:v>42675</c:v>
                </c:pt>
                <c:pt idx="6846">
                  <c:v>42676</c:v>
                </c:pt>
                <c:pt idx="6847">
                  <c:v>42677</c:v>
                </c:pt>
                <c:pt idx="6848">
                  <c:v>42678</c:v>
                </c:pt>
                <c:pt idx="6849">
                  <c:v>42681</c:v>
                </c:pt>
                <c:pt idx="6850">
                  <c:v>42682</c:v>
                </c:pt>
                <c:pt idx="6851">
                  <c:v>42683</c:v>
                </c:pt>
                <c:pt idx="6852">
                  <c:v>42684</c:v>
                </c:pt>
                <c:pt idx="6853">
                  <c:v>42685</c:v>
                </c:pt>
                <c:pt idx="6854">
                  <c:v>42688</c:v>
                </c:pt>
                <c:pt idx="6855">
                  <c:v>42689</c:v>
                </c:pt>
                <c:pt idx="6856">
                  <c:v>42690</c:v>
                </c:pt>
                <c:pt idx="6857">
                  <c:v>42691</c:v>
                </c:pt>
                <c:pt idx="6858">
                  <c:v>42692</c:v>
                </c:pt>
                <c:pt idx="6859">
                  <c:v>42695</c:v>
                </c:pt>
                <c:pt idx="6860">
                  <c:v>42696</c:v>
                </c:pt>
                <c:pt idx="6861">
                  <c:v>42697</c:v>
                </c:pt>
                <c:pt idx="6862">
                  <c:v>42699</c:v>
                </c:pt>
                <c:pt idx="6863">
                  <c:v>42702</c:v>
                </c:pt>
                <c:pt idx="6864">
                  <c:v>42703</c:v>
                </c:pt>
                <c:pt idx="6865">
                  <c:v>42704</c:v>
                </c:pt>
                <c:pt idx="6866">
                  <c:v>42705</c:v>
                </c:pt>
                <c:pt idx="6867">
                  <c:v>42706</c:v>
                </c:pt>
                <c:pt idx="6868">
                  <c:v>42709</c:v>
                </c:pt>
                <c:pt idx="6869">
                  <c:v>42710</c:v>
                </c:pt>
                <c:pt idx="6870">
                  <c:v>42711</c:v>
                </c:pt>
                <c:pt idx="6871">
                  <c:v>42712</c:v>
                </c:pt>
                <c:pt idx="6872">
                  <c:v>42713</c:v>
                </c:pt>
                <c:pt idx="6873">
                  <c:v>42716</c:v>
                </c:pt>
                <c:pt idx="6874">
                  <c:v>42717</c:v>
                </c:pt>
                <c:pt idx="6875">
                  <c:v>42718</c:v>
                </c:pt>
                <c:pt idx="6876">
                  <c:v>42719</c:v>
                </c:pt>
                <c:pt idx="6877">
                  <c:v>42720</c:v>
                </c:pt>
                <c:pt idx="6878">
                  <c:v>42723</c:v>
                </c:pt>
                <c:pt idx="6879">
                  <c:v>42724</c:v>
                </c:pt>
                <c:pt idx="6880">
                  <c:v>42725</c:v>
                </c:pt>
                <c:pt idx="6881">
                  <c:v>42726</c:v>
                </c:pt>
                <c:pt idx="6882">
                  <c:v>42727</c:v>
                </c:pt>
                <c:pt idx="6883">
                  <c:v>42731</c:v>
                </c:pt>
                <c:pt idx="6884">
                  <c:v>42732</c:v>
                </c:pt>
                <c:pt idx="6885">
                  <c:v>42733</c:v>
                </c:pt>
                <c:pt idx="6886">
                  <c:v>42734</c:v>
                </c:pt>
                <c:pt idx="6887">
                  <c:v>42738</c:v>
                </c:pt>
                <c:pt idx="6888">
                  <c:v>42739</c:v>
                </c:pt>
                <c:pt idx="6889">
                  <c:v>42740</c:v>
                </c:pt>
                <c:pt idx="6890">
                  <c:v>42741</c:v>
                </c:pt>
                <c:pt idx="6891">
                  <c:v>42744</c:v>
                </c:pt>
                <c:pt idx="6892">
                  <c:v>42745</c:v>
                </c:pt>
                <c:pt idx="6893">
                  <c:v>42746</c:v>
                </c:pt>
                <c:pt idx="6894">
                  <c:v>42747</c:v>
                </c:pt>
                <c:pt idx="6895">
                  <c:v>42748</c:v>
                </c:pt>
                <c:pt idx="6896">
                  <c:v>42752</c:v>
                </c:pt>
                <c:pt idx="6897">
                  <c:v>42753</c:v>
                </c:pt>
                <c:pt idx="6898">
                  <c:v>42754</c:v>
                </c:pt>
                <c:pt idx="6899">
                  <c:v>42755</c:v>
                </c:pt>
                <c:pt idx="6900">
                  <c:v>42758</c:v>
                </c:pt>
                <c:pt idx="6901">
                  <c:v>42759</c:v>
                </c:pt>
                <c:pt idx="6902">
                  <c:v>42760</c:v>
                </c:pt>
                <c:pt idx="6903">
                  <c:v>42761</c:v>
                </c:pt>
                <c:pt idx="6904">
                  <c:v>42762</c:v>
                </c:pt>
                <c:pt idx="6905">
                  <c:v>42765</c:v>
                </c:pt>
                <c:pt idx="6906">
                  <c:v>42766</c:v>
                </c:pt>
                <c:pt idx="6907">
                  <c:v>42767</c:v>
                </c:pt>
                <c:pt idx="6908">
                  <c:v>42768</c:v>
                </c:pt>
                <c:pt idx="6909">
                  <c:v>42769</c:v>
                </c:pt>
                <c:pt idx="6910">
                  <c:v>42772</c:v>
                </c:pt>
                <c:pt idx="6911">
                  <c:v>42773</c:v>
                </c:pt>
                <c:pt idx="6912">
                  <c:v>42774</c:v>
                </c:pt>
                <c:pt idx="6913">
                  <c:v>42775</c:v>
                </c:pt>
                <c:pt idx="6914">
                  <c:v>42776</c:v>
                </c:pt>
                <c:pt idx="6915">
                  <c:v>42779</c:v>
                </c:pt>
                <c:pt idx="6916">
                  <c:v>42780</c:v>
                </c:pt>
                <c:pt idx="6917">
                  <c:v>42781</c:v>
                </c:pt>
                <c:pt idx="6918">
                  <c:v>42782</c:v>
                </c:pt>
                <c:pt idx="6919">
                  <c:v>42783</c:v>
                </c:pt>
                <c:pt idx="6920">
                  <c:v>42787</c:v>
                </c:pt>
                <c:pt idx="6921">
                  <c:v>42788</c:v>
                </c:pt>
                <c:pt idx="6922">
                  <c:v>42789</c:v>
                </c:pt>
                <c:pt idx="6923">
                  <c:v>42790</c:v>
                </c:pt>
                <c:pt idx="6924">
                  <c:v>42793</c:v>
                </c:pt>
                <c:pt idx="6925">
                  <c:v>42794</c:v>
                </c:pt>
                <c:pt idx="6926">
                  <c:v>42795</c:v>
                </c:pt>
                <c:pt idx="6927">
                  <c:v>42796</c:v>
                </c:pt>
                <c:pt idx="6928">
                  <c:v>42797</c:v>
                </c:pt>
                <c:pt idx="6929">
                  <c:v>42800</c:v>
                </c:pt>
                <c:pt idx="6930">
                  <c:v>42801</c:v>
                </c:pt>
                <c:pt idx="6931">
                  <c:v>42802</c:v>
                </c:pt>
                <c:pt idx="6932">
                  <c:v>42803</c:v>
                </c:pt>
                <c:pt idx="6933">
                  <c:v>42804</c:v>
                </c:pt>
                <c:pt idx="6934">
                  <c:v>42807</c:v>
                </c:pt>
                <c:pt idx="6935">
                  <c:v>42808</c:v>
                </c:pt>
                <c:pt idx="6936">
                  <c:v>42809</c:v>
                </c:pt>
                <c:pt idx="6937">
                  <c:v>42810</c:v>
                </c:pt>
                <c:pt idx="6938">
                  <c:v>42811</c:v>
                </c:pt>
                <c:pt idx="6939">
                  <c:v>42814</c:v>
                </c:pt>
                <c:pt idx="6940">
                  <c:v>42815</c:v>
                </c:pt>
                <c:pt idx="6941">
                  <c:v>42816</c:v>
                </c:pt>
                <c:pt idx="6942">
                  <c:v>42817</c:v>
                </c:pt>
                <c:pt idx="6943">
                  <c:v>42818</c:v>
                </c:pt>
                <c:pt idx="6944">
                  <c:v>42821</c:v>
                </c:pt>
                <c:pt idx="6945">
                  <c:v>42822</c:v>
                </c:pt>
                <c:pt idx="6946">
                  <c:v>42823</c:v>
                </c:pt>
                <c:pt idx="6947">
                  <c:v>42824</c:v>
                </c:pt>
                <c:pt idx="6948">
                  <c:v>42825</c:v>
                </c:pt>
                <c:pt idx="6949">
                  <c:v>42828</c:v>
                </c:pt>
                <c:pt idx="6950">
                  <c:v>42829</c:v>
                </c:pt>
                <c:pt idx="6951">
                  <c:v>42830</c:v>
                </c:pt>
                <c:pt idx="6952">
                  <c:v>42831</c:v>
                </c:pt>
                <c:pt idx="6953">
                  <c:v>42832</c:v>
                </c:pt>
                <c:pt idx="6954">
                  <c:v>42835</c:v>
                </c:pt>
                <c:pt idx="6955">
                  <c:v>42836</c:v>
                </c:pt>
                <c:pt idx="6956">
                  <c:v>42837</c:v>
                </c:pt>
                <c:pt idx="6957">
                  <c:v>42838</c:v>
                </c:pt>
                <c:pt idx="6958">
                  <c:v>42842</c:v>
                </c:pt>
                <c:pt idx="6959">
                  <c:v>42843</c:v>
                </c:pt>
                <c:pt idx="6960">
                  <c:v>42844</c:v>
                </c:pt>
                <c:pt idx="6961">
                  <c:v>42845</c:v>
                </c:pt>
                <c:pt idx="6962">
                  <c:v>42846</c:v>
                </c:pt>
                <c:pt idx="6963">
                  <c:v>42849</c:v>
                </c:pt>
                <c:pt idx="6964">
                  <c:v>42850</c:v>
                </c:pt>
                <c:pt idx="6965">
                  <c:v>42851</c:v>
                </c:pt>
                <c:pt idx="6966">
                  <c:v>42852</c:v>
                </c:pt>
                <c:pt idx="6967">
                  <c:v>42853</c:v>
                </c:pt>
                <c:pt idx="6968">
                  <c:v>42856</c:v>
                </c:pt>
                <c:pt idx="6969">
                  <c:v>42857</c:v>
                </c:pt>
                <c:pt idx="6970">
                  <c:v>42858</c:v>
                </c:pt>
                <c:pt idx="6971">
                  <c:v>42859</c:v>
                </c:pt>
                <c:pt idx="6972">
                  <c:v>42860</c:v>
                </c:pt>
                <c:pt idx="6973">
                  <c:v>42863</c:v>
                </c:pt>
                <c:pt idx="6974">
                  <c:v>42864</c:v>
                </c:pt>
                <c:pt idx="6975">
                  <c:v>42865</c:v>
                </c:pt>
                <c:pt idx="6976">
                  <c:v>42866</c:v>
                </c:pt>
                <c:pt idx="6977">
                  <c:v>42867</c:v>
                </c:pt>
                <c:pt idx="6978">
                  <c:v>42870</c:v>
                </c:pt>
                <c:pt idx="6979">
                  <c:v>42871</c:v>
                </c:pt>
                <c:pt idx="6980">
                  <c:v>42872</c:v>
                </c:pt>
                <c:pt idx="6981">
                  <c:v>42873</c:v>
                </c:pt>
                <c:pt idx="6982">
                  <c:v>42874</c:v>
                </c:pt>
                <c:pt idx="6983">
                  <c:v>42877</c:v>
                </c:pt>
                <c:pt idx="6984">
                  <c:v>42878</c:v>
                </c:pt>
                <c:pt idx="6985">
                  <c:v>42879</c:v>
                </c:pt>
                <c:pt idx="6986">
                  <c:v>42880</c:v>
                </c:pt>
                <c:pt idx="6987">
                  <c:v>42881</c:v>
                </c:pt>
                <c:pt idx="6988">
                  <c:v>42885</c:v>
                </c:pt>
                <c:pt idx="6989">
                  <c:v>42886</c:v>
                </c:pt>
                <c:pt idx="6990">
                  <c:v>42887</c:v>
                </c:pt>
                <c:pt idx="6991">
                  <c:v>42888</c:v>
                </c:pt>
                <c:pt idx="6992">
                  <c:v>42891</c:v>
                </c:pt>
                <c:pt idx="6993">
                  <c:v>42892</c:v>
                </c:pt>
                <c:pt idx="6994">
                  <c:v>42893</c:v>
                </c:pt>
                <c:pt idx="6995">
                  <c:v>42894</c:v>
                </c:pt>
                <c:pt idx="6996">
                  <c:v>42895</c:v>
                </c:pt>
                <c:pt idx="6997">
                  <c:v>42898</c:v>
                </c:pt>
                <c:pt idx="6998">
                  <c:v>42899</c:v>
                </c:pt>
                <c:pt idx="6999">
                  <c:v>42900</c:v>
                </c:pt>
                <c:pt idx="7000">
                  <c:v>42901</c:v>
                </c:pt>
                <c:pt idx="7001">
                  <c:v>42902</c:v>
                </c:pt>
                <c:pt idx="7002">
                  <c:v>42905</c:v>
                </c:pt>
                <c:pt idx="7003">
                  <c:v>42906</c:v>
                </c:pt>
                <c:pt idx="7004">
                  <c:v>42907</c:v>
                </c:pt>
                <c:pt idx="7005">
                  <c:v>42908</c:v>
                </c:pt>
                <c:pt idx="7006">
                  <c:v>42909</c:v>
                </c:pt>
                <c:pt idx="7007">
                  <c:v>42912</c:v>
                </c:pt>
                <c:pt idx="7008">
                  <c:v>42913</c:v>
                </c:pt>
                <c:pt idx="7009">
                  <c:v>42914</c:v>
                </c:pt>
                <c:pt idx="7010">
                  <c:v>42915</c:v>
                </c:pt>
                <c:pt idx="7011">
                  <c:v>42916</c:v>
                </c:pt>
                <c:pt idx="7012">
                  <c:v>42919</c:v>
                </c:pt>
                <c:pt idx="7013">
                  <c:v>42921</c:v>
                </c:pt>
                <c:pt idx="7014">
                  <c:v>42922</c:v>
                </c:pt>
                <c:pt idx="7015">
                  <c:v>42923</c:v>
                </c:pt>
                <c:pt idx="7016">
                  <c:v>42926</c:v>
                </c:pt>
                <c:pt idx="7017">
                  <c:v>42927</c:v>
                </c:pt>
                <c:pt idx="7018">
                  <c:v>42928</c:v>
                </c:pt>
                <c:pt idx="7019">
                  <c:v>42929</c:v>
                </c:pt>
                <c:pt idx="7020">
                  <c:v>42930</c:v>
                </c:pt>
                <c:pt idx="7021">
                  <c:v>42933</c:v>
                </c:pt>
                <c:pt idx="7022">
                  <c:v>42934</c:v>
                </c:pt>
                <c:pt idx="7023">
                  <c:v>42935</c:v>
                </c:pt>
                <c:pt idx="7024">
                  <c:v>42936</c:v>
                </c:pt>
                <c:pt idx="7025">
                  <c:v>42937</c:v>
                </c:pt>
                <c:pt idx="7026">
                  <c:v>42940</c:v>
                </c:pt>
                <c:pt idx="7027">
                  <c:v>42941</c:v>
                </c:pt>
                <c:pt idx="7028">
                  <c:v>42942</c:v>
                </c:pt>
                <c:pt idx="7029">
                  <c:v>42943</c:v>
                </c:pt>
                <c:pt idx="7030">
                  <c:v>42944</c:v>
                </c:pt>
                <c:pt idx="7031">
                  <c:v>42947</c:v>
                </c:pt>
                <c:pt idx="7032">
                  <c:v>42948</c:v>
                </c:pt>
                <c:pt idx="7033">
                  <c:v>42949</c:v>
                </c:pt>
                <c:pt idx="7034">
                  <c:v>42950</c:v>
                </c:pt>
                <c:pt idx="7035">
                  <c:v>42951</c:v>
                </c:pt>
                <c:pt idx="7036">
                  <c:v>42954</c:v>
                </c:pt>
                <c:pt idx="7037">
                  <c:v>42955</c:v>
                </c:pt>
                <c:pt idx="7038">
                  <c:v>42956</c:v>
                </c:pt>
                <c:pt idx="7039">
                  <c:v>42957</c:v>
                </c:pt>
                <c:pt idx="7040">
                  <c:v>42958</c:v>
                </c:pt>
                <c:pt idx="7041">
                  <c:v>42961</c:v>
                </c:pt>
                <c:pt idx="7042">
                  <c:v>42962</c:v>
                </c:pt>
                <c:pt idx="7043">
                  <c:v>42963</c:v>
                </c:pt>
                <c:pt idx="7044">
                  <c:v>42964</c:v>
                </c:pt>
                <c:pt idx="7045">
                  <c:v>42965</c:v>
                </c:pt>
                <c:pt idx="7046">
                  <c:v>42968</c:v>
                </c:pt>
                <c:pt idx="7047">
                  <c:v>42969</c:v>
                </c:pt>
                <c:pt idx="7048">
                  <c:v>42970</c:v>
                </c:pt>
                <c:pt idx="7049">
                  <c:v>42971</c:v>
                </c:pt>
                <c:pt idx="7050">
                  <c:v>42972</c:v>
                </c:pt>
                <c:pt idx="7051">
                  <c:v>42975</c:v>
                </c:pt>
                <c:pt idx="7052">
                  <c:v>42976</c:v>
                </c:pt>
                <c:pt idx="7053">
                  <c:v>42977</c:v>
                </c:pt>
                <c:pt idx="7054">
                  <c:v>42978</c:v>
                </c:pt>
                <c:pt idx="7055">
                  <c:v>42979</c:v>
                </c:pt>
                <c:pt idx="7056">
                  <c:v>42983</c:v>
                </c:pt>
                <c:pt idx="7057">
                  <c:v>42984</c:v>
                </c:pt>
                <c:pt idx="7058">
                  <c:v>42985</c:v>
                </c:pt>
                <c:pt idx="7059">
                  <c:v>42986</c:v>
                </c:pt>
                <c:pt idx="7060">
                  <c:v>42989</c:v>
                </c:pt>
                <c:pt idx="7061">
                  <c:v>42990</c:v>
                </c:pt>
                <c:pt idx="7062">
                  <c:v>42991</c:v>
                </c:pt>
                <c:pt idx="7063">
                  <c:v>42992</c:v>
                </c:pt>
                <c:pt idx="7064">
                  <c:v>42993</c:v>
                </c:pt>
                <c:pt idx="7065">
                  <c:v>42996</c:v>
                </c:pt>
                <c:pt idx="7066">
                  <c:v>42997</c:v>
                </c:pt>
                <c:pt idx="7067">
                  <c:v>42998</c:v>
                </c:pt>
                <c:pt idx="7068">
                  <c:v>42999</c:v>
                </c:pt>
                <c:pt idx="7069">
                  <c:v>43000</c:v>
                </c:pt>
                <c:pt idx="7070">
                  <c:v>43003</c:v>
                </c:pt>
                <c:pt idx="7071">
                  <c:v>43004</c:v>
                </c:pt>
                <c:pt idx="7072">
                  <c:v>43005</c:v>
                </c:pt>
                <c:pt idx="7073">
                  <c:v>43006</c:v>
                </c:pt>
                <c:pt idx="7074">
                  <c:v>43007</c:v>
                </c:pt>
                <c:pt idx="7075">
                  <c:v>43010</c:v>
                </c:pt>
                <c:pt idx="7076">
                  <c:v>43011</c:v>
                </c:pt>
                <c:pt idx="7077">
                  <c:v>43012</c:v>
                </c:pt>
                <c:pt idx="7078">
                  <c:v>43013</c:v>
                </c:pt>
                <c:pt idx="7079">
                  <c:v>43014</c:v>
                </c:pt>
                <c:pt idx="7080">
                  <c:v>43017</c:v>
                </c:pt>
                <c:pt idx="7081">
                  <c:v>43018</c:v>
                </c:pt>
                <c:pt idx="7082">
                  <c:v>43019</c:v>
                </c:pt>
                <c:pt idx="7083">
                  <c:v>43020</c:v>
                </c:pt>
                <c:pt idx="7084">
                  <c:v>43021</c:v>
                </c:pt>
                <c:pt idx="7085">
                  <c:v>43024</c:v>
                </c:pt>
                <c:pt idx="7086">
                  <c:v>43025</c:v>
                </c:pt>
                <c:pt idx="7087">
                  <c:v>43026</c:v>
                </c:pt>
                <c:pt idx="7088">
                  <c:v>43027</c:v>
                </c:pt>
                <c:pt idx="7089">
                  <c:v>43028</c:v>
                </c:pt>
                <c:pt idx="7090">
                  <c:v>43031</c:v>
                </c:pt>
                <c:pt idx="7091">
                  <c:v>43032</c:v>
                </c:pt>
                <c:pt idx="7092">
                  <c:v>43033</c:v>
                </c:pt>
                <c:pt idx="7093">
                  <c:v>43034</c:v>
                </c:pt>
                <c:pt idx="7094">
                  <c:v>43035</c:v>
                </c:pt>
                <c:pt idx="7095">
                  <c:v>43038</c:v>
                </c:pt>
                <c:pt idx="7096">
                  <c:v>43039</c:v>
                </c:pt>
                <c:pt idx="7097">
                  <c:v>43040</c:v>
                </c:pt>
                <c:pt idx="7098">
                  <c:v>43041</c:v>
                </c:pt>
                <c:pt idx="7099">
                  <c:v>43042</c:v>
                </c:pt>
                <c:pt idx="7100">
                  <c:v>43045</c:v>
                </c:pt>
                <c:pt idx="7101">
                  <c:v>43046</c:v>
                </c:pt>
                <c:pt idx="7102">
                  <c:v>43047</c:v>
                </c:pt>
                <c:pt idx="7103">
                  <c:v>43048</c:v>
                </c:pt>
                <c:pt idx="7104">
                  <c:v>43049</c:v>
                </c:pt>
                <c:pt idx="7105">
                  <c:v>43052</c:v>
                </c:pt>
                <c:pt idx="7106">
                  <c:v>43053</c:v>
                </c:pt>
                <c:pt idx="7107">
                  <c:v>43054</c:v>
                </c:pt>
                <c:pt idx="7108">
                  <c:v>43055</c:v>
                </c:pt>
                <c:pt idx="7109">
                  <c:v>43056</c:v>
                </c:pt>
                <c:pt idx="7110">
                  <c:v>43059</c:v>
                </c:pt>
                <c:pt idx="7111">
                  <c:v>43060</c:v>
                </c:pt>
                <c:pt idx="7112">
                  <c:v>43061</c:v>
                </c:pt>
                <c:pt idx="7113">
                  <c:v>43063</c:v>
                </c:pt>
                <c:pt idx="7114">
                  <c:v>43066</c:v>
                </c:pt>
                <c:pt idx="7115">
                  <c:v>43067</c:v>
                </c:pt>
                <c:pt idx="7116">
                  <c:v>43068</c:v>
                </c:pt>
                <c:pt idx="7117">
                  <c:v>43069</c:v>
                </c:pt>
                <c:pt idx="7118">
                  <c:v>43070</c:v>
                </c:pt>
                <c:pt idx="7119">
                  <c:v>43073</c:v>
                </c:pt>
                <c:pt idx="7120">
                  <c:v>43074</c:v>
                </c:pt>
                <c:pt idx="7121">
                  <c:v>43075</c:v>
                </c:pt>
                <c:pt idx="7122">
                  <c:v>43076</c:v>
                </c:pt>
                <c:pt idx="7123">
                  <c:v>43077</c:v>
                </c:pt>
                <c:pt idx="7124">
                  <c:v>43080</c:v>
                </c:pt>
                <c:pt idx="7125">
                  <c:v>43081</c:v>
                </c:pt>
                <c:pt idx="7126">
                  <c:v>43082</c:v>
                </c:pt>
                <c:pt idx="7127">
                  <c:v>43083</c:v>
                </c:pt>
                <c:pt idx="7128">
                  <c:v>43084</c:v>
                </c:pt>
                <c:pt idx="7129">
                  <c:v>43087</c:v>
                </c:pt>
                <c:pt idx="7130">
                  <c:v>43088</c:v>
                </c:pt>
                <c:pt idx="7131">
                  <c:v>43089</c:v>
                </c:pt>
                <c:pt idx="7132">
                  <c:v>43090</c:v>
                </c:pt>
                <c:pt idx="7133">
                  <c:v>43091</c:v>
                </c:pt>
                <c:pt idx="7134">
                  <c:v>43095</c:v>
                </c:pt>
                <c:pt idx="7135">
                  <c:v>43096</c:v>
                </c:pt>
                <c:pt idx="7136">
                  <c:v>43097</c:v>
                </c:pt>
                <c:pt idx="7137">
                  <c:v>43098</c:v>
                </c:pt>
                <c:pt idx="7138">
                  <c:v>43102</c:v>
                </c:pt>
                <c:pt idx="7139">
                  <c:v>43103</c:v>
                </c:pt>
                <c:pt idx="7140">
                  <c:v>43104</c:v>
                </c:pt>
                <c:pt idx="7141">
                  <c:v>43105</c:v>
                </c:pt>
                <c:pt idx="7142">
                  <c:v>43108</c:v>
                </c:pt>
                <c:pt idx="7143">
                  <c:v>43109</c:v>
                </c:pt>
                <c:pt idx="7144">
                  <c:v>43110</c:v>
                </c:pt>
                <c:pt idx="7145">
                  <c:v>43111</c:v>
                </c:pt>
                <c:pt idx="7146">
                  <c:v>43112</c:v>
                </c:pt>
                <c:pt idx="7147">
                  <c:v>43116</c:v>
                </c:pt>
                <c:pt idx="7148">
                  <c:v>43117</c:v>
                </c:pt>
                <c:pt idx="7149">
                  <c:v>43118</c:v>
                </c:pt>
                <c:pt idx="7150">
                  <c:v>43119</c:v>
                </c:pt>
                <c:pt idx="7151">
                  <c:v>43122</c:v>
                </c:pt>
                <c:pt idx="7152">
                  <c:v>43123</c:v>
                </c:pt>
                <c:pt idx="7153">
                  <c:v>43124</c:v>
                </c:pt>
                <c:pt idx="7154">
                  <c:v>43125</c:v>
                </c:pt>
                <c:pt idx="7155">
                  <c:v>43126</c:v>
                </c:pt>
                <c:pt idx="7156">
                  <c:v>43129</c:v>
                </c:pt>
                <c:pt idx="7157">
                  <c:v>43130</c:v>
                </c:pt>
                <c:pt idx="7158">
                  <c:v>43131</c:v>
                </c:pt>
                <c:pt idx="7159">
                  <c:v>43132</c:v>
                </c:pt>
                <c:pt idx="7160">
                  <c:v>43133</c:v>
                </c:pt>
                <c:pt idx="7161">
                  <c:v>43136</c:v>
                </c:pt>
                <c:pt idx="7162">
                  <c:v>43137</c:v>
                </c:pt>
                <c:pt idx="7163">
                  <c:v>43138</c:v>
                </c:pt>
                <c:pt idx="7164">
                  <c:v>43139</c:v>
                </c:pt>
                <c:pt idx="7165">
                  <c:v>43140</c:v>
                </c:pt>
                <c:pt idx="7166">
                  <c:v>43143</c:v>
                </c:pt>
                <c:pt idx="7167">
                  <c:v>43144</c:v>
                </c:pt>
                <c:pt idx="7168">
                  <c:v>43145</c:v>
                </c:pt>
                <c:pt idx="7169">
                  <c:v>43146</c:v>
                </c:pt>
                <c:pt idx="7170">
                  <c:v>43147</c:v>
                </c:pt>
                <c:pt idx="7171">
                  <c:v>43151</c:v>
                </c:pt>
                <c:pt idx="7172">
                  <c:v>43152</c:v>
                </c:pt>
                <c:pt idx="7173">
                  <c:v>43153</c:v>
                </c:pt>
                <c:pt idx="7174">
                  <c:v>43154</c:v>
                </c:pt>
                <c:pt idx="7175">
                  <c:v>43157</c:v>
                </c:pt>
                <c:pt idx="7176">
                  <c:v>43158</c:v>
                </c:pt>
                <c:pt idx="7177">
                  <c:v>43159</c:v>
                </c:pt>
                <c:pt idx="7178">
                  <c:v>43160</c:v>
                </c:pt>
                <c:pt idx="7179">
                  <c:v>43161</c:v>
                </c:pt>
                <c:pt idx="7180">
                  <c:v>43164</c:v>
                </c:pt>
                <c:pt idx="7181">
                  <c:v>43165</c:v>
                </c:pt>
                <c:pt idx="7182">
                  <c:v>43166</c:v>
                </c:pt>
                <c:pt idx="7183">
                  <c:v>43167</c:v>
                </c:pt>
                <c:pt idx="7184">
                  <c:v>43168</c:v>
                </c:pt>
                <c:pt idx="7185">
                  <c:v>43171</c:v>
                </c:pt>
                <c:pt idx="7186">
                  <c:v>43172</c:v>
                </c:pt>
                <c:pt idx="7187">
                  <c:v>43173</c:v>
                </c:pt>
                <c:pt idx="7188">
                  <c:v>43174</c:v>
                </c:pt>
                <c:pt idx="7189">
                  <c:v>43175</c:v>
                </c:pt>
                <c:pt idx="7190">
                  <c:v>43178</c:v>
                </c:pt>
                <c:pt idx="7191">
                  <c:v>43179</c:v>
                </c:pt>
                <c:pt idx="7192">
                  <c:v>43180</c:v>
                </c:pt>
                <c:pt idx="7193">
                  <c:v>43181</c:v>
                </c:pt>
                <c:pt idx="7194">
                  <c:v>43182</c:v>
                </c:pt>
                <c:pt idx="7195">
                  <c:v>43185</c:v>
                </c:pt>
                <c:pt idx="7196">
                  <c:v>43186</c:v>
                </c:pt>
                <c:pt idx="7197">
                  <c:v>43187</c:v>
                </c:pt>
                <c:pt idx="7198">
                  <c:v>43188</c:v>
                </c:pt>
                <c:pt idx="7199">
                  <c:v>43192</c:v>
                </c:pt>
                <c:pt idx="7200">
                  <c:v>43193</c:v>
                </c:pt>
                <c:pt idx="7201">
                  <c:v>43194</c:v>
                </c:pt>
                <c:pt idx="7202">
                  <c:v>43195</c:v>
                </c:pt>
                <c:pt idx="7203">
                  <c:v>43196</c:v>
                </c:pt>
                <c:pt idx="7204">
                  <c:v>43199</c:v>
                </c:pt>
                <c:pt idx="7205">
                  <c:v>43200</c:v>
                </c:pt>
                <c:pt idx="7206">
                  <c:v>43201</c:v>
                </c:pt>
                <c:pt idx="7207">
                  <c:v>43202</c:v>
                </c:pt>
                <c:pt idx="7208">
                  <c:v>43203</c:v>
                </c:pt>
                <c:pt idx="7209">
                  <c:v>43206</c:v>
                </c:pt>
                <c:pt idx="7210">
                  <c:v>43207</c:v>
                </c:pt>
                <c:pt idx="7211">
                  <c:v>43208</c:v>
                </c:pt>
                <c:pt idx="7212">
                  <c:v>43209</c:v>
                </c:pt>
                <c:pt idx="7213">
                  <c:v>43210</c:v>
                </c:pt>
                <c:pt idx="7214">
                  <c:v>43213</c:v>
                </c:pt>
                <c:pt idx="7215">
                  <c:v>43214</c:v>
                </c:pt>
                <c:pt idx="7216">
                  <c:v>43215</c:v>
                </c:pt>
                <c:pt idx="7217">
                  <c:v>43216</c:v>
                </c:pt>
                <c:pt idx="7218">
                  <c:v>43217</c:v>
                </c:pt>
                <c:pt idx="7219">
                  <c:v>43220</c:v>
                </c:pt>
                <c:pt idx="7220">
                  <c:v>43221</c:v>
                </c:pt>
                <c:pt idx="7221">
                  <c:v>43222</c:v>
                </c:pt>
                <c:pt idx="7222">
                  <c:v>43223</c:v>
                </c:pt>
                <c:pt idx="7223">
                  <c:v>43224</c:v>
                </c:pt>
                <c:pt idx="7224">
                  <c:v>43227</c:v>
                </c:pt>
                <c:pt idx="7225">
                  <c:v>43228</c:v>
                </c:pt>
                <c:pt idx="7226">
                  <c:v>43229</c:v>
                </c:pt>
                <c:pt idx="7227">
                  <c:v>43230</c:v>
                </c:pt>
                <c:pt idx="7228">
                  <c:v>43231</c:v>
                </c:pt>
                <c:pt idx="7229">
                  <c:v>43234</c:v>
                </c:pt>
                <c:pt idx="7230">
                  <c:v>43235</c:v>
                </c:pt>
                <c:pt idx="7231">
                  <c:v>43236</c:v>
                </c:pt>
                <c:pt idx="7232">
                  <c:v>43237</c:v>
                </c:pt>
                <c:pt idx="7233">
                  <c:v>43238</c:v>
                </c:pt>
                <c:pt idx="7234">
                  <c:v>43241</c:v>
                </c:pt>
                <c:pt idx="7235">
                  <c:v>43242</c:v>
                </c:pt>
                <c:pt idx="7236">
                  <c:v>43243</c:v>
                </c:pt>
                <c:pt idx="7237">
                  <c:v>43244</c:v>
                </c:pt>
                <c:pt idx="7238">
                  <c:v>43245</c:v>
                </c:pt>
                <c:pt idx="7239">
                  <c:v>43249</c:v>
                </c:pt>
                <c:pt idx="7240">
                  <c:v>43250</c:v>
                </c:pt>
                <c:pt idx="7241">
                  <c:v>43251</c:v>
                </c:pt>
                <c:pt idx="7242">
                  <c:v>43252</c:v>
                </c:pt>
                <c:pt idx="7243">
                  <c:v>43255</c:v>
                </c:pt>
                <c:pt idx="7244">
                  <c:v>43256</c:v>
                </c:pt>
                <c:pt idx="7245">
                  <c:v>43257</c:v>
                </c:pt>
                <c:pt idx="7246">
                  <c:v>43258</c:v>
                </c:pt>
                <c:pt idx="7247">
                  <c:v>43259</c:v>
                </c:pt>
                <c:pt idx="7248">
                  <c:v>43262</c:v>
                </c:pt>
                <c:pt idx="7249">
                  <c:v>43263</c:v>
                </c:pt>
                <c:pt idx="7250">
                  <c:v>43264</c:v>
                </c:pt>
                <c:pt idx="7251">
                  <c:v>43265</c:v>
                </c:pt>
                <c:pt idx="7252">
                  <c:v>43266</c:v>
                </c:pt>
                <c:pt idx="7253">
                  <c:v>43269</c:v>
                </c:pt>
                <c:pt idx="7254">
                  <c:v>43270</c:v>
                </c:pt>
                <c:pt idx="7255">
                  <c:v>43271</c:v>
                </c:pt>
                <c:pt idx="7256">
                  <c:v>43272</c:v>
                </c:pt>
                <c:pt idx="7257">
                  <c:v>43273</c:v>
                </c:pt>
                <c:pt idx="7258">
                  <c:v>43276</c:v>
                </c:pt>
                <c:pt idx="7259">
                  <c:v>43277</c:v>
                </c:pt>
                <c:pt idx="7260">
                  <c:v>43278</c:v>
                </c:pt>
                <c:pt idx="7261">
                  <c:v>43279</c:v>
                </c:pt>
                <c:pt idx="7262">
                  <c:v>43280</c:v>
                </c:pt>
                <c:pt idx="7263">
                  <c:v>43283</c:v>
                </c:pt>
                <c:pt idx="7264">
                  <c:v>43284</c:v>
                </c:pt>
                <c:pt idx="7265">
                  <c:v>43286</c:v>
                </c:pt>
                <c:pt idx="7266">
                  <c:v>43287</c:v>
                </c:pt>
                <c:pt idx="7267">
                  <c:v>43290</c:v>
                </c:pt>
                <c:pt idx="7268">
                  <c:v>43291</c:v>
                </c:pt>
                <c:pt idx="7269">
                  <c:v>43292</c:v>
                </c:pt>
                <c:pt idx="7270">
                  <c:v>43293</c:v>
                </c:pt>
                <c:pt idx="7271">
                  <c:v>43294</c:v>
                </c:pt>
                <c:pt idx="7272">
                  <c:v>43297</c:v>
                </c:pt>
                <c:pt idx="7273">
                  <c:v>43298</c:v>
                </c:pt>
                <c:pt idx="7274">
                  <c:v>43299</c:v>
                </c:pt>
                <c:pt idx="7275">
                  <c:v>43300</c:v>
                </c:pt>
                <c:pt idx="7276">
                  <c:v>43301</c:v>
                </c:pt>
                <c:pt idx="7277">
                  <c:v>43304</c:v>
                </c:pt>
                <c:pt idx="7278">
                  <c:v>43305</c:v>
                </c:pt>
                <c:pt idx="7279">
                  <c:v>43306</c:v>
                </c:pt>
                <c:pt idx="7280">
                  <c:v>43307</c:v>
                </c:pt>
                <c:pt idx="7281">
                  <c:v>43308</c:v>
                </c:pt>
                <c:pt idx="7282">
                  <c:v>43311</c:v>
                </c:pt>
                <c:pt idx="7283">
                  <c:v>43312</c:v>
                </c:pt>
                <c:pt idx="7284">
                  <c:v>43313</c:v>
                </c:pt>
                <c:pt idx="7285">
                  <c:v>43314</c:v>
                </c:pt>
                <c:pt idx="7286">
                  <c:v>43315</c:v>
                </c:pt>
                <c:pt idx="7287">
                  <c:v>43318</c:v>
                </c:pt>
                <c:pt idx="7288">
                  <c:v>43319</c:v>
                </c:pt>
                <c:pt idx="7289">
                  <c:v>43320</c:v>
                </c:pt>
                <c:pt idx="7290">
                  <c:v>43321</c:v>
                </c:pt>
                <c:pt idx="7291">
                  <c:v>43322</c:v>
                </c:pt>
                <c:pt idx="7292">
                  <c:v>43325</c:v>
                </c:pt>
                <c:pt idx="7293">
                  <c:v>43326</c:v>
                </c:pt>
                <c:pt idx="7294">
                  <c:v>43327</c:v>
                </c:pt>
                <c:pt idx="7295">
                  <c:v>43328</c:v>
                </c:pt>
                <c:pt idx="7296">
                  <c:v>43329</c:v>
                </c:pt>
                <c:pt idx="7297">
                  <c:v>43332</c:v>
                </c:pt>
                <c:pt idx="7298">
                  <c:v>43333</c:v>
                </c:pt>
                <c:pt idx="7299">
                  <c:v>43334</c:v>
                </c:pt>
                <c:pt idx="7300">
                  <c:v>43335</c:v>
                </c:pt>
                <c:pt idx="7301">
                  <c:v>43336</c:v>
                </c:pt>
                <c:pt idx="7302">
                  <c:v>43339</c:v>
                </c:pt>
                <c:pt idx="7303">
                  <c:v>43340</c:v>
                </c:pt>
                <c:pt idx="7304">
                  <c:v>43341</c:v>
                </c:pt>
                <c:pt idx="7305">
                  <c:v>43342</c:v>
                </c:pt>
                <c:pt idx="7306">
                  <c:v>43343</c:v>
                </c:pt>
                <c:pt idx="7307">
                  <c:v>43347</c:v>
                </c:pt>
                <c:pt idx="7308">
                  <c:v>43348</c:v>
                </c:pt>
                <c:pt idx="7309">
                  <c:v>43349</c:v>
                </c:pt>
                <c:pt idx="7310">
                  <c:v>43350</c:v>
                </c:pt>
                <c:pt idx="7311">
                  <c:v>43353</c:v>
                </c:pt>
                <c:pt idx="7312">
                  <c:v>43354</c:v>
                </c:pt>
                <c:pt idx="7313">
                  <c:v>43355</c:v>
                </c:pt>
                <c:pt idx="7314">
                  <c:v>43356</c:v>
                </c:pt>
                <c:pt idx="7315">
                  <c:v>43357</c:v>
                </c:pt>
                <c:pt idx="7316">
                  <c:v>43360</c:v>
                </c:pt>
                <c:pt idx="7317">
                  <c:v>43361</c:v>
                </c:pt>
                <c:pt idx="7318">
                  <c:v>43362</c:v>
                </c:pt>
                <c:pt idx="7319">
                  <c:v>43363</c:v>
                </c:pt>
                <c:pt idx="7320">
                  <c:v>43364</c:v>
                </c:pt>
                <c:pt idx="7321">
                  <c:v>43367</c:v>
                </c:pt>
                <c:pt idx="7322">
                  <c:v>43368</c:v>
                </c:pt>
                <c:pt idx="7323">
                  <c:v>43369</c:v>
                </c:pt>
                <c:pt idx="7324">
                  <c:v>43370</c:v>
                </c:pt>
                <c:pt idx="7325">
                  <c:v>43371</c:v>
                </c:pt>
                <c:pt idx="7326">
                  <c:v>43374</c:v>
                </c:pt>
                <c:pt idx="7327">
                  <c:v>43375</c:v>
                </c:pt>
                <c:pt idx="7328">
                  <c:v>43376</c:v>
                </c:pt>
                <c:pt idx="7329">
                  <c:v>43377</c:v>
                </c:pt>
                <c:pt idx="7330">
                  <c:v>43378</c:v>
                </c:pt>
                <c:pt idx="7331">
                  <c:v>43381</c:v>
                </c:pt>
                <c:pt idx="7332">
                  <c:v>43382</c:v>
                </c:pt>
                <c:pt idx="7333">
                  <c:v>43383</c:v>
                </c:pt>
                <c:pt idx="7334">
                  <c:v>43384</c:v>
                </c:pt>
                <c:pt idx="7335">
                  <c:v>43385</c:v>
                </c:pt>
                <c:pt idx="7336">
                  <c:v>43388</c:v>
                </c:pt>
                <c:pt idx="7337">
                  <c:v>43389</c:v>
                </c:pt>
                <c:pt idx="7338">
                  <c:v>43390</c:v>
                </c:pt>
                <c:pt idx="7339">
                  <c:v>43391</c:v>
                </c:pt>
                <c:pt idx="7340">
                  <c:v>43392</c:v>
                </c:pt>
                <c:pt idx="7341">
                  <c:v>43395</c:v>
                </c:pt>
                <c:pt idx="7342">
                  <c:v>43396</c:v>
                </c:pt>
                <c:pt idx="7343">
                  <c:v>43397</c:v>
                </c:pt>
                <c:pt idx="7344">
                  <c:v>43398</c:v>
                </c:pt>
                <c:pt idx="7345">
                  <c:v>43399</c:v>
                </c:pt>
                <c:pt idx="7346">
                  <c:v>43402</c:v>
                </c:pt>
                <c:pt idx="7347">
                  <c:v>43403</c:v>
                </c:pt>
                <c:pt idx="7348">
                  <c:v>43404</c:v>
                </c:pt>
                <c:pt idx="7349">
                  <c:v>43405</c:v>
                </c:pt>
                <c:pt idx="7350">
                  <c:v>43406</c:v>
                </c:pt>
                <c:pt idx="7351">
                  <c:v>43409</c:v>
                </c:pt>
                <c:pt idx="7352">
                  <c:v>43410</c:v>
                </c:pt>
                <c:pt idx="7353">
                  <c:v>43411</c:v>
                </c:pt>
                <c:pt idx="7354">
                  <c:v>43412</c:v>
                </c:pt>
                <c:pt idx="7355">
                  <c:v>43413</c:v>
                </c:pt>
                <c:pt idx="7356">
                  <c:v>43416</c:v>
                </c:pt>
                <c:pt idx="7357">
                  <c:v>43417</c:v>
                </c:pt>
                <c:pt idx="7358">
                  <c:v>43418</c:v>
                </c:pt>
                <c:pt idx="7359">
                  <c:v>43419</c:v>
                </c:pt>
                <c:pt idx="7360">
                  <c:v>43420</c:v>
                </c:pt>
                <c:pt idx="7361">
                  <c:v>43423</c:v>
                </c:pt>
                <c:pt idx="7362">
                  <c:v>43424</c:v>
                </c:pt>
                <c:pt idx="7363">
                  <c:v>43425</c:v>
                </c:pt>
                <c:pt idx="7364">
                  <c:v>43427</c:v>
                </c:pt>
                <c:pt idx="7365">
                  <c:v>43430</c:v>
                </c:pt>
                <c:pt idx="7366">
                  <c:v>43431</c:v>
                </c:pt>
                <c:pt idx="7367">
                  <c:v>43432</c:v>
                </c:pt>
                <c:pt idx="7368">
                  <c:v>43433</c:v>
                </c:pt>
                <c:pt idx="7369">
                  <c:v>43434</c:v>
                </c:pt>
                <c:pt idx="7370">
                  <c:v>43437</c:v>
                </c:pt>
                <c:pt idx="7371">
                  <c:v>43438</c:v>
                </c:pt>
                <c:pt idx="7372">
                  <c:v>43440</c:v>
                </c:pt>
                <c:pt idx="7373">
                  <c:v>43441</c:v>
                </c:pt>
                <c:pt idx="7374">
                  <c:v>43444</c:v>
                </c:pt>
                <c:pt idx="7375">
                  <c:v>43445</c:v>
                </c:pt>
                <c:pt idx="7376">
                  <c:v>43446</c:v>
                </c:pt>
                <c:pt idx="7377">
                  <c:v>43447</c:v>
                </c:pt>
                <c:pt idx="7378">
                  <c:v>43448</c:v>
                </c:pt>
                <c:pt idx="7379">
                  <c:v>43451</c:v>
                </c:pt>
                <c:pt idx="7380">
                  <c:v>43452</c:v>
                </c:pt>
                <c:pt idx="7381">
                  <c:v>43453</c:v>
                </c:pt>
                <c:pt idx="7382">
                  <c:v>43454</c:v>
                </c:pt>
                <c:pt idx="7383">
                  <c:v>43455</c:v>
                </c:pt>
                <c:pt idx="7384">
                  <c:v>43458</c:v>
                </c:pt>
                <c:pt idx="7385">
                  <c:v>43460</c:v>
                </c:pt>
                <c:pt idx="7386">
                  <c:v>43461</c:v>
                </c:pt>
                <c:pt idx="7387">
                  <c:v>43462</c:v>
                </c:pt>
                <c:pt idx="7388">
                  <c:v>43465</c:v>
                </c:pt>
                <c:pt idx="7389">
                  <c:v>43467</c:v>
                </c:pt>
                <c:pt idx="7390">
                  <c:v>43468</c:v>
                </c:pt>
                <c:pt idx="7391">
                  <c:v>43469</c:v>
                </c:pt>
                <c:pt idx="7392">
                  <c:v>43472</c:v>
                </c:pt>
                <c:pt idx="7393">
                  <c:v>43473</c:v>
                </c:pt>
                <c:pt idx="7394">
                  <c:v>43474</c:v>
                </c:pt>
                <c:pt idx="7395">
                  <c:v>43475</c:v>
                </c:pt>
                <c:pt idx="7396">
                  <c:v>43476</c:v>
                </c:pt>
                <c:pt idx="7397">
                  <c:v>43479</c:v>
                </c:pt>
                <c:pt idx="7398">
                  <c:v>43480</c:v>
                </c:pt>
                <c:pt idx="7399">
                  <c:v>43481</c:v>
                </c:pt>
                <c:pt idx="7400">
                  <c:v>43482</c:v>
                </c:pt>
                <c:pt idx="7401">
                  <c:v>43483</c:v>
                </c:pt>
                <c:pt idx="7402">
                  <c:v>43487</c:v>
                </c:pt>
                <c:pt idx="7403">
                  <c:v>43488</c:v>
                </c:pt>
                <c:pt idx="7404">
                  <c:v>43489</c:v>
                </c:pt>
                <c:pt idx="7405">
                  <c:v>43490</c:v>
                </c:pt>
                <c:pt idx="7406">
                  <c:v>43493</c:v>
                </c:pt>
                <c:pt idx="7407">
                  <c:v>43494</c:v>
                </c:pt>
                <c:pt idx="7408">
                  <c:v>43495</c:v>
                </c:pt>
                <c:pt idx="7409">
                  <c:v>43496</c:v>
                </c:pt>
                <c:pt idx="7410">
                  <c:v>43497</c:v>
                </c:pt>
                <c:pt idx="7411">
                  <c:v>43500</c:v>
                </c:pt>
                <c:pt idx="7412">
                  <c:v>43501</c:v>
                </c:pt>
                <c:pt idx="7413">
                  <c:v>43502</c:v>
                </c:pt>
                <c:pt idx="7414">
                  <c:v>43503</c:v>
                </c:pt>
                <c:pt idx="7415">
                  <c:v>43504</c:v>
                </c:pt>
                <c:pt idx="7416">
                  <c:v>43507</c:v>
                </c:pt>
                <c:pt idx="7417">
                  <c:v>43508</c:v>
                </c:pt>
                <c:pt idx="7418">
                  <c:v>43509</c:v>
                </c:pt>
                <c:pt idx="7419">
                  <c:v>43510</c:v>
                </c:pt>
                <c:pt idx="7420">
                  <c:v>43511</c:v>
                </c:pt>
                <c:pt idx="7421">
                  <c:v>43515</c:v>
                </c:pt>
                <c:pt idx="7422">
                  <c:v>43516</c:v>
                </c:pt>
                <c:pt idx="7423">
                  <c:v>43517</c:v>
                </c:pt>
                <c:pt idx="7424">
                  <c:v>43518</c:v>
                </c:pt>
                <c:pt idx="7425">
                  <c:v>43521</c:v>
                </c:pt>
                <c:pt idx="7426">
                  <c:v>43522</c:v>
                </c:pt>
                <c:pt idx="7427">
                  <c:v>43523</c:v>
                </c:pt>
                <c:pt idx="7428">
                  <c:v>43524</c:v>
                </c:pt>
                <c:pt idx="7429">
                  <c:v>43525</c:v>
                </c:pt>
                <c:pt idx="7430">
                  <c:v>43528</c:v>
                </c:pt>
                <c:pt idx="7431">
                  <c:v>43529</c:v>
                </c:pt>
                <c:pt idx="7432">
                  <c:v>43530</c:v>
                </c:pt>
                <c:pt idx="7433">
                  <c:v>43531</c:v>
                </c:pt>
                <c:pt idx="7434">
                  <c:v>43532</c:v>
                </c:pt>
                <c:pt idx="7435">
                  <c:v>43535</c:v>
                </c:pt>
                <c:pt idx="7436">
                  <c:v>43536</c:v>
                </c:pt>
                <c:pt idx="7437">
                  <c:v>43537</c:v>
                </c:pt>
                <c:pt idx="7438">
                  <c:v>43538</c:v>
                </c:pt>
                <c:pt idx="7439">
                  <c:v>43539</c:v>
                </c:pt>
                <c:pt idx="7440">
                  <c:v>43542</c:v>
                </c:pt>
                <c:pt idx="7441">
                  <c:v>43543</c:v>
                </c:pt>
                <c:pt idx="7442">
                  <c:v>43544</c:v>
                </c:pt>
                <c:pt idx="7443">
                  <c:v>43545</c:v>
                </c:pt>
                <c:pt idx="7444">
                  <c:v>43546</c:v>
                </c:pt>
                <c:pt idx="7445">
                  <c:v>43549</c:v>
                </c:pt>
                <c:pt idx="7446">
                  <c:v>43550</c:v>
                </c:pt>
                <c:pt idx="7447">
                  <c:v>43551</c:v>
                </c:pt>
                <c:pt idx="7448">
                  <c:v>43552</c:v>
                </c:pt>
                <c:pt idx="7449">
                  <c:v>43553</c:v>
                </c:pt>
                <c:pt idx="7450">
                  <c:v>43556</c:v>
                </c:pt>
                <c:pt idx="7451">
                  <c:v>43557</c:v>
                </c:pt>
                <c:pt idx="7452">
                  <c:v>43558</c:v>
                </c:pt>
                <c:pt idx="7453">
                  <c:v>43559</c:v>
                </c:pt>
                <c:pt idx="7454">
                  <c:v>43560</c:v>
                </c:pt>
                <c:pt idx="7455">
                  <c:v>43563</c:v>
                </c:pt>
                <c:pt idx="7456">
                  <c:v>43564</c:v>
                </c:pt>
                <c:pt idx="7457">
                  <c:v>43565</c:v>
                </c:pt>
                <c:pt idx="7458">
                  <c:v>43566</c:v>
                </c:pt>
                <c:pt idx="7459">
                  <c:v>43567</c:v>
                </c:pt>
                <c:pt idx="7460">
                  <c:v>43570</c:v>
                </c:pt>
                <c:pt idx="7461">
                  <c:v>43571</c:v>
                </c:pt>
                <c:pt idx="7462">
                  <c:v>43572</c:v>
                </c:pt>
                <c:pt idx="7463">
                  <c:v>43573</c:v>
                </c:pt>
                <c:pt idx="7464">
                  <c:v>43577</c:v>
                </c:pt>
                <c:pt idx="7465">
                  <c:v>43578</c:v>
                </c:pt>
                <c:pt idx="7466">
                  <c:v>43579</c:v>
                </c:pt>
                <c:pt idx="7467">
                  <c:v>43580</c:v>
                </c:pt>
                <c:pt idx="7468">
                  <c:v>43581</c:v>
                </c:pt>
                <c:pt idx="7469">
                  <c:v>43584</c:v>
                </c:pt>
                <c:pt idx="7470">
                  <c:v>43585</c:v>
                </c:pt>
                <c:pt idx="7471">
                  <c:v>43586</c:v>
                </c:pt>
                <c:pt idx="7472">
                  <c:v>43587</c:v>
                </c:pt>
                <c:pt idx="7473">
                  <c:v>43588</c:v>
                </c:pt>
                <c:pt idx="7474">
                  <c:v>43591</c:v>
                </c:pt>
                <c:pt idx="7475">
                  <c:v>43592</c:v>
                </c:pt>
                <c:pt idx="7476">
                  <c:v>43593</c:v>
                </c:pt>
                <c:pt idx="7477">
                  <c:v>43594</c:v>
                </c:pt>
                <c:pt idx="7478">
                  <c:v>43595</c:v>
                </c:pt>
                <c:pt idx="7479">
                  <c:v>43598</c:v>
                </c:pt>
                <c:pt idx="7480">
                  <c:v>43599</c:v>
                </c:pt>
                <c:pt idx="7481">
                  <c:v>43600</c:v>
                </c:pt>
                <c:pt idx="7482">
                  <c:v>43601</c:v>
                </c:pt>
                <c:pt idx="7483">
                  <c:v>43602</c:v>
                </c:pt>
                <c:pt idx="7484">
                  <c:v>43605</c:v>
                </c:pt>
                <c:pt idx="7485">
                  <c:v>43606</c:v>
                </c:pt>
                <c:pt idx="7486">
                  <c:v>43607</c:v>
                </c:pt>
                <c:pt idx="7487">
                  <c:v>43608</c:v>
                </c:pt>
                <c:pt idx="7488">
                  <c:v>43609</c:v>
                </c:pt>
                <c:pt idx="7489">
                  <c:v>43613</c:v>
                </c:pt>
                <c:pt idx="7490">
                  <c:v>43614</c:v>
                </c:pt>
                <c:pt idx="7491">
                  <c:v>43615</c:v>
                </c:pt>
                <c:pt idx="7492">
                  <c:v>43616</c:v>
                </c:pt>
                <c:pt idx="7493">
                  <c:v>43619</c:v>
                </c:pt>
                <c:pt idx="7494">
                  <c:v>43620</c:v>
                </c:pt>
                <c:pt idx="7495">
                  <c:v>43621</c:v>
                </c:pt>
                <c:pt idx="7496">
                  <c:v>43622</c:v>
                </c:pt>
                <c:pt idx="7497">
                  <c:v>43623</c:v>
                </c:pt>
                <c:pt idx="7498">
                  <c:v>43626</c:v>
                </c:pt>
                <c:pt idx="7499">
                  <c:v>43627</c:v>
                </c:pt>
                <c:pt idx="7500">
                  <c:v>43628</c:v>
                </c:pt>
                <c:pt idx="7501">
                  <c:v>43629</c:v>
                </c:pt>
                <c:pt idx="7502">
                  <c:v>43630</c:v>
                </c:pt>
                <c:pt idx="7503">
                  <c:v>43633</c:v>
                </c:pt>
                <c:pt idx="7504">
                  <c:v>43634</c:v>
                </c:pt>
                <c:pt idx="7505">
                  <c:v>43635</c:v>
                </c:pt>
                <c:pt idx="7506">
                  <c:v>43636</c:v>
                </c:pt>
                <c:pt idx="7507">
                  <c:v>43637</c:v>
                </c:pt>
                <c:pt idx="7508">
                  <c:v>43640</c:v>
                </c:pt>
                <c:pt idx="7509">
                  <c:v>43641</c:v>
                </c:pt>
                <c:pt idx="7510">
                  <c:v>43642</c:v>
                </c:pt>
                <c:pt idx="7511">
                  <c:v>43643</c:v>
                </c:pt>
                <c:pt idx="7512">
                  <c:v>43644</c:v>
                </c:pt>
                <c:pt idx="7513">
                  <c:v>43647</c:v>
                </c:pt>
                <c:pt idx="7514">
                  <c:v>43648</c:v>
                </c:pt>
                <c:pt idx="7515">
                  <c:v>43649</c:v>
                </c:pt>
                <c:pt idx="7516">
                  <c:v>43651</c:v>
                </c:pt>
                <c:pt idx="7517">
                  <c:v>43654</c:v>
                </c:pt>
                <c:pt idx="7518">
                  <c:v>43655</c:v>
                </c:pt>
                <c:pt idx="7519">
                  <c:v>43656</c:v>
                </c:pt>
                <c:pt idx="7520">
                  <c:v>43657</c:v>
                </c:pt>
                <c:pt idx="7521">
                  <c:v>43658</c:v>
                </c:pt>
                <c:pt idx="7522">
                  <c:v>43661</c:v>
                </c:pt>
                <c:pt idx="7523">
                  <c:v>43662</c:v>
                </c:pt>
                <c:pt idx="7524">
                  <c:v>43663</c:v>
                </c:pt>
                <c:pt idx="7525">
                  <c:v>43664</c:v>
                </c:pt>
                <c:pt idx="7526">
                  <c:v>43665</c:v>
                </c:pt>
                <c:pt idx="7527">
                  <c:v>43668</c:v>
                </c:pt>
                <c:pt idx="7528">
                  <c:v>43669</c:v>
                </c:pt>
                <c:pt idx="7529">
                  <c:v>43670</c:v>
                </c:pt>
                <c:pt idx="7530">
                  <c:v>43671</c:v>
                </c:pt>
                <c:pt idx="7531">
                  <c:v>43672</c:v>
                </c:pt>
                <c:pt idx="7532">
                  <c:v>43675</c:v>
                </c:pt>
                <c:pt idx="7533">
                  <c:v>43676</c:v>
                </c:pt>
                <c:pt idx="7534">
                  <c:v>43677</c:v>
                </c:pt>
                <c:pt idx="7535">
                  <c:v>43678</c:v>
                </c:pt>
                <c:pt idx="7536">
                  <c:v>43679</c:v>
                </c:pt>
                <c:pt idx="7537">
                  <c:v>43682</c:v>
                </c:pt>
                <c:pt idx="7538">
                  <c:v>43683</c:v>
                </c:pt>
                <c:pt idx="7539">
                  <c:v>43684</c:v>
                </c:pt>
                <c:pt idx="7540">
                  <c:v>43685</c:v>
                </c:pt>
                <c:pt idx="7541">
                  <c:v>43686</c:v>
                </c:pt>
                <c:pt idx="7542">
                  <c:v>43689</c:v>
                </c:pt>
                <c:pt idx="7543">
                  <c:v>43690</c:v>
                </c:pt>
                <c:pt idx="7544">
                  <c:v>43691</c:v>
                </c:pt>
                <c:pt idx="7545">
                  <c:v>43692</c:v>
                </c:pt>
                <c:pt idx="7546">
                  <c:v>43693</c:v>
                </c:pt>
                <c:pt idx="7547">
                  <c:v>43696</c:v>
                </c:pt>
                <c:pt idx="7548">
                  <c:v>43697</c:v>
                </c:pt>
                <c:pt idx="7549">
                  <c:v>43698</c:v>
                </c:pt>
                <c:pt idx="7550">
                  <c:v>43699</c:v>
                </c:pt>
                <c:pt idx="7551">
                  <c:v>43700</c:v>
                </c:pt>
                <c:pt idx="7552">
                  <c:v>43703</c:v>
                </c:pt>
                <c:pt idx="7553">
                  <c:v>43704</c:v>
                </c:pt>
                <c:pt idx="7554">
                  <c:v>43705</c:v>
                </c:pt>
                <c:pt idx="7555">
                  <c:v>43706</c:v>
                </c:pt>
                <c:pt idx="7556">
                  <c:v>43707</c:v>
                </c:pt>
                <c:pt idx="7557">
                  <c:v>43711</c:v>
                </c:pt>
                <c:pt idx="7558">
                  <c:v>43712</c:v>
                </c:pt>
                <c:pt idx="7559">
                  <c:v>43713</c:v>
                </c:pt>
                <c:pt idx="7560">
                  <c:v>43714</c:v>
                </c:pt>
                <c:pt idx="7561">
                  <c:v>43717</c:v>
                </c:pt>
                <c:pt idx="7562">
                  <c:v>43718</c:v>
                </c:pt>
                <c:pt idx="7563">
                  <c:v>43719</c:v>
                </c:pt>
                <c:pt idx="7564">
                  <c:v>43720</c:v>
                </c:pt>
                <c:pt idx="7565">
                  <c:v>43721</c:v>
                </c:pt>
                <c:pt idx="7566">
                  <c:v>43724</c:v>
                </c:pt>
                <c:pt idx="7567">
                  <c:v>43725</c:v>
                </c:pt>
                <c:pt idx="7568">
                  <c:v>43726</c:v>
                </c:pt>
                <c:pt idx="7569">
                  <c:v>43727</c:v>
                </c:pt>
                <c:pt idx="7570">
                  <c:v>43728</c:v>
                </c:pt>
                <c:pt idx="7571">
                  <c:v>43731</c:v>
                </c:pt>
                <c:pt idx="7572">
                  <c:v>43732</c:v>
                </c:pt>
                <c:pt idx="7573">
                  <c:v>43733</c:v>
                </c:pt>
                <c:pt idx="7574">
                  <c:v>43734</c:v>
                </c:pt>
                <c:pt idx="7575">
                  <c:v>43735</c:v>
                </c:pt>
                <c:pt idx="7576">
                  <c:v>43738</c:v>
                </c:pt>
                <c:pt idx="7577">
                  <c:v>43739</c:v>
                </c:pt>
                <c:pt idx="7578">
                  <c:v>43740</c:v>
                </c:pt>
                <c:pt idx="7579">
                  <c:v>43741</c:v>
                </c:pt>
                <c:pt idx="7580">
                  <c:v>43742</c:v>
                </c:pt>
                <c:pt idx="7581">
                  <c:v>43745</c:v>
                </c:pt>
                <c:pt idx="7582">
                  <c:v>43746</c:v>
                </c:pt>
                <c:pt idx="7583">
                  <c:v>43747</c:v>
                </c:pt>
                <c:pt idx="7584">
                  <c:v>43748</c:v>
                </c:pt>
                <c:pt idx="7585">
                  <c:v>43749</c:v>
                </c:pt>
                <c:pt idx="7586">
                  <c:v>43752</c:v>
                </c:pt>
                <c:pt idx="7587">
                  <c:v>43753</c:v>
                </c:pt>
                <c:pt idx="7588">
                  <c:v>43754</c:v>
                </c:pt>
                <c:pt idx="7589">
                  <c:v>43755</c:v>
                </c:pt>
                <c:pt idx="7590">
                  <c:v>43756</c:v>
                </c:pt>
                <c:pt idx="7591">
                  <c:v>43759</c:v>
                </c:pt>
                <c:pt idx="7592">
                  <c:v>43760</c:v>
                </c:pt>
                <c:pt idx="7593">
                  <c:v>43761</c:v>
                </c:pt>
                <c:pt idx="7594">
                  <c:v>43762</c:v>
                </c:pt>
                <c:pt idx="7595">
                  <c:v>43763</c:v>
                </c:pt>
                <c:pt idx="7596">
                  <c:v>43766</c:v>
                </c:pt>
                <c:pt idx="7597">
                  <c:v>43767</c:v>
                </c:pt>
                <c:pt idx="7598">
                  <c:v>43768</c:v>
                </c:pt>
                <c:pt idx="7599">
                  <c:v>43769</c:v>
                </c:pt>
                <c:pt idx="7600">
                  <c:v>43770</c:v>
                </c:pt>
                <c:pt idx="7601">
                  <c:v>43773</c:v>
                </c:pt>
                <c:pt idx="7602">
                  <c:v>43774</c:v>
                </c:pt>
                <c:pt idx="7603">
                  <c:v>43775</c:v>
                </c:pt>
                <c:pt idx="7604">
                  <c:v>43776</c:v>
                </c:pt>
                <c:pt idx="7605">
                  <c:v>43777</c:v>
                </c:pt>
                <c:pt idx="7606">
                  <c:v>43780</c:v>
                </c:pt>
                <c:pt idx="7607">
                  <c:v>43781</c:v>
                </c:pt>
                <c:pt idx="7608">
                  <c:v>43782</c:v>
                </c:pt>
                <c:pt idx="7609">
                  <c:v>43783</c:v>
                </c:pt>
                <c:pt idx="7610">
                  <c:v>43784</c:v>
                </c:pt>
                <c:pt idx="7611">
                  <c:v>43787</c:v>
                </c:pt>
                <c:pt idx="7612">
                  <c:v>43788</c:v>
                </c:pt>
                <c:pt idx="7613">
                  <c:v>43789</c:v>
                </c:pt>
                <c:pt idx="7614">
                  <c:v>43790</c:v>
                </c:pt>
                <c:pt idx="7615">
                  <c:v>43791</c:v>
                </c:pt>
                <c:pt idx="7616">
                  <c:v>43794</c:v>
                </c:pt>
                <c:pt idx="7617">
                  <c:v>43795</c:v>
                </c:pt>
                <c:pt idx="7618">
                  <c:v>43796</c:v>
                </c:pt>
                <c:pt idx="7619">
                  <c:v>43798</c:v>
                </c:pt>
                <c:pt idx="7620">
                  <c:v>43801</c:v>
                </c:pt>
                <c:pt idx="7621">
                  <c:v>43802</c:v>
                </c:pt>
                <c:pt idx="7622">
                  <c:v>43803</c:v>
                </c:pt>
                <c:pt idx="7623">
                  <c:v>43804</c:v>
                </c:pt>
                <c:pt idx="7624">
                  <c:v>43805</c:v>
                </c:pt>
                <c:pt idx="7625">
                  <c:v>43808</c:v>
                </c:pt>
                <c:pt idx="7626">
                  <c:v>43809</c:v>
                </c:pt>
                <c:pt idx="7627">
                  <c:v>43810</c:v>
                </c:pt>
                <c:pt idx="7628">
                  <c:v>43811</c:v>
                </c:pt>
                <c:pt idx="7629">
                  <c:v>43812</c:v>
                </c:pt>
                <c:pt idx="7630">
                  <c:v>43815</c:v>
                </c:pt>
                <c:pt idx="7631">
                  <c:v>43816</c:v>
                </c:pt>
                <c:pt idx="7632">
                  <c:v>43817</c:v>
                </c:pt>
                <c:pt idx="7633">
                  <c:v>43818</c:v>
                </c:pt>
                <c:pt idx="7634">
                  <c:v>43819</c:v>
                </c:pt>
                <c:pt idx="7635">
                  <c:v>43822</c:v>
                </c:pt>
                <c:pt idx="7636">
                  <c:v>43823</c:v>
                </c:pt>
                <c:pt idx="7637">
                  <c:v>43825</c:v>
                </c:pt>
                <c:pt idx="7638">
                  <c:v>43826</c:v>
                </c:pt>
                <c:pt idx="7639">
                  <c:v>43829</c:v>
                </c:pt>
                <c:pt idx="7640">
                  <c:v>43830</c:v>
                </c:pt>
                <c:pt idx="7641">
                  <c:v>43832</c:v>
                </c:pt>
                <c:pt idx="7642">
                  <c:v>43833</c:v>
                </c:pt>
                <c:pt idx="7643">
                  <c:v>43836</c:v>
                </c:pt>
                <c:pt idx="7644">
                  <c:v>43837</c:v>
                </c:pt>
                <c:pt idx="7645">
                  <c:v>43838</c:v>
                </c:pt>
                <c:pt idx="7646">
                  <c:v>43839</c:v>
                </c:pt>
                <c:pt idx="7647">
                  <c:v>43840</c:v>
                </c:pt>
                <c:pt idx="7648">
                  <c:v>43843</c:v>
                </c:pt>
                <c:pt idx="7649">
                  <c:v>43844</c:v>
                </c:pt>
                <c:pt idx="7650">
                  <c:v>43845</c:v>
                </c:pt>
                <c:pt idx="7651">
                  <c:v>43846</c:v>
                </c:pt>
                <c:pt idx="7652">
                  <c:v>43847</c:v>
                </c:pt>
                <c:pt idx="7653">
                  <c:v>43851</c:v>
                </c:pt>
                <c:pt idx="7654">
                  <c:v>43852</c:v>
                </c:pt>
                <c:pt idx="7655">
                  <c:v>43853</c:v>
                </c:pt>
                <c:pt idx="7656">
                  <c:v>43854</c:v>
                </c:pt>
                <c:pt idx="7657">
                  <c:v>43857</c:v>
                </c:pt>
                <c:pt idx="7658">
                  <c:v>43858</c:v>
                </c:pt>
                <c:pt idx="7659">
                  <c:v>43859</c:v>
                </c:pt>
                <c:pt idx="7660">
                  <c:v>43860</c:v>
                </c:pt>
                <c:pt idx="7661">
                  <c:v>43861</c:v>
                </c:pt>
                <c:pt idx="7662">
                  <c:v>43864</c:v>
                </c:pt>
                <c:pt idx="7663">
                  <c:v>43865</c:v>
                </c:pt>
                <c:pt idx="7664">
                  <c:v>43866</c:v>
                </c:pt>
                <c:pt idx="7665">
                  <c:v>43867</c:v>
                </c:pt>
                <c:pt idx="7666">
                  <c:v>43868</c:v>
                </c:pt>
                <c:pt idx="7667">
                  <c:v>43871</c:v>
                </c:pt>
                <c:pt idx="7668">
                  <c:v>43872</c:v>
                </c:pt>
                <c:pt idx="7669">
                  <c:v>43873</c:v>
                </c:pt>
                <c:pt idx="7670">
                  <c:v>43874</c:v>
                </c:pt>
                <c:pt idx="7671">
                  <c:v>43875</c:v>
                </c:pt>
                <c:pt idx="7672">
                  <c:v>43879</c:v>
                </c:pt>
                <c:pt idx="7673">
                  <c:v>43880</c:v>
                </c:pt>
                <c:pt idx="7674">
                  <c:v>43881</c:v>
                </c:pt>
                <c:pt idx="7675">
                  <c:v>43882</c:v>
                </c:pt>
                <c:pt idx="7676">
                  <c:v>43885</c:v>
                </c:pt>
                <c:pt idx="7677">
                  <c:v>43886</c:v>
                </c:pt>
                <c:pt idx="7678">
                  <c:v>43887</c:v>
                </c:pt>
                <c:pt idx="7679">
                  <c:v>43888</c:v>
                </c:pt>
                <c:pt idx="7680">
                  <c:v>43889</c:v>
                </c:pt>
                <c:pt idx="7681">
                  <c:v>43892</c:v>
                </c:pt>
                <c:pt idx="7682">
                  <c:v>43893</c:v>
                </c:pt>
                <c:pt idx="7683">
                  <c:v>43894</c:v>
                </c:pt>
                <c:pt idx="7684">
                  <c:v>43895</c:v>
                </c:pt>
                <c:pt idx="7685">
                  <c:v>43896</c:v>
                </c:pt>
                <c:pt idx="7686">
                  <c:v>43899</c:v>
                </c:pt>
                <c:pt idx="7687">
                  <c:v>43900</c:v>
                </c:pt>
                <c:pt idx="7688">
                  <c:v>43901</c:v>
                </c:pt>
                <c:pt idx="7689">
                  <c:v>43902</c:v>
                </c:pt>
                <c:pt idx="7690">
                  <c:v>43903</c:v>
                </c:pt>
                <c:pt idx="7691">
                  <c:v>43906</c:v>
                </c:pt>
                <c:pt idx="7692">
                  <c:v>43907</c:v>
                </c:pt>
                <c:pt idx="7693">
                  <c:v>43908</c:v>
                </c:pt>
                <c:pt idx="7694">
                  <c:v>43909</c:v>
                </c:pt>
                <c:pt idx="7695">
                  <c:v>43910</c:v>
                </c:pt>
                <c:pt idx="7696">
                  <c:v>43913</c:v>
                </c:pt>
                <c:pt idx="7697">
                  <c:v>43914</c:v>
                </c:pt>
                <c:pt idx="7698">
                  <c:v>43915</c:v>
                </c:pt>
                <c:pt idx="7699">
                  <c:v>43916</c:v>
                </c:pt>
                <c:pt idx="7700">
                  <c:v>43917</c:v>
                </c:pt>
                <c:pt idx="7701">
                  <c:v>43920</c:v>
                </c:pt>
                <c:pt idx="7702">
                  <c:v>43921</c:v>
                </c:pt>
                <c:pt idx="7703">
                  <c:v>43922</c:v>
                </c:pt>
                <c:pt idx="7704">
                  <c:v>43923</c:v>
                </c:pt>
                <c:pt idx="7705">
                  <c:v>43924</c:v>
                </c:pt>
                <c:pt idx="7706">
                  <c:v>43927</c:v>
                </c:pt>
                <c:pt idx="7707">
                  <c:v>43928</c:v>
                </c:pt>
                <c:pt idx="7708">
                  <c:v>43929</c:v>
                </c:pt>
                <c:pt idx="7709">
                  <c:v>43930</c:v>
                </c:pt>
                <c:pt idx="7710">
                  <c:v>43934</c:v>
                </c:pt>
                <c:pt idx="7711">
                  <c:v>43935</c:v>
                </c:pt>
                <c:pt idx="7712">
                  <c:v>43936</c:v>
                </c:pt>
                <c:pt idx="7713">
                  <c:v>43937</c:v>
                </c:pt>
                <c:pt idx="7714">
                  <c:v>43938</c:v>
                </c:pt>
                <c:pt idx="7715">
                  <c:v>43941</c:v>
                </c:pt>
                <c:pt idx="7716">
                  <c:v>43942</c:v>
                </c:pt>
                <c:pt idx="7717">
                  <c:v>43943</c:v>
                </c:pt>
                <c:pt idx="7718">
                  <c:v>43944</c:v>
                </c:pt>
                <c:pt idx="7719">
                  <c:v>43945</c:v>
                </c:pt>
                <c:pt idx="7720">
                  <c:v>43948</c:v>
                </c:pt>
                <c:pt idx="7721">
                  <c:v>43949</c:v>
                </c:pt>
                <c:pt idx="7722">
                  <c:v>43950</c:v>
                </c:pt>
                <c:pt idx="7723">
                  <c:v>43951</c:v>
                </c:pt>
                <c:pt idx="7724">
                  <c:v>43952</c:v>
                </c:pt>
                <c:pt idx="7725">
                  <c:v>43955</c:v>
                </c:pt>
                <c:pt idx="7726">
                  <c:v>43956</c:v>
                </c:pt>
                <c:pt idx="7727">
                  <c:v>43957</c:v>
                </c:pt>
                <c:pt idx="7728">
                  <c:v>43958</c:v>
                </c:pt>
                <c:pt idx="7729">
                  <c:v>43959</c:v>
                </c:pt>
                <c:pt idx="7730">
                  <c:v>43962</c:v>
                </c:pt>
                <c:pt idx="7731">
                  <c:v>43963</c:v>
                </c:pt>
                <c:pt idx="7732">
                  <c:v>43964</c:v>
                </c:pt>
                <c:pt idx="7733">
                  <c:v>43965</c:v>
                </c:pt>
                <c:pt idx="7734">
                  <c:v>43966</c:v>
                </c:pt>
                <c:pt idx="7735">
                  <c:v>43969</c:v>
                </c:pt>
                <c:pt idx="7736">
                  <c:v>43970</c:v>
                </c:pt>
                <c:pt idx="7737">
                  <c:v>43971</c:v>
                </c:pt>
                <c:pt idx="7738">
                  <c:v>43972</c:v>
                </c:pt>
                <c:pt idx="7739">
                  <c:v>43973</c:v>
                </c:pt>
                <c:pt idx="7740">
                  <c:v>43977</c:v>
                </c:pt>
                <c:pt idx="7741">
                  <c:v>43978</c:v>
                </c:pt>
                <c:pt idx="7742">
                  <c:v>43979</c:v>
                </c:pt>
                <c:pt idx="7743">
                  <c:v>43980</c:v>
                </c:pt>
                <c:pt idx="7744">
                  <c:v>43983</c:v>
                </c:pt>
                <c:pt idx="7745">
                  <c:v>43984</c:v>
                </c:pt>
                <c:pt idx="7746">
                  <c:v>43985</c:v>
                </c:pt>
                <c:pt idx="7747">
                  <c:v>43986</c:v>
                </c:pt>
                <c:pt idx="7748">
                  <c:v>43987</c:v>
                </c:pt>
                <c:pt idx="7749">
                  <c:v>43990</c:v>
                </c:pt>
                <c:pt idx="7750">
                  <c:v>43991</c:v>
                </c:pt>
                <c:pt idx="7751">
                  <c:v>43992</c:v>
                </c:pt>
                <c:pt idx="7752">
                  <c:v>43993</c:v>
                </c:pt>
                <c:pt idx="7753">
                  <c:v>43994</c:v>
                </c:pt>
                <c:pt idx="7754">
                  <c:v>43997</c:v>
                </c:pt>
                <c:pt idx="7755">
                  <c:v>43998</c:v>
                </c:pt>
                <c:pt idx="7756">
                  <c:v>43999</c:v>
                </c:pt>
                <c:pt idx="7757">
                  <c:v>44000</c:v>
                </c:pt>
                <c:pt idx="7758">
                  <c:v>44001</c:v>
                </c:pt>
                <c:pt idx="7759">
                  <c:v>44004</c:v>
                </c:pt>
                <c:pt idx="7760">
                  <c:v>44005</c:v>
                </c:pt>
                <c:pt idx="7761">
                  <c:v>44006</c:v>
                </c:pt>
                <c:pt idx="7762">
                  <c:v>44007</c:v>
                </c:pt>
                <c:pt idx="7763">
                  <c:v>44008</c:v>
                </c:pt>
                <c:pt idx="7764">
                  <c:v>44011</c:v>
                </c:pt>
                <c:pt idx="7765">
                  <c:v>44012</c:v>
                </c:pt>
                <c:pt idx="7766">
                  <c:v>44013</c:v>
                </c:pt>
                <c:pt idx="7767">
                  <c:v>44014</c:v>
                </c:pt>
                <c:pt idx="7768">
                  <c:v>44018</c:v>
                </c:pt>
                <c:pt idx="7769">
                  <c:v>44019</c:v>
                </c:pt>
                <c:pt idx="7770">
                  <c:v>44020</c:v>
                </c:pt>
                <c:pt idx="7771">
                  <c:v>44021</c:v>
                </c:pt>
                <c:pt idx="7772">
                  <c:v>44022</c:v>
                </c:pt>
                <c:pt idx="7773">
                  <c:v>44025</c:v>
                </c:pt>
                <c:pt idx="7774">
                  <c:v>44026</c:v>
                </c:pt>
                <c:pt idx="7775">
                  <c:v>44027</c:v>
                </c:pt>
                <c:pt idx="7776">
                  <c:v>44028</c:v>
                </c:pt>
                <c:pt idx="7777">
                  <c:v>44029</c:v>
                </c:pt>
                <c:pt idx="7778">
                  <c:v>44032</c:v>
                </c:pt>
                <c:pt idx="7779">
                  <c:v>44033</c:v>
                </c:pt>
                <c:pt idx="7780">
                  <c:v>44034</c:v>
                </c:pt>
                <c:pt idx="7781">
                  <c:v>44035</c:v>
                </c:pt>
                <c:pt idx="7782">
                  <c:v>44036</c:v>
                </c:pt>
                <c:pt idx="7783">
                  <c:v>44039</c:v>
                </c:pt>
                <c:pt idx="7784">
                  <c:v>44040</c:v>
                </c:pt>
                <c:pt idx="7785">
                  <c:v>44041</c:v>
                </c:pt>
                <c:pt idx="7786">
                  <c:v>44042</c:v>
                </c:pt>
                <c:pt idx="7787">
                  <c:v>44043</c:v>
                </c:pt>
                <c:pt idx="7788">
                  <c:v>44046</c:v>
                </c:pt>
                <c:pt idx="7789">
                  <c:v>44047</c:v>
                </c:pt>
                <c:pt idx="7790">
                  <c:v>44048</c:v>
                </c:pt>
                <c:pt idx="7791">
                  <c:v>44049</c:v>
                </c:pt>
                <c:pt idx="7792">
                  <c:v>44050</c:v>
                </c:pt>
                <c:pt idx="7793">
                  <c:v>44053</c:v>
                </c:pt>
                <c:pt idx="7794">
                  <c:v>44054</c:v>
                </c:pt>
                <c:pt idx="7795">
                  <c:v>44055</c:v>
                </c:pt>
                <c:pt idx="7796">
                  <c:v>44056</c:v>
                </c:pt>
                <c:pt idx="7797">
                  <c:v>44057</c:v>
                </c:pt>
                <c:pt idx="7798">
                  <c:v>44060</c:v>
                </c:pt>
                <c:pt idx="7799">
                  <c:v>44061</c:v>
                </c:pt>
                <c:pt idx="7800">
                  <c:v>44062</c:v>
                </c:pt>
                <c:pt idx="7801">
                  <c:v>44063</c:v>
                </c:pt>
                <c:pt idx="7802">
                  <c:v>44064</c:v>
                </c:pt>
                <c:pt idx="7803">
                  <c:v>44067</c:v>
                </c:pt>
                <c:pt idx="7804">
                  <c:v>44068</c:v>
                </c:pt>
                <c:pt idx="7805">
                  <c:v>44069</c:v>
                </c:pt>
                <c:pt idx="7806">
                  <c:v>44070</c:v>
                </c:pt>
                <c:pt idx="7807">
                  <c:v>44071</c:v>
                </c:pt>
                <c:pt idx="7808">
                  <c:v>44074</c:v>
                </c:pt>
                <c:pt idx="7809">
                  <c:v>44075</c:v>
                </c:pt>
                <c:pt idx="7810">
                  <c:v>44076</c:v>
                </c:pt>
                <c:pt idx="7811">
                  <c:v>44077</c:v>
                </c:pt>
                <c:pt idx="7812">
                  <c:v>44078</c:v>
                </c:pt>
                <c:pt idx="7813">
                  <c:v>44082</c:v>
                </c:pt>
                <c:pt idx="7814">
                  <c:v>44083</c:v>
                </c:pt>
                <c:pt idx="7815">
                  <c:v>44084</c:v>
                </c:pt>
                <c:pt idx="7816">
                  <c:v>44085</c:v>
                </c:pt>
                <c:pt idx="7817">
                  <c:v>44088</c:v>
                </c:pt>
                <c:pt idx="7818">
                  <c:v>44089</c:v>
                </c:pt>
                <c:pt idx="7819">
                  <c:v>44090</c:v>
                </c:pt>
                <c:pt idx="7820">
                  <c:v>44091</c:v>
                </c:pt>
                <c:pt idx="7821">
                  <c:v>44092</c:v>
                </c:pt>
                <c:pt idx="7822">
                  <c:v>44095</c:v>
                </c:pt>
                <c:pt idx="7823">
                  <c:v>44096</c:v>
                </c:pt>
                <c:pt idx="7824">
                  <c:v>44097</c:v>
                </c:pt>
                <c:pt idx="7825">
                  <c:v>44098</c:v>
                </c:pt>
                <c:pt idx="7826">
                  <c:v>44099</c:v>
                </c:pt>
                <c:pt idx="7827">
                  <c:v>44102</c:v>
                </c:pt>
                <c:pt idx="7828">
                  <c:v>44103</c:v>
                </c:pt>
                <c:pt idx="7829">
                  <c:v>44104</c:v>
                </c:pt>
                <c:pt idx="7830">
                  <c:v>44105</c:v>
                </c:pt>
                <c:pt idx="7831">
                  <c:v>44106</c:v>
                </c:pt>
                <c:pt idx="7832">
                  <c:v>44109</c:v>
                </c:pt>
                <c:pt idx="7833">
                  <c:v>44110</c:v>
                </c:pt>
                <c:pt idx="7834">
                  <c:v>44111</c:v>
                </c:pt>
                <c:pt idx="7835">
                  <c:v>44112</c:v>
                </c:pt>
                <c:pt idx="7836">
                  <c:v>44113</c:v>
                </c:pt>
                <c:pt idx="7837">
                  <c:v>44116</c:v>
                </c:pt>
                <c:pt idx="7838">
                  <c:v>44117</c:v>
                </c:pt>
                <c:pt idx="7839">
                  <c:v>44118</c:v>
                </c:pt>
                <c:pt idx="7840">
                  <c:v>44119</c:v>
                </c:pt>
                <c:pt idx="7841">
                  <c:v>44120</c:v>
                </c:pt>
                <c:pt idx="7842">
                  <c:v>44123</c:v>
                </c:pt>
                <c:pt idx="7843">
                  <c:v>44124</c:v>
                </c:pt>
                <c:pt idx="7844">
                  <c:v>44125</c:v>
                </c:pt>
                <c:pt idx="7845">
                  <c:v>44126</c:v>
                </c:pt>
                <c:pt idx="7846">
                  <c:v>44127</c:v>
                </c:pt>
                <c:pt idx="7847">
                  <c:v>44130</c:v>
                </c:pt>
                <c:pt idx="7848">
                  <c:v>44131</c:v>
                </c:pt>
                <c:pt idx="7849">
                  <c:v>44132</c:v>
                </c:pt>
                <c:pt idx="7850">
                  <c:v>44133</c:v>
                </c:pt>
                <c:pt idx="7851">
                  <c:v>44134</c:v>
                </c:pt>
                <c:pt idx="7852">
                  <c:v>44137</c:v>
                </c:pt>
                <c:pt idx="7853">
                  <c:v>44138</c:v>
                </c:pt>
                <c:pt idx="7854">
                  <c:v>44139</c:v>
                </c:pt>
                <c:pt idx="7855">
                  <c:v>44140</c:v>
                </c:pt>
                <c:pt idx="7856">
                  <c:v>44141</c:v>
                </c:pt>
                <c:pt idx="7857">
                  <c:v>44144</c:v>
                </c:pt>
                <c:pt idx="7858">
                  <c:v>44145</c:v>
                </c:pt>
                <c:pt idx="7859">
                  <c:v>44146</c:v>
                </c:pt>
                <c:pt idx="7860">
                  <c:v>44147</c:v>
                </c:pt>
                <c:pt idx="7861">
                  <c:v>44148</c:v>
                </c:pt>
                <c:pt idx="7862">
                  <c:v>44151</c:v>
                </c:pt>
                <c:pt idx="7863">
                  <c:v>44152</c:v>
                </c:pt>
                <c:pt idx="7864">
                  <c:v>44153</c:v>
                </c:pt>
                <c:pt idx="7865">
                  <c:v>44154</c:v>
                </c:pt>
                <c:pt idx="7866">
                  <c:v>44155</c:v>
                </c:pt>
                <c:pt idx="7867">
                  <c:v>44158</c:v>
                </c:pt>
                <c:pt idx="7868">
                  <c:v>44159</c:v>
                </c:pt>
                <c:pt idx="7869">
                  <c:v>44160</c:v>
                </c:pt>
                <c:pt idx="7870">
                  <c:v>44162</c:v>
                </c:pt>
                <c:pt idx="7871">
                  <c:v>44165</c:v>
                </c:pt>
                <c:pt idx="7872">
                  <c:v>44166</c:v>
                </c:pt>
                <c:pt idx="7873">
                  <c:v>44167</c:v>
                </c:pt>
                <c:pt idx="7874">
                  <c:v>44168</c:v>
                </c:pt>
                <c:pt idx="7875">
                  <c:v>44169</c:v>
                </c:pt>
                <c:pt idx="7876">
                  <c:v>44172</c:v>
                </c:pt>
                <c:pt idx="7877">
                  <c:v>44173</c:v>
                </c:pt>
                <c:pt idx="7878">
                  <c:v>44174</c:v>
                </c:pt>
                <c:pt idx="7879">
                  <c:v>44175</c:v>
                </c:pt>
                <c:pt idx="7880">
                  <c:v>44176</c:v>
                </c:pt>
                <c:pt idx="7881">
                  <c:v>44179</c:v>
                </c:pt>
                <c:pt idx="7882">
                  <c:v>44180</c:v>
                </c:pt>
                <c:pt idx="7883">
                  <c:v>44181</c:v>
                </c:pt>
                <c:pt idx="7884">
                  <c:v>44182</c:v>
                </c:pt>
                <c:pt idx="7885">
                  <c:v>44183</c:v>
                </c:pt>
                <c:pt idx="7886">
                  <c:v>44186</c:v>
                </c:pt>
                <c:pt idx="7887">
                  <c:v>44187</c:v>
                </c:pt>
                <c:pt idx="7888">
                  <c:v>44188</c:v>
                </c:pt>
                <c:pt idx="7889">
                  <c:v>44189</c:v>
                </c:pt>
                <c:pt idx="7890">
                  <c:v>44193</c:v>
                </c:pt>
                <c:pt idx="7891">
                  <c:v>44194</c:v>
                </c:pt>
                <c:pt idx="7892">
                  <c:v>44195</c:v>
                </c:pt>
                <c:pt idx="7893">
                  <c:v>44196</c:v>
                </c:pt>
                <c:pt idx="7894">
                  <c:v>44200</c:v>
                </c:pt>
                <c:pt idx="7895">
                  <c:v>44201</c:v>
                </c:pt>
                <c:pt idx="7896">
                  <c:v>44202</c:v>
                </c:pt>
                <c:pt idx="7897">
                  <c:v>44203</c:v>
                </c:pt>
                <c:pt idx="7898">
                  <c:v>44204</c:v>
                </c:pt>
                <c:pt idx="7899">
                  <c:v>44207</c:v>
                </c:pt>
                <c:pt idx="7900">
                  <c:v>44208</c:v>
                </c:pt>
                <c:pt idx="7901">
                  <c:v>44209</c:v>
                </c:pt>
                <c:pt idx="7902">
                  <c:v>44210</c:v>
                </c:pt>
                <c:pt idx="7903">
                  <c:v>44211</c:v>
                </c:pt>
                <c:pt idx="7904">
                  <c:v>44215</c:v>
                </c:pt>
                <c:pt idx="7905">
                  <c:v>44216</c:v>
                </c:pt>
                <c:pt idx="7906">
                  <c:v>44217</c:v>
                </c:pt>
                <c:pt idx="7907">
                  <c:v>44218</c:v>
                </c:pt>
                <c:pt idx="7908">
                  <c:v>44221</c:v>
                </c:pt>
                <c:pt idx="7909">
                  <c:v>44222</c:v>
                </c:pt>
                <c:pt idx="7910">
                  <c:v>44223</c:v>
                </c:pt>
                <c:pt idx="7911">
                  <c:v>44224</c:v>
                </c:pt>
                <c:pt idx="7912">
                  <c:v>44225</c:v>
                </c:pt>
                <c:pt idx="7913">
                  <c:v>44228</c:v>
                </c:pt>
                <c:pt idx="7914">
                  <c:v>44229</c:v>
                </c:pt>
                <c:pt idx="7915">
                  <c:v>44230</c:v>
                </c:pt>
                <c:pt idx="7916">
                  <c:v>44231</c:v>
                </c:pt>
                <c:pt idx="7917">
                  <c:v>44232</c:v>
                </c:pt>
                <c:pt idx="7918">
                  <c:v>44235</c:v>
                </c:pt>
                <c:pt idx="7919">
                  <c:v>44236</c:v>
                </c:pt>
                <c:pt idx="7920">
                  <c:v>44237</c:v>
                </c:pt>
                <c:pt idx="7921">
                  <c:v>44238</c:v>
                </c:pt>
                <c:pt idx="7922">
                  <c:v>44239</c:v>
                </c:pt>
                <c:pt idx="7923">
                  <c:v>44243</c:v>
                </c:pt>
                <c:pt idx="7924">
                  <c:v>44244</c:v>
                </c:pt>
                <c:pt idx="7925">
                  <c:v>44245</c:v>
                </c:pt>
                <c:pt idx="7926">
                  <c:v>44246</c:v>
                </c:pt>
                <c:pt idx="7927">
                  <c:v>44249</c:v>
                </c:pt>
                <c:pt idx="7928">
                  <c:v>44250</c:v>
                </c:pt>
                <c:pt idx="7929">
                  <c:v>44251</c:v>
                </c:pt>
                <c:pt idx="7930">
                  <c:v>44252</c:v>
                </c:pt>
                <c:pt idx="7931">
                  <c:v>44253</c:v>
                </c:pt>
                <c:pt idx="7932">
                  <c:v>44256</c:v>
                </c:pt>
                <c:pt idx="7933">
                  <c:v>44257</c:v>
                </c:pt>
                <c:pt idx="7934">
                  <c:v>44258</c:v>
                </c:pt>
                <c:pt idx="7935">
                  <c:v>44259</c:v>
                </c:pt>
                <c:pt idx="7936">
                  <c:v>44260</c:v>
                </c:pt>
                <c:pt idx="7937">
                  <c:v>44263</c:v>
                </c:pt>
                <c:pt idx="7938">
                  <c:v>44264</c:v>
                </c:pt>
                <c:pt idx="7939">
                  <c:v>44265</c:v>
                </c:pt>
                <c:pt idx="7940">
                  <c:v>44266</c:v>
                </c:pt>
                <c:pt idx="7941">
                  <c:v>44267</c:v>
                </c:pt>
                <c:pt idx="7942">
                  <c:v>44270</c:v>
                </c:pt>
                <c:pt idx="7943">
                  <c:v>44271</c:v>
                </c:pt>
                <c:pt idx="7944">
                  <c:v>44272</c:v>
                </c:pt>
                <c:pt idx="7945">
                  <c:v>44273</c:v>
                </c:pt>
                <c:pt idx="7946">
                  <c:v>44274</c:v>
                </c:pt>
                <c:pt idx="7947">
                  <c:v>44277</c:v>
                </c:pt>
                <c:pt idx="7948">
                  <c:v>44278</c:v>
                </c:pt>
                <c:pt idx="7949">
                  <c:v>44279</c:v>
                </c:pt>
                <c:pt idx="7950">
                  <c:v>44280</c:v>
                </c:pt>
                <c:pt idx="7951">
                  <c:v>44281</c:v>
                </c:pt>
                <c:pt idx="7952">
                  <c:v>44284</c:v>
                </c:pt>
                <c:pt idx="7953">
                  <c:v>44285</c:v>
                </c:pt>
                <c:pt idx="7954">
                  <c:v>44286</c:v>
                </c:pt>
                <c:pt idx="7955">
                  <c:v>44287</c:v>
                </c:pt>
                <c:pt idx="7956">
                  <c:v>44291</c:v>
                </c:pt>
                <c:pt idx="7957">
                  <c:v>44292</c:v>
                </c:pt>
                <c:pt idx="7958">
                  <c:v>44293</c:v>
                </c:pt>
                <c:pt idx="7959">
                  <c:v>44294</c:v>
                </c:pt>
                <c:pt idx="7960">
                  <c:v>44295</c:v>
                </c:pt>
                <c:pt idx="7961">
                  <c:v>44298</c:v>
                </c:pt>
                <c:pt idx="7962">
                  <c:v>44299</c:v>
                </c:pt>
                <c:pt idx="7963">
                  <c:v>44300</c:v>
                </c:pt>
                <c:pt idx="7964">
                  <c:v>44301</c:v>
                </c:pt>
                <c:pt idx="7965">
                  <c:v>44302</c:v>
                </c:pt>
                <c:pt idx="7966">
                  <c:v>44305</c:v>
                </c:pt>
                <c:pt idx="7967">
                  <c:v>44306</c:v>
                </c:pt>
                <c:pt idx="7968">
                  <c:v>44307</c:v>
                </c:pt>
                <c:pt idx="7969">
                  <c:v>44308</c:v>
                </c:pt>
                <c:pt idx="7970">
                  <c:v>44309</c:v>
                </c:pt>
                <c:pt idx="7971">
                  <c:v>44312</c:v>
                </c:pt>
                <c:pt idx="7972">
                  <c:v>44313</c:v>
                </c:pt>
                <c:pt idx="7973">
                  <c:v>44314</c:v>
                </c:pt>
                <c:pt idx="7974">
                  <c:v>44315</c:v>
                </c:pt>
                <c:pt idx="7975">
                  <c:v>44316</c:v>
                </c:pt>
                <c:pt idx="7976">
                  <c:v>44319</c:v>
                </c:pt>
                <c:pt idx="7977">
                  <c:v>44320</c:v>
                </c:pt>
                <c:pt idx="7978">
                  <c:v>44321</c:v>
                </c:pt>
                <c:pt idx="7979">
                  <c:v>44322</c:v>
                </c:pt>
                <c:pt idx="7980">
                  <c:v>44323</c:v>
                </c:pt>
                <c:pt idx="7981">
                  <c:v>44326</c:v>
                </c:pt>
                <c:pt idx="7982">
                  <c:v>44327</c:v>
                </c:pt>
                <c:pt idx="7983">
                  <c:v>44328</c:v>
                </c:pt>
                <c:pt idx="7984">
                  <c:v>44329</c:v>
                </c:pt>
                <c:pt idx="7985">
                  <c:v>44330</c:v>
                </c:pt>
                <c:pt idx="7986">
                  <c:v>44333</c:v>
                </c:pt>
                <c:pt idx="7987">
                  <c:v>44334</c:v>
                </c:pt>
                <c:pt idx="7988">
                  <c:v>44335</c:v>
                </c:pt>
                <c:pt idx="7989">
                  <c:v>44336</c:v>
                </c:pt>
                <c:pt idx="7990">
                  <c:v>44337</c:v>
                </c:pt>
                <c:pt idx="7991">
                  <c:v>44340</c:v>
                </c:pt>
                <c:pt idx="7992">
                  <c:v>44341</c:v>
                </c:pt>
                <c:pt idx="7993">
                  <c:v>44342</c:v>
                </c:pt>
                <c:pt idx="7994">
                  <c:v>44343</c:v>
                </c:pt>
                <c:pt idx="7995">
                  <c:v>44344</c:v>
                </c:pt>
                <c:pt idx="7996">
                  <c:v>44348</c:v>
                </c:pt>
                <c:pt idx="7997">
                  <c:v>44349</c:v>
                </c:pt>
                <c:pt idx="7998">
                  <c:v>44350</c:v>
                </c:pt>
                <c:pt idx="7999">
                  <c:v>44351</c:v>
                </c:pt>
                <c:pt idx="8000">
                  <c:v>44354</c:v>
                </c:pt>
                <c:pt idx="8001">
                  <c:v>44355</c:v>
                </c:pt>
                <c:pt idx="8002">
                  <c:v>44356</c:v>
                </c:pt>
                <c:pt idx="8003">
                  <c:v>44357</c:v>
                </c:pt>
                <c:pt idx="8004">
                  <c:v>44358</c:v>
                </c:pt>
                <c:pt idx="8005">
                  <c:v>44361</c:v>
                </c:pt>
                <c:pt idx="8006">
                  <c:v>44362</c:v>
                </c:pt>
                <c:pt idx="8007">
                  <c:v>44363</c:v>
                </c:pt>
                <c:pt idx="8008">
                  <c:v>44364</c:v>
                </c:pt>
                <c:pt idx="8009">
                  <c:v>44365</c:v>
                </c:pt>
                <c:pt idx="8010">
                  <c:v>44368</c:v>
                </c:pt>
                <c:pt idx="8011">
                  <c:v>44369</c:v>
                </c:pt>
                <c:pt idx="8012">
                  <c:v>44370</c:v>
                </c:pt>
                <c:pt idx="8013">
                  <c:v>44371</c:v>
                </c:pt>
                <c:pt idx="8014">
                  <c:v>44372</c:v>
                </c:pt>
                <c:pt idx="8015">
                  <c:v>44375</c:v>
                </c:pt>
                <c:pt idx="8016">
                  <c:v>44376</c:v>
                </c:pt>
                <c:pt idx="8017">
                  <c:v>44377</c:v>
                </c:pt>
                <c:pt idx="8018">
                  <c:v>44378</c:v>
                </c:pt>
                <c:pt idx="8019">
                  <c:v>44379</c:v>
                </c:pt>
                <c:pt idx="8020">
                  <c:v>44383</c:v>
                </c:pt>
                <c:pt idx="8021">
                  <c:v>44384</c:v>
                </c:pt>
                <c:pt idx="8022">
                  <c:v>44385</c:v>
                </c:pt>
                <c:pt idx="8023">
                  <c:v>44386</c:v>
                </c:pt>
                <c:pt idx="8024">
                  <c:v>44389</c:v>
                </c:pt>
                <c:pt idx="8025">
                  <c:v>44390</c:v>
                </c:pt>
                <c:pt idx="8026">
                  <c:v>44391</c:v>
                </c:pt>
                <c:pt idx="8027">
                  <c:v>44392</c:v>
                </c:pt>
                <c:pt idx="8028">
                  <c:v>44393</c:v>
                </c:pt>
                <c:pt idx="8029">
                  <c:v>44396</c:v>
                </c:pt>
                <c:pt idx="8030">
                  <c:v>44397</c:v>
                </c:pt>
                <c:pt idx="8031">
                  <c:v>44398</c:v>
                </c:pt>
                <c:pt idx="8032">
                  <c:v>44399</c:v>
                </c:pt>
                <c:pt idx="8033">
                  <c:v>44400</c:v>
                </c:pt>
                <c:pt idx="8034">
                  <c:v>44403</c:v>
                </c:pt>
                <c:pt idx="8035">
                  <c:v>44404</c:v>
                </c:pt>
                <c:pt idx="8036">
                  <c:v>44405</c:v>
                </c:pt>
                <c:pt idx="8037">
                  <c:v>44406</c:v>
                </c:pt>
                <c:pt idx="8038">
                  <c:v>44407</c:v>
                </c:pt>
                <c:pt idx="8039">
                  <c:v>44410</c:v>
                </c:pt>
                <c:pt idx="8040">
                  <c:v>44411</c:v>
                </c:pt>
                <c:pt idx="8041">
                  <c:v>44412</c:v>
                </c:pt>
                <c:pt idx="8042">
                  <c:v>44413</c:v>
                </c:pt>
                <c:pt idx="8043">
                  <c:v>44414</c:v>
                </c:pt>
                <c:pt idx="8044">
                  <c:v>44417</c:v>
                </c:pt>
                <c:pt idx="8045">
                  <c:v>44418</c:v>
                </c:pt>
                <c:pt idx="8046">
                  <c:v>44419</c:v>
                </c:pt>
                <c:pt idx="8047">
                  <c:v>44420</c:v>
                </c:pt>
                <c:pt idx="8048">
                  <c:v>44421</c:v>
                </c:pt>
                <c:pt idx="8049">
                  <c:v>44424</c:v>
                </c:pt>
                <c:pt idx="8050">
                  <c:v>44425</c:v>
                </c:pt>
                <c:pt idx="8051">
                  <c:v>44426</c:v>
                </c:pt>
                <c:pt idx="8052">
                  <c:v>44427</c:v>
                </c:pt>
                <c:pt idx="8053">
                  <c:v>44428</c:v>
                </c:pt>
                <c:pt idx="8054">
                  <c:v>44431</c:v>
                </c:pt>
                <c:pt idx="8055">
                  <c:v>44432</c:v>
                </c:pt>
                <c:pt idx="8056">
                  <c:v>44433</c:v>
                </c:pt>
                <c:pt idx="8057">
                  <c:v>44434</c:v>
                </c:pt>
                <c:pt idx="8058">
                  <c:v>44435</c:v>
                </c:pt>
                <c:pt idx="8059">
                  <c:v>44438</c:v>
                </c:pt>
                <c:pt idx="8060">
                  <c:v>44439</c:v>
                </c:pt>
                <c:pt idx="8061">
                  <c:v>44440</c:v>
                </c:pt>
                <c:pt idx="8062">
                  <c:v>44441</c:v>
                </c:pt>
                <c:pt idx="8063">
                  <c:v>44442</c:v>
                </c:pt>
                <c:pt idx="8064">
                  <c:v>44446</c:v>
                </c:pt>
                <c:pt idx="8065">
                  <c:v>44447</c:v>
                </c:pt>
                <c:pt idx="8066">
                  <c:v>44448</c:v>
                </c:pt>
                <c:pt idx="8067">
                  <c:v>44449</c:v>
                </c:pt>
                <c:pt idx="8068">
                  <c:v>44452</c:v>
                </c:pt>
                <c:pt idx="8069">
                  <c:v>44453</c:v>
                </c:pt>
                <c:pt idx="8070">
                  <c:v>44454</c:v>
                </c:pt>
                <c:pt idx="8071">
                  <c:v>44455</c:v>
                </c:pt>
                <c:pt idx="8072">
                  <c:v>44456</c:v>
                </c:pt>
                <c:pt idx="8073">
                  <c:v>44459</c:v>
                </c:pt>
                <c:pt idx="8074">
                  <c:v>44460</c:v>
                </c:pt>
                <c:pt idx="8075">
                  <c:v>44461</c:v>
                </c:pt>
                <c:pt idx="8076">
                  <c:v>44462</c:v>
                </c:pt>
                <c:pt idx="8077">
                  <c:v>44463</c:v>
                </c:pt>
                <c:pt idx="8078">
                  <c:v>44466</c:v>
                </c:pt>
                <c:pt idx="8079">
                  <c:v>44467</c:v>
                </c:pt>
                <c:pt idx="8080">
                  <c:v>44468</c:v>
                </c:pt>
                <c:pt idx="8081">
                  <c:v>44469</c:v>
                </c:pt>
                <c:pt idx="8082">
                  <c:v>44470</c:v>
                </c:pt>
                <c:pt idx="8083">
                  <c:v>44473</c:v>
                </c:pt>
                <c:pt idx="8084">
                  <c:v>44474</c:v>
                </c:pt>
                <c:pt idx="8085">
                  <c:v>44475</c:v>
                </c:pt>
                <c:pt idx="8086">
                  <c:v>44476</c:v>
                </c:pt>
                <c:pt idx="8087">
                  <c:v>44477</c:v>
                </c:pt>
                <c:pt idx="8088">
                  <c:v>44480</c:v>
                </c:pt>
                <c:pt idx="8089">
                  <c:v>44481</c:v>
                </c:pt>
                <c:pt idx="8090">
                  <c:v>44482</c:v>
                </c:pt>
                <c:pt idx="8091">
                  <c:v>44483</c:v>
                </c:pt>
                <c:pt idx="8092">
                  <c:v>44484</c:v>
                </c:pt>
                <c:pt idx="8093">
                  <c:v>44487</c:v>
                </c:pt>
                <c:pt idx="8094">
                  <c:v>44488</c:v>
                </c:pt>
                <c:pt idx="8095">
                  <c:v>44489</c:v>
                </c:pt>
                <c:pt idx="8096">
                  <c:v>44490</c:v>
                </c:pt>
                <c:pt idx="8097">
                  <c:v>44491</c:v>
                </c:pt>
                <c:pt idx="8098">
                  <c:v>44494</c:v>
                </c:pt>
                <c:pt idx="8099">
                  <c:v>44495</c:v>
                </c:pt>
                <c:pt idx="8100">
                  <c:v>44496</c:v>
                </c:pt>
                <c:pt idx="8101">
                  <c:v>44497</c:v>
                </c:pt>
                <c:pt idx="8102">
                  <c:v>44498</c:v>
                </c:pt>
                <c:pt idx="8103">
                  <c:v>44501</c:v>
                </c:pt>
                <c:pt idx="8104">
                  <c:v>44502</c:v>
                </c:pt>
                <c:pt idx="8105">
                  <c:v>44503</c:v>
                </c:pt>
                <c:pt idx="8106">
                  <c:v>44504</c:v>
                </c:pt>
                <c:pt idx="8107">
                  <c:v>44505</c:v>
                </c:pt>
                <c:pt idx="8108">
                  <c:v>44508</c:v>
                </c:pt>
                <c:pt idx="8109">
                  <c:v>44509</c:v>
                </c:pt>
                <c:pt idx="8110">
                  <c:v>44510</c:v>
                </c:pt>
                <c:pt idx="8111">
                  <c:v>44511</c:v>
                </c:pt>
                <c:pt idx="8112">
                  <c:v>44512</c:v>
                </c:pt>
                <c:pt idx="8113">
                  <c:v>44515</c:v>
                </c:pt>
                <c:pt idx="8114">
                  <c:v>44516</c:v>
                </c:pt>
                <c:pt idx="8115">
                  <c:v>44517</c:v>
                </c:pt>
                <c:pt idx="8116">
                  <c:v>44518</c:v>
                </c:pt>
                <c:pt idx="8117">
                  <c:v>44519</c:v>
                </c:pt>
                <c:pt idx="8118">
                  <c:v>44522</c:v>
                </c:pt>
                <c:pt idx="8119">
                  <c:v>44523</c:v>
                </c:pt>
                <c:pt idx="8120">
                  <c:v>44524</c:v>
                </c:pt>
                <c:pt idx="8121">
                  <c:v>44526</c:v>
                </c:pt>
                <c:pt idx="8122">
                  <c:v>44529</c:v>
                </c:pt>
                <c:pt idx="8123">
                  <c:v>44530</c:v>
                </c:pt>
                <c:pt idx="8124">
                  <c:v>44531</c:v>
                </c:pt>
                <c:pt idx="8125">
                  <c:v>44532</c:v>
                </c:pt>
                <c:pt idx="8126">
                  <c:v>44533</c:v>
                </c:pt>
                <c:pt idx="8127">
                  <c:v>44536</c:v>
                </c:pt>
                <c:pt idx="8128">
                  <c:v>44537</c:v>
                </c:pt>
                <c:pt idx="8129">
                  <c:v>44538</c:v>
                </c:pt>
                <c:pt idx="8130">
                  <c:v>44539</c:v>
                </c:pt>
                <c:pt idx="8131">
                  <c:v>44540</c:v>
                </c:pt>
                <c:pt idx="8132">
                  <c:v>44543</c:v>
                </c:pt>
                <c:pt idx="8133">
                  <c:v>44544</c:v>
                </c:pt>
                <c:pt idx="8134">
                  <c:v>44545</c:v>
                </c:pt>
                <c:pt idx="8135">
                  <c:v>44546</c:v>
                </c:pt>
                <c:pt idx="8136">
                  <c:v>44547</c:v>
                </c:pt>
                <c:pt idx="8137">
                  <c:v>44550</c:v>
                </c:pt>
                <c:pt idx="8138">
                  <c:v>44551</c:v>
                </c:pt>
                <c:pt idx="8139">
                  <c:v>44552</c:v>
                </c:pt>
                <c:pt idx="8140">
                  <c:v>44553</c:v>
                </c:pt>
                <c:pt idx="8141">
                  <c:v>44557</c:v>
                </c:pt>
                <c:pt idx="8142">
                  <c:v>44558</c:v>
                </c:pt>
                <c:pt idx="8143">
                  <c:v>44559</c:v>
                </c:pt>
                <c:pt idx="8144">
                  <c:v>44560</c:v>
                </c:pt>
                <c:pt idx="8145">
                  <c:v>44561</c:v>
                </c:pt>
                <c:pt idx="8146">
                  <c:v>44564</c:v>
                </c:pt>
                <c:pt idx="8147">
                  <c:v>44565</c:v>
                </c:pt>
                <c:pt idx="8148">
                  <c:v>44566</c:v>
                </c:pt>
                <c:pt idx="8149">
                  <c:v>44567</c:v>
                </c:pt>
                <c:pt idx="8150">
                  <c:v>44568</c:v>
                </c:pt>
                <c:pt idx="8151">
                  <c:v>44571</c:v>
                </c:pt>
                <c:pt idx="8152">
                  <c:v>44572</c:v>
                </c:pt>
                <c:pt idx="8153">
                  <c:v>44573</c:v>
                </c:pt>
                <c:pt idx="8154">
                  <c:v>44574</c:v>
                </c:pt>
                <c:pt idx="8155">
                  <c:v>44575</c:v>
                </c:pt>
                <c:pt idx="8156">
                  <c:v>44579</c:v>
                </c:pt>
                <c:pt idx="8157">
                  <c:v>44580</c:v>
                </c:pt>
                <c:pt idx="8158">
                  <c:v>44581</c:v>
                </c:pt>
                <c:pt idx="8159">
                  <c:v>44582</c:v>
                </c:pt>
                <c:pt idx="8160">
                  <c:v>44585</c:v>
                </c:pt>
                <c:pt idx="8161">
                  <c:v>44586</c:v>
                </c:pt>
                <c:pt idx="8162">
                  <c:v>44587</c:v>
                </c:pt>
                <c:pt idx="8163">
                  <c:v>44588</c:v>
                </c:pt>
                <c:pt idx="8164">
                  <c:v>44589</c:v>
                </c:pt>
                <c:pt idx="8165">
                  <c:v>44592</c:v>
                </c:pt>
                <c:pt idx="8166">
                  <c:v>44593</c:v>
                </c:pt>
                <c:pt idx="8167">
                  <c:v>44594</c:v>
                </c:pt>
                <c:pt idx="8168">
                  <c:v>44595</c:v>
                </c:pt>
                <c:pt idx="8169">
                  <c:v>44596</c:v>
                </c:pt>
                <c:pt idx="8170">
                  <c:v>44599</c:v>
                </c:pt>
                <c:pt idx="8171">
                  <c:v>44600</c:v>
                </c:pt>
                <c:pt idx="8172">
                  <c:v>44601</c:v>
                </c:pt>
                <c:pt idx="8173">
                  <c:v>44602</c:v>
                </c:pt>
                <c:pt idx="8174">
                  <c:v>44603</c:v>
                </c:pt>
                <c:pt idx="8175">
                  <c:v>44606</c:v>
                </c:pt>
                <c:pt idx="8176">
                  <c:v>44607</c:v>
                </c:pt>
                <c:pt idx="8177">
                  <c:v>44608</c:v>
                </c:pt>
                <c:pt idx="8178">
                  <c:v>44609</c:v>
                </c:pt>
                <c:pt idx="8179">
                  <c:v>44610</c:v>
                </c:pt>
                <c:pt idx="8180">
                  <c:v>44614</c:v>
                </c:pt>
                <c:pt idx="8181">
                  <c:v>44615</c:v>
                </c:pt>
                <c:pt idx="8182">
                  <c:v>44616</c:v>
                </c:pt>
                <c:pt idx="8183">
                  <c:v>44617</c:v>
                </c:pt>
                <c:pt idx="8184">
                  <c:v>44620</c:v>
                </c:pt>
                <c:pt idx="8185">
                  <c:v>44621</c:v>
                </c:pt>
                <c:pt idx="8186">
                  <c:v>44622</c:v>
                </c:pt>
                <c:pt idx="8187">
                  <c:v>44623</c:v>
                </c:pt>
                <c:pt idx="8188">
                  <c:v>44624</c:v>
                </c:pt>
                <c:pt idx="8189">
                  <c:v>44627</c:v>
                </c:pt>
                <c:pt idx="8190">
                  <c:v>44628</c:v>
                </c:pt>
                <c:pt idx="8191">
                  <c:v>44629</c:v>
                </c:pt>
                <c:pt idx="8192">
                  <c:v>44630</c:v>
                </c:pt>
                <c:pt idx="8193">
                  <c:v>44631</c:v>
                </c:pt>
                <c:pt idx="8194">
                  <c:v>44634</c:v>
                </c:pt>
                <c:pt idx="8195">
                  <c:v>44635</c:v>
                </c:pt>
                <c:pt idx="8196">
                  <c:v>44636</c:v>
                </c:pt>
                <c:pt idx="8197">
                  <c:v>44637</c:v>
                </c:pt>
                <c:pt idx="8198">
                  <c:v>44638</c:v>
                </c:pt>
                <c:pt idx="8199">
                  <c:v>44641</c:v>
                </c:pt>
                <c:pt idx="8200">
                  <c:v>44642</c:v>
                </c:pt>
                <c:pt idx="8201">
                  <c:v>44643</c:v>
                </c:pt>
                <c:pt idx="8202">
                  <c:v>44644</c:v>
                </c:pt>
                <c:pt idx="8203">
                  <c:v>44645</c:v>
                </c:pt>
                <c:pt idx="8204">
                  <c:v>44648</c:v>
                </c:pt>
                <c:pt idx="8205">
                  <c:v>44649</c:v>
                </c:pt>
                <c:pt idx="8206">
                  <c:v>44650</c:v>
                </c:pt>
                <c:pt idx="8207">
                  <c:v>44651</c:v>
                </c:pt>
                <c:pt idx="8208">
                  <c:v>44652</c:v>
                </c:pt>
                <c:pt idx="8209">
                  <c:v>44655</c:v>
                </c:pt>
                <c:pt idx="8210">
                  <c:v>44656</c:v>
                </c:pt>
                <c:pt idx="8211">
                  <c:v>44657</c:v>
                </c:pt>
                <c:pt idx="8212">
                  <c:v>44658</c:v>
                </c:pt>
                <c:pt idx="8213">
                  <c:v>44659</c:v>
                </c:pt>
                <c:pt idx="8214">
                  <c:v>44662</c:v>
                </c:pt>
                <c:pt idx="8215">
                  <c:v>44663</c:v>
                </c:pt>
                <c:pt idx="8216">
                  <c:v>44664</c:v>
                </c:pt>
                <c:pt idx="8217">
                  <c:v>44665</c:v>
                </c:pt>
                <c:pt idx="8218">
                  <c:v>44669</c:v>
                </c:pt>
                <c:pt idx="8219">
                  <c:v>44670</c:v>
                </c:pt>
                <c:pt idx="8220">
                  <c:v>44671</c:v>
                </c:pt>
                <c:pt idx="8221">
                  <c:v>44672</c:v>
                </c:pt>
                <c:pt idx="8222">
                  <c:v>44673</c:v>
                </c:pt>
                <c:pt idx="8223">
                  <c:v>44676</c:v>
                </c:pt>
                <c:pt idx="8224">
                  <c:v>44677</c:v>
                </c:pt>
                <c:pt idx="8225">
                  <c:v>44678</c:v>
                </c:pt>
                <c:pt idx="8226">
                  <c:v>44679</c:v>
                </c:pt>
                <c:pt idx="8227">
                  <c:v>44680</c:v>
                </c:pt>
                <c:pt idx="8228">
                  <c:v>44683</c:v>
                </c:pt>
                <c:pt idx="8229">
                  <c:v>44684</c:v>
                </c:pt>
                <c:pt idx="8230">
                  <c:v>44685</c:v>
                </c:pt>
                <c:pt idx="8231">
                  <c:v>44686</c:v>
                </c:pt>
                <c:pt idx="8232">
                  <c:v>44687</c:v>
                </c:pt>
                <c:pt idx="8233">
                  <c:v>44690</c:v>
                </c:pt>
                <c:pt idx="8234">
                  <c:v>44691</c:v>
                </c:pt>
                <c:pt idx="8235">
                  <c:v>44692</c:v>
                </c:pt>
                <c:pt idx="8236">
                  <c:v>44693</c:v>
                </c:pt>
                <c:pt idx="8237">
                  <c:v>44694</c:v>
                </c:pt>
                <c:pt idx="8238">
                  <c:v>44697</c:v>
                </c:pt>
                <c:pt idx="8239">
                  <c:v>44698</c:v>
                </c:pt>
                <c:pt idx="8240">
                  <c:v>44699</c:v>
                </c:pt>
                <c:pt idx="8241">
                  <c:v>44700</c:v>
                </c:pt>
                <c:pt idx="8242">
                  <c:v>44701</c:v>
                </c:pt>
                <c:pt idx="8243">
                  <c:v>44704</c:v>
                </c:pt>
                <c:pt idx="8244">
                  <c:v>44705</c:v>
                </c:pt>
                <c:pt idx="8245">
                  <c:v>44706</c:v>
                </c:pt>
                <c:pt idx="8246">
                  <c:v>44707</c:v>
                </c:pt>
                <c:pt idx="8247">
                  <c:v>44708</c:v>
                </c:pt>
                <c:pt idx="8248">
                  <c:v>44712</c:v>
                </c:pt>
                <c:pt idx="8249">
                  <c:v>44713</c:v>
                </c:pt>
                <c:pt idx="8250">
                  <c:v>44714</c:v>
                </c:pt>
                <c:pt idx="8251">
                  <c:v>44715</c:v>
                </c:pt>
                <c:pt idx="8252">
                  <c:v>44718</c:v>
                </c:pt>
                <c:pt idx="8253">
                  <c:v>44719</c:v>
                </c:pt>
                <c:pt idx="8254">
                  <c:v>44720</c:v>
                </c:pt>
                <c:pt idx="8255">
                  <c:v>44721</c:v>
                </c:pt>
                <c:pt idx="8256">
                  <c:v>44722</c:v>
                </c:pt>
                <c:pt idx="8257">
                  <c:v>44725</c:v>
                </c:pt>
                <c:pt idx="8258">
                  <c:v>44726</c:v>
                </c:pt>
                <c:pt idx="8259">
                  <c:v>44727</c:v>
                </c:pt>
                <c:pt idx="8260">
                  <c:v>44728</c:v>
                </c:pt>
                <c:pt idx="8261">
                  <c:v>44729</c:v>
                </c:pt>
                <c:pt idx="8262">
                  <c:v>44733</c:v>
                </c:pt>
                <c:pt idx="8263">
                  <c:v>44734</c:v>
                </c:pt>
                <c:pt idx="8264">
                  <c:v>44735</c:v>
                </c:pt>
                <c:pt idx="8265">
                  <c:v>44736</c:v>
                </c:pt>
                <c:pt idx="8266">
                  <c:v>44739</c:v>
                </c:pt>
                <c:pt idx="8267">
                  <c:v>44740</c:v>
                </c:pt>
                <c:pt idx="8268">
                  <c:v>44741</c:v>
                </c:pt>
                <c:pt idx="8269">
                  <c:v>44742</c:v>
                </c:pt>
                <c:pt idx="8270">
                  <c:v>44743</c:v>
                </c:pt>
                <c:pt idx="8271">
                  <c:v>44747</c:v>
                </c:pt>
                <c:pt idx="8272">
                  <c:v>44748</c:v>
                </c:pt>
                <c:pt idx="8273">
                  <c:v>44749</c:v>
                </c:pt>
                <c:pt idx="8274">
                  <c:v>44750</c:v>
                </c:pt>
                <c:pt idx="8275">
                  <c:v>44753</c:v>
                </c:pt>
                <c:pt idx="8276">
                  <c:v>44754</c:v>
                </c:pt>
                <c:pt idx="8277">
                  <c:v>44755</c:v>
                </c:pt>
                <c:pt idx="8278">
                  <c:v>44756</c:v>
                </c:pt>
                <c:pt idx="8279">
                  <c:v>44757</c:v>
                </c:pt>
                <c:pt idx="8280">
                  <c:v>44760</c:v>
                </c:pt>
                <c:pt idx="8281">
                  <c:v>44761</c:v>
                </c:pt>
                <c:pt idx="8282">
                  <c:v>44762</c:v>
                </c:pt>
                <c:pt idx="8283">
                  <c:v>44763</c:v>
                </c:pt>
                <c:pt idx="8284">
                  <c:v>44764</c:v>
                </c:pt>
                <c:pt idx="8285">
                  <c:v>44767</c:v>
                </c:pt>
                <c:pt idx="8286">
                  <c:v>44768</c:v>
                </c:pt>
                <c:pt idx="8287">
                  <c:v>44769</c:v>
                </c:pt>
                <c:pt idx="8288">
                  <c:v>44770</c:v>
                </c:pt>
                <c:pt idx="8289">
                  <c:v>44771</c:v>
                </c:pt>
                <c:pt idx="8290">
                  <c:v>44774</c:v>
                </c:pt>
                <c:pt idx="8291">
                  <c:v>44775</c:v>
                </c:pt>
                <c:pt idx="8292">
                  <c:v>44776</c:v>
                </c:pt>
                <c:pt idx="8293">
                  <c:v>44777</c:v>
                </c:pt>
                <c:pt idx="8294">
                  <c:v>44778</c:v>
                </c:pt>
                <c:pt idx="8295">
                  <c:v>44781</c:v>
                </c:pt>
                <c:pt idx="8296">
                  <c:v>44782</c:v>
                </c:pt>
                <c:pt idx="8297">
                  <c:v>44783</c:v>
                </c:pt>
                <c:pt idx="8298">
                  <c:v>44784</c:v>
                </c:pt>
                <c:pt idx="8299">
                  <c:v>44785</c:v>
                </c:pt>
                <c:pt idx="8300">
                  <c:v>44788</c:v>
                </c:pt>
                <c:pt idx="8301">
                  <c:v>44789</c:v>
                </c:pt>
                <c:pt idx="8302">
                  <c:v>44790</c:v>
                </c:pt>
                <c:pt idx="8303">
                  <c:v>44791</c:v>
                </c:pt>
                <c:pt idx="8304">
                  <c:v>44792</c:v>
                </c:pt>
                <c:pt idx="8305">
                  <c:v>44795</c:v>
                </c:pt>
                <c:pt idx="8306">
                  <c:v>44796</c:v>
                </c:pt>
                <c:pt idx="8307">
                  <c:v>44797</c:v>
                </c:pt>
                <c:pt idx="8308">
                  <c:v>44798</c:v>
                </c:pt>
                <c:pt idx="8309">
                  <c:v>44799</c:v>
                </c:pt>
                <c:pt idx="8310">
                  <c:v>44802</c:v>
                </c:pt>
                <c:pt idx="8311">
                  <c:v>44803</c:v>
                </c:pt>
                <c:pt idx="8312">
                  <c:v>44804</c:v>
                </c:pt>
                <c:pt idx="8313">
                  <c:v>44805</c:v>
                </c:pt>
                <c:pt idx="8314">
                  <c:v>44806</c:v>
                </c:pt>
                <c:pt idx="8315">
                  <c:v>44810</c:v>
                </c:pt>
                <c:pt idx="8316">
                  <c:v>44811</c:v>
                </c:pt>
                <c:pt idx="8317">
                  <c:v>44812</c:v>
                </c:pt>
                <c:pt idx="8318">
                  <c:v>44813</c:v>
                </c:pt>
                <c:pt idx="8319">
                  <c:v>44816</c:v>
                </c:pt>
                <c:pt idx="8320">
                  <c:v>44817</c:v>
                </c:pt>
                <c:pt idx="8321">
                  <c:v>44818</c:v>
                </c:pt>
                <c:pt idx="8322">
                  <c:v>44819</c:v>
                </c:pt>
                <c:pt idx="8323">
                  <c:v>44820</c:v>
                </c:pt>
                <c:pt idx="8324">
                  <c:v>44823</c:v>
                </c:pt>
                <c:pt idx="8325">
                  <c:v>44824</c:v>
                </c:pt>
                <c:pt idx="8326">
                  <c:v>44825</c:v>
                </c:pt>
                <c:pt idx="8327">
                  <c:v>44826</c:v>
                </c:pt>
                <c:pt idx="8328">
                  <c:v>44827</c:v>
                </c:pt>
                <c:pt idx="8329">
                  <c:v>44830</c:v>
                </c:pt>
                <c:pt idx="8330">
                  <c:v>44831</c:v>
                </c:pt>
                <c:pt idx="8331">
                  <c:v>44832</c:v>
                </c:pt>
                <c:pt idx="8332">
                  <c:v>44833</c:v>
                </c:pt>
                <c:pt idx="8333">
                  <c:v>44834</c:v>
                </c:pt>
                <c:pt idx="8334">
                  <c:v>44837</c:v>
                </c:pt>
                <c:pt idx="8335">
                  <c:v>44838</c:v>
                </c:pt>
                <c:pt idx="8336">
                  <c:v>44839</c:v>
                </c:pt>
                <c:pt idx="8337">
                  <c:v>44840</c:v>
                </c:pt>
                <c:pt idx="8338">
                  <c:v>44841</c:v>
                </c:pt>
                <c:pt idx="8339">
                  <c:v>44844</c:v>
                </c:pt>
                <c:pt idx="8340">
                  <c:v>44845</c:v>
                </c:pt>
                <c:pt idx="8341">
                  <c:v>44846</c:v>
                </c:pt>
                <c:pt idx="8342">
                  <c:v>44847</c:v>
                </c:pt>
                <c:pt idx="8343">
                  <c:v>44848</c:v>
                </c:pt>
                <c:pt idx="8344">
                  <c:v>44851</c:v>
                </c:pt>
                <c:pt idx="8345">
                  <c:v>44852</c:v>
                </c:pt>
                <c:pt idx="8346">
                  <c:v>44853</c:v>
                </c:pt>
                <c:pt idx="8347">
                  <c:v>44854</c:v>
                </c:pt>
                <c:pt idx="8348">
                  <c:v>44855</c:v>
                </c:pt>
                <c:pt idx="8349">
                  <c:v>44858</c:v>
                </c:pt>
                <c:pt idx="8350">
                  <c:v>44859</c:v>
                </c:pt>
                <c:pt idx="8351">
                  <c:v>44860</c:v>
                </c:pt>
                <c:pt idx="8352">
                  <c:v>44861</c:v>
                </c:pt>
                <c:pt idx="8353">
                  <c:v>44862</c:v>
                </c:pt>
                <c:pt idx="8354">
                  <c:v>44865</c:v>
                </c:pt>
                <c:pt idx="8355">
                  <c:v>44866</c:v>
                </c:pt>
                <c:pt idx="8356">
                  <c:v>44867</c:v>
                </c:pt>
                <c:pt idx="8357">
                  <c:v>44868</c:v>
                </c:pt>
                <c:pt idx="8358">
                  <c:v>44869</c:v>
                </c:pt>
                <c:pt idx="8359">
                  <c:v>44872</c:v>
                </c:pt>
                <c:pt idx="8360">
                  <c:v>44873</c:v>
                </c:pt>
                <c:pt idx="8361">
                  <c:v>44874</c:v>
                </c:pt>
                <c:pt idx="8362">
                  <c:v>44875</c:v>
                </c:pt>
                <c:pt idx="8363">
                  <c:v>44876</c:v>
                </c:pt>
                <c:pt idx="8364">
                  <c:v>44879</c:v>
                </c:pt>
                <c:pt idx="8365">
                  <c:v>44880</c:v>
                </c:pt>
                <c:pt idx="8366">
                  <c:v>44881</c:v>
                </c:pt>
                <c:pt idx="8367">
                  <c:v>44882</c:v>
                </c:pt>
                <c:pt idx="8368">
                  <c:v>44883</c:v>
                </c:pt>
                <c:pt idx="8369">
                  <c:v>44886</c:v>
                </c:pt>
                <c:pt idx="8370">
                  <c:v>44887</c:v>
                </c:pt>
                <c:pt idx="8371">
                  <c:v>44888</c:v>
                </c:pt>
                <c:pt idx="8372">
                  <c:v>44890</c:v>
                </c:pt>
                <c:pt idx="8373">
                  <c:v>44893</c:v>
                </c:pt>
                <c:pt idx="8374">
                  <c:v>44894</c:v>
                </c:pt>
                <c:pt idx="8375">
                  <c:v>44895</c:v>
                </c:pt>
                <c:pt idx="8376">
                  <c:v>44896</c:v>
                </c:pt>
                <c:pt idx="8377">
                  <c:v>44897</c:v>
                </c:pt>
                <c:pt idx="8378">
                  <c:v>44900</c:v>
                </c:pt>
                <c:pt idx="8379">
                  <c:v>44901</c:v>
                </c:pt>
                <c:pt idx="8380">
                  <c:v>44902</c:v>
                </c:pt>
                <c:pt idx="8381">
                  <c:v>44903</c:v>
                </c:pt>
                <c:pt idx="8382">
                  <c:v>44904</c:v>
                </c:pt>
                <c:pt idx="8383">
                  <c:v>44907</c:v>
                </c:pt>
                <c:pt idx="8384">
                  <c:v>44908</c:v>
                </c:pt>
                <c:pt idx="8385">
                  <c:v>44909</c:v>
                </c:pt>
                <c:pt idx="8386">
                  <c:v>44910</c:v>
                </c:pt>
                <c:pt idx="8387">
                  <c:v>44911</c:v>
                </c:pt>
                <c:pt idx="8388">
                  <c:v>44914</c:v>
                </c:pt>
                <c:pt idx="8389">
                  <c:v>44915</c:v>
                </c:pt>
                <c:pt idx="8390">
                  <c:v>44916</c:v>
                </c:pt>
                <c:pt idx="8391">
                  <c:v>44917</c:v>
                </c:pt>
                <c:pt idx="8392">
                  <c:v>44918</c:v>
                </c:pt>
                <c:pt idx="8393">
                  <c:v>44922</c:v>
                </c:pt>
                <c:pt idx="8394">
                  <c:v>44923</c:v>
                </c:pt>
                <c:pt idx="8395">
                  <c:v>44924</c:v>
                </c:pt>
                <c:pt idx="8396">
                  <c:v>44925</c:v>
                </c:pt>
                <c:pt idx="8397">
                  <c:v>44929</c:v>
                </c:pt>
                <c:pt idx="8398">
                  <c:v>44930</c:v>
                </c:pt>
                <c:pt idx="8399">
                  <c:v>44931</c:v>
                </c:pt>
                <c:pt idx="8400">
                  <c:v>44932</c:v>
                </c:pt>
                <c:pt idx="8401">
                  <c:v>44935</c:v>
                </c:pt>
                <c:pt idx="8402">
                  <c:v>44936</c:v>
                </c:pt>
                <c:pt idx="8403">
                  <c:v>44937</c:v>
                </c:pt>
                <c:pt idx="8404">
                  <c:v>44938</c:v>
                </c:pt>
                <c:pt idx="8405">
                  <c:v>44939</c:v>
                </c:pt>
                <c:pt idx="8406">
                  <c:v>44943</c:v>
                </c:pt>
                <c:pt idx="8407">
                  <c:v>44944</c:v>
                </c:pt>
                <c:pt idx="8408">
                  <c:v>44945</c:v>
                </c:pt>
                <c:pt idx="8409">
                  <c:v>44946</c:v>
                </c:pt>
                <c:pt idx="8410">
                  <c:v>44949</c:v>
                </c:pt>
                <c:pt idx="8411">
                  <c:v>44950</c:v>
                </c:pt>
                <c:pt idx="8412">
                  <c:v>44951</c:v>
                </c:pt>
                <c:pt idx="8413">
                  <c:v>44952</c:v>
                </c:pt>
                <c:pt idx="8414">
                  <c:v>44953</c:v>
                </c:pt>
                <c:pt idx="8415">
                  <c:v>44956</c:v>
                </c:pt>
                <c:pt idx="8416">
                  <c:v>44957</c:v>
                </c:pt>
                <c:pt idx="8417">
                  <c:v>44958</c:v>
                </c:pt>
                <c:pt idx="8418">
                  <c:v>44959</c:v>
                </c:pt>
                <c:pt idx="8419">
                  <c:v>44960</c:v>
                </c:pt>
                <c:pt idx="8420">
                  <c:v>44963</c:v>
                </c:pt>
                <c:pt idx="8421">
                  <c:v>44964</c:v>
                </c:pt>
                <c:pt idx="8422">
                  <c:v>44965</c:v>
                </c:pt>
                <c:pt idx="8423">
                  <c:v>44966</c:v>
                </c:pt>
                <c:pt idx="8424">
                  <c:v>44967</c:v>
                </c:pt>
                <c:pt idx="8425">
                  <c:v>44970</c:v>
                </c:pt>
                <c:pt idx="8426">
                  <c:v>44971</c:v>
                </c:pt>
                <c:pt idx="8427">
                  <c:v>44972</c:v>
                </c:pt>
                <c:pt idx="8428">
                  <c:v>44973</c:v>
                </c:pt>
                <c:pt idx="8429">
                  <c:v>44974</c:v>
                </c:pt>
                <c:pt idx="8430">
                  <c:v>44978</c:v>
                </c:pt>
              </c:numCache>
            </c:numRef>
          </c:cat>
          <c:val>
            <c:numRef>
              <c:f>wig!$E$5:$E$8435</c:f>
              <c:numCache>
                <c:formatCode>General</c:formatCode>
                <c:ptCount val="8431"/>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pt idx="1992">
                  <c:v>#N/A</c:v>
                </c:pt>
                <c:pt idx="1993">
                  <c:v>#N/A</c:v>
                </c:pt>
                <c:pt idx="1994">
                  <c:v>#N/A</c:v>
                </c:pt>
                <c:pt idx="1995">
                  <c:v>#N/A</c:v>
                </c:pt>
                <c:pt idx="1996">
                  <c:v>#N/A</c:v>
                </c:pt>
                <c:pt idx="1997">
                  <c:v>#N/A</c:v>
                </c:pt>
                <c:pt idx="1998">
                  <c:v>#N/A</c:v>
                </c:pt>
                <c:pt idx="1999">
                  <c:v>#N/A</c:v>
                </c:pt>
                <c:pt idx="2000">
                  <c:v>#N/A</c:v>
                </c:pt>
                <c:pt idx="2001">
                  <c:v>#N/A</c:v>
                </c:pt>
                <c:pt idx="2002">
                  <c:v>#N/A</c:v>
                </c:pt>
                <c:pt idx="2003">
                  <c:v>#N/A</c:v>
                </c:pt>
                <c:pt idx="2004">
                  <c:v>#N/A</c:v>
                </c:pt>
                <c:pt idx="2005">
                  <c:v>#N/A</c:v>
                </c:pt>
                <c:pt idx="2006">
                  <c:v>#N/A</c:v>
                </c:pt>
                <c:pt idx="2007">
                  <c:v>#N/A</c:v>
                </c:pt>
                <c:pt idx="2008">
                  <c:v>#N/A</c:v>
                </c:pt>
                <c:pt idx="2009">
                  <c:v>#N/A</c:v>
                </c:pt>
                <c:pt idx="2010">
                  <c:v>#N/A</c:v>
                </c:pt>
                <c:pt idx="2011">
                  <c:v>#N/A</c:v>
                </c:pt>
                <c:pt idx="2012">
                  <c:v>#N/A</c:v>
                </c:pt>
                <c:pt idx="2013">
                  <c:v>#N/A</c:v>
                </c:pt>
                <c:pt idx="2014">
                  <c:v>#N/A</c:v>
                </c:pt>
                <c:pt idx="2015">
                  <c:v>#N/A</c:v>
                </c:pt>
                <c:pt idx="2016">
                  <c:v>#N/A</c:v>
                </c:pt>
                <c:pt idx="2017">
                  <c:v>#N/A</c:v>
                </c:pt>
                <c:pt idx="2018">
                  <c:v>#N/A</c:v>
                </c:pt>
                <c:pt idx="2019">
                  <c:v>#N/A</c:v>
                </c:pt>
                <c:pt idx="2020">
                  <c:v>#N/A</c:v>
                </c:pt>
                <c:pt idx="2021">
                  <c:v>#N/A</c:v>
                </c:pt>
                <c:pt idx="2022">
                  <c:v>#N/A</c:v>
                </c:pt>
                <c:pt idx="2023">
                  <c:v>#N/A</c:v>
                </c:pt>
                <c:pt idx="2024">
                  <c:v>#N/A</c:v>
                </c:pt>
                <c:pt idx="2025">
                  <c:v>#N/A</c:v>
                </c:pt>
                <c:pt idx="2026">
                  <c:v>#N/A</c:v>
                </c:pt>
                <c:pt idx="2027">
                  <c:v>#N/A</c:v>
                </c:pt>
                <c:pt idx="2028">
                  <c:v>#N/A</c:v>
                </c:pt>
                <c:pt idx="2029">
                  <c:v>#N/A</c:v>
                </c:pt>
                <c:pt idx="2030">
                  <c:v>#N/A</c:v>
                </c:pt>
                <c:pt idx="2031">
                  <c:v>#N/A</c:v>
                </c:pt>
                <c:pt idx="2032">
                  <c:v>#N/A</c:v>
                </c:pt>
                <c:pt idx="2033">
                  <c:v>#N/A</c:v>
                </c:pt>
                <c:pt idx="2034">
                  <c:v>#N/A</c:v>
                </c:pt>
                <c:pt idx="2035">
                  <c:v>#N/A</c:v>
                </c:pt>
                <c:pt idx="2036">
                  <c:v>#N/A</c:v>
                </c:pt>
                <c:pt idx="2037">
                  <c:v>#N/A</c:v>
                </c:pt>
                <c:pt idx="2038">
                  <c:v>#N/A</c:v>
                </c:pt>
                <c:pt idx="2039">
                  <c:v>#N/A</c:v>
                </c:pt>
                <c:pt idx="2040">
                  <c:v>#N/A</c:v>
                </c:pt>
                <c:pt idx="2041">
                  <c:v>#N/A</c:v>
                </c:pt>
                <c:pt idx="2042">
                  <c:v>#N/A</c:v>
                </c:pt>
                <c:pt idx="2043">
                  <c:v>#N/A</c:v>
                </c:pt>
                <c:pt idx="2044">
                  <c:v>#N/A</c:v>
                </c:pt>
                <c:pt idx="2045">
                  <c:v>#N/A</c:v>
                </c:pt>
                <c:pt idx="2046">
                  <c:v>#N/A</c:v>
                </c:pt>
                <c:pt idx="2047">
                  <c:v>#N/A</c:v>
                </c:pt>
                <c:pt idx="2048">
                  <c:v>#N/A</c:v>
                </c:pt>
                <c:pt idx="2049">
                  <c:v>#N/A</c:v>
                </c:pt>
                <c:pt idx="2050">
                  <c:v>#N/A</c:v>
                </c:pt>
                <c:pt idx="2051">
                  <c:v>#N/A</c:v>
                </c:pt>
                <c:pt idx="2052">
                  <c:v>#N/A</c:v>
                </c:pt>
                <c:pt idx="2053">
                  <c:v>#N/A</c:v>
                </c:pt>
                <c:pt idx="2054">
                  <c:v>#N/A</c:v>
                </c:pt>
                <c:pt idx="2055">
                  <c:v>#N/A</c:v>
                </c:pt>
                <c:pt idx="2056">
                  <c:v>#N/A</c:v>
                </c:pt>
                <c:pt idx="2057">
                  <c:v>#N/A</c:v>
                </c:pt>
                <c:pt idx="2058">
                  <c:v>#N/A</c:v>
                </c:pt>
                <c:pt idx="2059">
                  <c:v>#N/A</c:v>
                </c:pt>
                <c:pt idx="2060">
                  <c:v>#N/A</c:v>
                </c:pt>
                <c:pt idx="2061">
                  <c:v>#N/A</c:v>
                </c:pt>
                <c:pt idx="2062">
                  <c:v>#N/A</c:v>
                </c:pt>
                <c:pt idx="2063">
                  <c:v>#N/A</c:v>
                </c:pt>
                <c:pt idx="2064">
                  <c:v>#N/A</c:v>
                </c:pt>
                <c:pt idx="2065">
                  <c:v>#N/A</c:v>
                </c:pt>
                <c:pt idx="2066">
                  <c:v>#N/A</c:v>
                </c:pt>
                <c:pt idx="2067">
                  <c:v>#N/A</c:v>
                </c:pt>
                <c:pt idx="2068">
                  <c:v>#N/A</c:v>
                </c:pt>
                <c:pt idx="2069">
                  <c:v>#N/A</c:v>
                </c:pt>
                <c:pt idx="2070">
                  <c:v>#N/A</c:v>
                </c:pt>
                <c:pt idx="2071">
                  <c:v>#N/A</c:v>
                </c:pt>
                <c:pt idx="2072">
                  <c:v>#N/A</c:v>
                </c:pt>
                <c:pt idx="2073">
                  <c:v>#N/A</c:v>
                </c:pt>
                <c:pt idx="2074">
                  <c:v>#N/A</c:v>
                </c:pt>
                <c:pt idx="2075">
                  <c:v>#N/A</c:v>
                </c:pt>
                <c:pt idx="2076">
                  <c:v>#N/A</c:v>
                </c:pt>
                <c:pt idx="2077">
                  <c:v>#N/A</c:v>
                </c:pt>
                <c:pt idx="2078">
                  <c:v>#N/A</c:v>
                </c:pt>
                <c:pt idx="2079">
                  <c:v>#N/A</c:v>
                </c:pt>
                <c:pt idx="2080">
                  <c:v>#N/A</c:v>
                </c:pt>
                <c:pt idx="2081">
                  <c:v>#N/A</c:v>
                </c:pt>
                <c:pt idx="2082">
                  <c:v>#N/A</c:v>
                </c:pt>
                <c:pt idx="2083">
                  <c:v>#N/A</c:v>
                </c:pt>
                <c:pt idx="2084">
                  <c:v>#N/A</c:v>
                </c:pt>
                <c:pt idx="2085">
                  <c:v>#N/A</c:v>
                </c:pt>
                <c:pt idx="2086">
                  <c:v>#N/A</c:v>
                </c:pt>
                <c:pt idx="2087">
                  <c:v>#N/A</c:v>
                </c:pt>
                <c:pt idx="2088">
                  <c:v>#N/A</c:v>
                </c:pt>
                <c:pt idx="2089">
                  <c:v>#N/A</c:v>
                </c:pt>
                <c:pt idx="2090">
                  <c:v>#N/A</c:v>
                </c:pt>
                <c:pt idx="2091">
                  <c:v>#N/A</c:v>
                </c:pt>
                <c:pt idx="2092">
                  <c:v>#N/A</c:v>
                </c:pt>
                <c:pt idx="2093">
                  <c:v>#N/A</c:v>
                </c:pt>
                <c:pt idx="2094">
                  <c:v>#N/A</c:v>
                </c:pt>
                <c:pt idx="2095">
                  <c:v>#N/A</c:v>
                </c:pt>
                <c:pt idx="2096">
                  <c:v>#N/A</c:v>
                </c:pt>
                <c:pt idx="2097">
                  <c:v>#N/A</c:v>
                </c:pt>
                <c:pt idx="2098">
                  <c:v>#N/A</c:v>
                </c:pt>
                <c:pt idx="2099">
                  <c:v>#N/A</c:v>
                </c:pt>
                <c:pt idx="2100">
                  <c:v>#N/A</c:v>
                </c:pt>
                <c:pt idx="2101">
                  <c:v>#N/A</c:v>
                </c:pt>
                <c:pt idx="2102">
                  <c:v>#N/A</c:v>
                </c:pt>
                <c:pt idx="2103">
                  <c:v>#N/A</c:v>
                </c:pt>
                <c:pt idx="2104">
                  <c:v>#N/A</c:v>
                </c:pt>
                <c:pt idx="2105">
                  <c:v>#N/A</c:v>
                </c:pt>
                <c:pt idx="2106">
                  <c:v>#N/A</c:v>
                </c:pt>
                <c:pt idx="2107">
                  <c:v>#N/A</c:v>
                </c:pt>
                <c:pt idx="2108">
                  <c:v>#N/A</c:v>
                </c:pt>
                <c:pt idx="2109">
                  <c:v>#N/A</c:v>
                </c:pt>
                <c:pt idx="2110">
                  <c:v>#N/A</c:v>
                </c:pt>
                <c:pt idx="2111">
                  <c:v>#N/A</c:v>
                </c:pt>
                <c:pt idx="2112">
                  <c:v>#N/A</c:v>
                </c:pt>
                <c:pt idx="2113">
                  <c:v>#N/A</c:v>
                </c:pt>
                <c:pt idx="2114">
                  <c:v>#N/A</c:v>
                </c:pt>
                <c:pt idx="2115">
                  <c:v>#N/A</c:v>
                </c:pt>
                <c:pt idx="2116">
                  <c:v>#N/A</c:v>
                </c:pt>
                <c:pt idx="2117">
                  <c:v>#N/A</c:v>
                </c:pt>
                <c:pt idx="2118">
                  <c:v>#N/A</c:v>
                </c:pt>
                <c:pt idx="2119">
                  <c:v>#N/A</c:v>
                </c:pt>
                <c:pt idx="2120">
                  <c:v>#N/A</c:v>
                </c:pt>
                <c:pt idx="2121">
                  <c:v>#N/A</c:v>
                </c:pt>
                <c:pt idx="2122">
                  <c:v>#N/A</c:v>
                </c:pt>
                <c:pt idx="2123">
                  <c:v>#N/A</c:v>
                </c:pt>
                <c:pt idx="2124">
                  <c:v>#N/A</c:v>
                </c:pt>
                <c:pt idx="2125">
                  <c:v>#N/A</c:v>
                </c:pt>
                <c:pt idx="2126">
                  <c:v>#N/A</c:v>
                </c:pt>
                <c:pt idx="2127">
                  <c:v>#N/A</c:v>
                </c:pt>
                <c:pt idx="2128">
                  <c:v>#N/A</c:v>
                </c:pt>
                <c:pt idx="2129">
                  <c:v>#N/A</c:v>
                </c:pt>
                <c:pt idx="2130">
                  <c:v>#N/A</c:v>
                </c:pt>
                <c:pt idx="2131">
                  <c:v>#N/A</c:v>
                </c:pt>
                <c:pt idx="2132">
                  <c:v>#N/A</c:v>
                </c:pt>
                <c:pt idx="2133">
                  <c:v>#N/A</c:v>
                </c:pt>
                <c:pt idx="2134">
                  <c:v>#N/A</c:v>
                </c:pt>
                <c:pt idx="2135">
                  <c:v>#N/A</c:v>
                </c:pt>
                <c:pt idx="2136">
                  <c:v>#N/A</c:v>
                </c:pt>
                <c:pt idx="2137">
                  <c:v>#N/A</c:v>
                </c:pt>
                <c:pt idx="2138">
                  <c:v>#N/A</c:v>
                </c:pt>
                <c:pt idx="2139">
                  <c:v>#N/A</c:v>
                </c:pt>
                <c:pt idx="2140">
                  <c:v>#N/A</c:v>
                </c:pt>
                <c:pt idx="2141">
                  <c:v>#N/A</c:v>
                </c:pt>
                <c:pt idx="2142">
                  <c:v>#N/A</c:v>
                </c:pt>
                <c:pt idx="2143">
                  <c:v>#N/A</c:v>
                </c:pt>
                <c:pt idx="2144">
                  <c:v>#N/A</c:v>
                </c:pt>
                <c:pt idx="2145">
                  <c:v>#N/A</c:v>
                </c:pt>
                <c:pt idx="2146">
                  <c:v>#N/A</c:v>
                </c:pt>
                <c:pt idx="2147">
                  <c:v>#N/A</c:v>
                </c:pt>
                <c:pt idx="2148">
                  <c:v>#N/A</c:v>
                </c:pt>
                <c:pt idx="2149">
                  <c:v>#N/A</c:v>
                </c:pt>
                <c:pt idx="2150">
                  <c:v>#N/A</c:v>
                </c:pt>
                <c:pt idx="2151">
                  <c:v>#N/A</c:v>
                </c:pt>
                <c:pt idx="2152">
                  <c:v>#N/A</c:v>
                </c:pt>
                <c:pt idx="2153">
                  <c:v>#N/A</c:v>
                </c:pt>
                <c:pt idx="2154">
                  <c:v>#N/A</c:v>
                </c:pt>
                <c:pt idx="2155">
                  <c:v>#N/A</c:v>
                </c:pt>
                <c:pt idx="2156">
                  <c:v>#N/A</c:v>
                </c:pt>
                <c:pt idx="2157">
                  <c:v>#N/A</c:v>
                </c:pt>
                <c:pt idx="2158">
                  <c:v>#N/A</c:v>
                </c:pt>
                <c:pt idx="2159">
                  <c:v>#N/A</c:v>
                </c:pt>
                <c:pt idx="2160">
                  <c:v>#N/A</c:v>
                </c:pt>
                <c:pt idx="2161">
                  <c:v>#N/A</c:v>
                </c:pt>
                <c:pt idx="2162">
                  <c:v>#N/A</c:v>
                </c:pt>
                <c:pt idx="2163">
                  <c:v>#N/A</c:v>
                </c:pt>
                <c:pt idx="2164">
                  <c:v>#N/A</c:v>
                </c:pt>
                <c:pt idx="2165">
                  <c:v>#N/A</c:v>
                </c:pt>
                <c:pt idx="2166">
                  <c:v>#N/A</c:v>
                </c:pt>
                <c:pt idx="2167">
                  <c:v>#N/A</c:v>
                </c:pt>
                <c:pt idx="2168">
                  <c:v>#N/A</c:v>
                </c:pt>
                <c:pt idx="2169">
                  <c:v>#N/A</c:v>
                </c:pt>
                <c:pt idx="2170">
                  <c:v>#N/A</c:v>
                </c:pt>
                <c:pt idx="2171">
                  <c:v>#N/A</c:v>
                </c:pt>
                <c:pt idx="2172">
                  <c:v>#N/A</c:v>
                </c:pt>
                <c:pt idx="2173">
                  <c:v>#N/A</c:v>
                </c:pt>
                <c:pt idx="2174">
                  <c:v>#N/A</c:v>
                </c:pt>
                <c:pt idx="2175">
                  <c:v>#N/A</c:v>
                </c:pt>
                <c:pt idx="2176">
                  <c:v>#N/A</c:v>
                </c:pt>
                <c:pt idx="2177">
                  <c:v>#N/A</c:v>
                </c:pt>
                <c:pt idx="2178">
                  <c:v>#N/A</c:v>
                </c:pt>
                <c:pt idx="2179">
                  <c:v>#N/A</c:v>
                </c:pt>
                <c:pt idx="2180">
                  <c:v>#N/A</c:v>
                </c:pt>
                <c:pt idx="2181">
                  <c:v>#N/A</c:v>
                </c:pt>
                <c:pt idx="2182">
                  <c:v>#N/A</c:v>
                </c:pt>
                <c:pt idx="2183">
                  <c:v>#N/A</c:v>
                </c:pt>
                <c:pt idx="2184">
                  <c:v>#N/A</c:v>
                </c:pt>
                <c:pt idx="2185">
                  <c:v>#N/A</c:v>
                </c:pt>
                <c:pt idx="2186">
                  <c:v>#N/A</c:v>
                </c:pt>
                <c:pt idx="2187">
                  <c:v>#N/A</c:v>
                </c:pt>
                <c:pt idx="2188">
                  <c:v>#N/A</c:v>
                </c:pt>
                <c:pt idx="2189">
                  <c:v>#N/A</c:v>
                </c:pt>
                <c:pt idx="2190">
                  <c:v>#N/A</c:v>
                </c:pt>
                <c:pt idx="2191">
                  <c:v>#N/A</c:v>
                </c:pt>
                <c:pt idx="2192">
                  <c:v>#N/A</c:v>
                </c:pt>
                <c:pt idx="2193">
                  <c:v>#N/A</c:v>
                </c:pt>
                <c:pt idx="2194">
                  <c:v>#N/A</c:v>
                </c:pt>
                <c:pt idx="2195">
                  <c:v>#N/A</c:v>
                </c:pt>
                <c:pt idx="2196">
                  <c:v>#N/A</c:v>
                </c:pt>
                <c:pt idx="2197">
                  <c:v>#N/A</c:v>
                </c:pt>
                <c:pt idx="2198">
                  <c:v>#N/A</c:v>
                </c:pt>
                <c:pt idx="2199">
                  <c:v>#N/A</c:v>
                </c:pt>
                <c:pt idx="2200">
                  <c:v>#N/A</c:v>
                </c:pt>
                <c:pt idx="2201">
                  <c:v>#N/A</c:v>
                </c:pt>
                <c:pt idx="2202">
                  <c:v>#N/A</c:v>
                </c:pt>
                <c:pt idx="2203">
                  <c:v>#N/A</c:v>
                </c:pt>
                <c:pt idx="2204">
                  <c:v>#N/A</c:v>
                </c:pt>
                <c:pt idx="2205">
                  <c:v>#N/A</c:v>
                </c:pt>
                <c:pt idx="2206">
                  <c:v>#N/A</c:v>
                </c:pt>
                <c:pt idx="2207">
                  <c:v>#N/A</c:v>
                </c:pt>
                <c:pt idx="2208">
                  <c:v>#N/A</c:v>
                </c:pt>
                <c:pt idx="2209">
                  <c:v>#N/A</c:v>
                </c:pt>
                <c:pt idx="2210">
                  <c:v>#N/A</c:v>
                </c:pt>
                <c:pt idx="2211">
                  <c:v>#N/A</c:v>
                </c:pt>
                <c:pt idx="2212">
                  <c:v>#N/A</c:v>
                </c:pt>
                <c:pt idx="2213">
                  <c:v>#N/A</c:v>
                </c:pt>
                <c:pt idx="2214">
                  <c:v>#N/A</c:v>
                </c:pt>
                <c:pt idx="2215">
                  <c:v>#N/A</c:v>
                </c:pt>
                <c:pt idx="2216">
                  <c:v>#N/A</c:v>
                </c:pt>
                <c:pt idx="2217">
                  <c:v>#N/A</c:v>
                </c:pt>
                <c:pt idx="2218">
                  <c:v>#N/A</c:v>
                </c:pt>
                <c:pt idx="2219">
                  <c:v>#N/A</c:v>
                </c:pt>
                <c:pt idx="2220">
                  <c:v>#N/A</c:v>
                </c:pt>
                <c:pt idx="2221">
                  <c:v>#N/A</c:v>
                </c:pt>
                <c:pt idx="2222">
                  <c:v>#N/A</c:v>
                </c:pt>
                <c:pt idx="2223">
                  <c:v>#N/A</c:v>
                </c:pt>
                <c:pt idx="2224">
                  <c:v>#N/A</c:v>
                </c:pt>
                <c:pt idx="2225">
                  <c:v>#N/A</c:v>
                </c:pt>
                <c:pt idx="2226">
                  <c:v>#N/A</c:v>
                </c:pt>
                <c:pt idx="2227">
                  <c:v>#N/A</c:v>
                </c:pt>
                <c:pt idx="2228">
                  <c:v>#N/A</c:v>
                </c:pt>
                <c:pt idx="2229">
                  <c:v>#N/A</c:v>
                </c:pt>
                <c:pt idx="2230">
                  <c:v>#N/A</c:v>
                </c:pt>
                <c:pt idx="2231">
                  <c:v>#N/A</c:v>
                </c:pt>
                <c:pt idx="2232">
                  <c:v>#N/A</c:v>
                </c:pt>
                <c:pt idx="2233">
                  <c:v>#N/A</c:v>
                </c:pt>
                <c:pt idx="2234">
                  <c:v>#N/A</c:v>
                </c:pt>
                <c:pt idx="2235">
                  <c:v>#N/A</c:v>
                </c:pt>
                <c:pt idx="2236">
                  <c:v>#N/A</c:v>
                </c:pt>
                <c:pt idx="2237">
                  <c:v>#N/A</c:v>
                </c:pt>
                <c:pt idx="2238">
                  <c:v>#N/A</c:v>
                </c:pt>
                <c:pt idx="2239">
                  <c:v>#N/A</c:v>
                </c:pt>
                <c:pt idx="2240">
                  <c:v>#N/A</c:v>
                </c:pt>
                <c:pt idx="2241">
                  <c:v>#N/A</c:v>
                </c:pt>
                <c:pt idx="2242">
                  <c:v>#N/A</c:v>
                </c:pt>
                <c:pt idx="2243">
                  <c:v>#N/A</c:v>
                </c:pt>
                <c:pt idx="2244">
                  <c:v>#N/A</c:v>
                </c:pt>
                <c:pt idx="2245">
                  <c:v>#N/A</c:v>
                </c:pt>
                <c:pt idx="2246">
                  <c:v>#N/A</c:v>
                </c:pt>
                <c:pt idx="2247">
                  <c:v>#N/A</c:v>
                </c:pt>
                <c:pt idx="2248">
                  <c:v>#N/A</c:v>
                </c:pt>
                <c:pt idx="2249">
                  <c:v>#N/A</c:v>
                </c:pt>
                <c:pt idx="2250">
                  <c:v>#N/A</c:v>
                </c:pt>
                <c:pt idx="2251">
                  <c:v>#N/A</c:v>
                </c:pt>
                <c:pt idx="2252">
                  <c:v>#N/A</c:v>
                </c:pt>
                <c:pt idx="2253">
                  <c:v>#N/A</c:v>
                </c:pt>
                <c:pt idx="2254">
                  <c:v>#N/A</c:v>
                </c:pt>
                <c:pt idx="2255">
                  <c:v>#N/A</c:v>
                </c:pt>
                <c:pt idx="2256">
                  <c:v>#N/A</c:v>
                </c:pt>
                <c:pt idx="2257">
                  <c:v>#N/A</c:v>
                </c:pt>
                <c:pt idx="2258">
                  <c:v>#N/A</c:v>
                </c:pt>
                <c:pt idx="2259">
                  <c:v>#N/A</c:v>
                </c:pt>
                <c:pt idx="2260">
                  <c:v>#N/A</c:v>
                </c:pt>
                <c:pt idx="2261">
                  <c:v>#N/A</c:v>
                </c:pt>
                <c:pt idx="2262">
                  <c:v>#N/A</c:v>
                </c:pt>
                <c:pt idx="2263">
                  <c:v>#N/A</c:v>
                </c:pt>
                <c:pt idx="2264">
                  <c:v>#N/A</c:v>
                </c:pt>
                <c:pt idx="2265">
                  <c:v>#N/A</c:v>
                </c:pt>
                <c:pt idx="2266">
                  <c:v>#N/A</c:v>
                </c:pt>
                <c:pt idx="2267">
                  <c:v>#N/A</c:v>
                </c:pt>
                <c:pt idx="2268">
                  <c:v>#N/A</c:v>
                </c:pt>
                <c:pt idx="2269">
                  <c:v>#N/A</c:v>
                </c:pt>
                <c:pt idx="2270">
                  <c:v>#N/A</c:v>
                </c:pt>
                <c:pt idx="2271">
                  <c:v>#N/A</c:v>
                </c:pt>
                <c:pt idx="2272">
                  <c:v>#N/A</c:v>
                </c:pt>
                <c:pt idx="2273">
                  <c:v>#N/A</c:v>
                </c:pt>
                <c:pt idx="2274">
                  <c:v>#N/A</c:v>
                </c:pt>
                <c:pt idx="2275">
                  <c:v>#N/A</c:v>
                </c:pt>
                <c:pt idx="2276">
                  <c:v>#N/A</c:v>
                </c:pt>
                <c:pt idx="2277">
                  <c:v>#N/A</c:v>
                </c:pt>
                <c:pt idx="2278">
                  <c:v>#N/A</c:v>
                </c:pt>
                <c:pt idx="2279">
                  <c:v>#N/A</c:v>
                </c:pt>
                <c:pt idx="2280">
                  <c:v>#N/A</c:v>
                </c:pt>
                <c:pt idx="2281">
                  <c:v>#N/A</c:v>
                </c:pt>
                <c:pt idx="2282">
                  <c:v>#N/A</c:v>
                </c:pt>
                <c:pt idx="2283">
                  <c:v>#N/A</c:v>
                </c:pt>
                <c:pt idx="2284">
                  <c:v>#N/A</c:v>
                </c:pt>
                <c:pt idx="2285">
                  <c:v>#N/A</c:v>
                </c:pt>
                <c:pt idx="2286">
                  <c:v>#N/A</c:v>
                </c:pt>
                <c:pt idx="2287">
                  <c:v>#N/A</c:v>
                </c:pt>
                <c:pt idx="2288">
                  <c:v>#N/A</c:v>
                </c:pt>
                <c:pt idx="2289">
                  <c:v>#N/A</c:v>
                </c:pt>
                <c:pt idx="2290">
                  <c:v>#N/A</c:v>
                </c:pt>
                <c:pt idx="2291">
                  <c:v>#N/A</c:v>
                </c:pt>
                <c:pt idx="2292">
                  <c:v>#N/A</c:v>
                </c:pt>
                <c:pt idx="2293">
                  <c:v>#N/A</c:v>
                </c:pt>
                <c:pt idx="2294">
                  <c:v>#N/A</c:v>
                </c:pt>
                <c:pt idx="2295">
                  <c:v>#N/A</c:v>
                </c:pt>
                <c:pt idx="2296">
                  <c:v>#N/A</c:v>
                </c:pt>
                <c:pt idx="2297">
                  <c:v>#N/A</c:v>
                </c:pt>
                <c:pt idx="2298">
                  <c:v>#N/A</c:v>
                </c:pt>
                <c:pt idx="2299">
                  <c:v>#N/A</c:v>
                </c:pt>
                <c:pt idx="2300">
                  <c:v>#N/A</c:v>
                </c:pt>
                <c:pt idx="2301">
                  <c:v>#N/A</c:v>
                </c:pt>
                <c:pt idx="2302">
                  <c:v>#N/A</c:v>
                </c:pt>
                <c:pt idx="2303">
                  <c:v>#N/A</c:v>
                </c:pt>
                <c:pt idx="2304">
                  <c:v>#N/A</c:v>
                </c:pt>
                <c:pt idx="2305">
                  <c:v>#N/A</c:v>
                </c:pt>
                <c:pt idx="2306">
                  <c:v>#N/A</c:v>
                </c:pt>
                <c:pt idx="2307">
                  <c:v>#N/A</c:v>
                </c:pt>
                <c:pt idx="2308">
                  <c:v>#N/A</c:v>
                </c:pt>
                <c:pt idx="2309">
                  <c:v>#N/A</c:v>
                </c:pt>
                <c:pt idx="2310">
                  <c:v>#N/A</c:v>
                </c:pt>
                <c:pt idx="2311">
                  <c:v>#N/A</c:v>
                </c:pt>
                <c:pt idx="2312">
                  <c:v>#N/A</c:v>
                </c:pt>
                <c:pt idx="2313">
                  <c:v>#N/A</c:v>
                </c:pt>
                <c:pt idx="2314">
                  <c:v>#N/A</c:v>
                </c:pt>
                <c:pt idx="2315">
                  <c:v>#N/A</c:v>
                </c:pt>
                <c:pt idx="2316">
                  <c:v>#N/A</c:v>
                </c:pt>
                <c:pt idx="2317">
                  <c:v>#N/A</c:v>
                </c:pt>
                <c:pt idx="2318">
                  <c:v>#N/A</c:v>
                </c:pt>
                <c:pt idx="2319">
                  <c:v>#N/A</c:v>
                </c:pt>
                <c:pt idx="2320">
                  <c:v>#N/A</c:v>
                </c:pt>
                <c:pt idx="2321">
                  <c:v>#N/A</c:v>
                </c:pt>
                <c:pt idx="2322">
                  <c:v>#N/A</c:v>
                </c:pt>
                <c:pt idx="2323">
                  <c:v>#N/A</c:v>
                </c:pt>
                <c:pt idx="2324">
                  <c:v>#N/A</c:v>
                </c:pt>
                <c:pt idx="2325">
                  <c:v>#N/A</c:v>
                </c:pt>
                <c:pt idx="2326">
                  <c:v>#N/A</c:v>
                </c:pt>
                <c:pt idx="2327">
                  <c:v>#N/A</c:v>
                </c:pt>
                <c:pt idx="2328">
                  <c:v>#N/A</c:v>
                </c:pt>
                <c:pt idx="2329">
                  <c:v>#N/A</c:v>
                </c:pt>
                <c:pt idx="2330">
                  <c:v>#N/A</c:v>
                </c:pt>
                <c:pt idx="2331">
                  <c:v>#N/A</c:v>
                </c:pt>
                <c:pt idx="2332">
                  <c:v>#N/A</c:v>
                </c:pt>
                <c:pt idx="2333">
                  <c:v>#N/A</c:v>
                </c:pt>
                <c:pt idx="2334">
                  <c:v>#N/A</c:v>
                </c:pt>
                <c:pt idx="2335">
                  <c:v>#N/A</c:v>
                </c:pt>
                <c:pt idx="2336">
                  <c:v>#N/A</c:v>
                </c:pt>
                <c:pt idx="2337">
                  <c:v>#N/A</c:v>
                </c:pt>
                <c:pt idx="2338">
                  <c:v>#N/A</c:v>
                </c:pt>
                <c:pt idx="2339">
                  <c:v>#N/A</c:v>
                </c:pt>
                <c:pt idx="2340">
                  <c:v>#N/A</c:v>
                </c:pt>
                <c:pt idx="2341">
                  <c:v>#N/A</c:v>
                </c:pt>
                <c:pt idx="2342">
                  <c:v>#N/A</c:v>
                </c:pt>
                <c:pt idx="2343">
                  <c:v>#N/A</c:v>
                </c:pt>
                <c:pt idx="2344">
                  <c:v>#N/A</c:v>
                </c:pt>
                <c:pt idx="2345">
                  <c:v>#N/A</c:v>
                </c:pt>
                <c:pt idx="2346">
                  <c:v>#N/A</c:v>
                </c:pt>
                <c:pt idx="2347">
                  <c:v>#N/A</c:v>
                </c:pt>
                <c:pt idx="2348">
                  <c:v>#N/A</c:v>
                </c:pt>
                <c:pt idx="2349">
                  <c:v>#N/A</c:v>
                </c:pt>
                <c:pt idx="2350">
                  <c:v>#N/A</c:v>
                </c:pt>
                <c:pt idx="2351">
                  <c:v>#N/A</c:v>
                </c:pt>
                <c:pt idx="2352">
                  <c:v>#N/A</c:v>
                </c:pt>
                <c:pt idx="2353">
                  <c:v>#N/A</c:v>
                </c:pt>
                <c:pt idx="2354">
                  <c:v>#N/A</c:v>
                </c:pt>
                <c:pt idx="2355">
                  <c:v>#N/A</c:v>
                </c:pt>
                <c:pt idx="2356">
                  <c:v>#N/A</c:v>
                </c:pt>
                <c:pt idx="2357">
                  <c:v>#N/A</c:v>
                </c:pt>
                <c:pt idx="2358">
                  <c:v>#N/A</c:v>
                </c:pt>
                <c:pt idx="2359">
                  <c:v>#N/A</c:v>
                </c:pt>
                <c:pt idx="2360">
                  <c:v>#N/A</c:v>
                </c:pt>
                <c:pt idx="2361">
                  <c:v>#N/A</c:v>
                </c:pt>
                <c:pt idx="2362">
                  <c:v>#N/A</c:v>
                </c:pt>
                <c:pt idx="2363">
                  <c:v>#N/A</c:v>
                </c:pt>
                <c:pt idx="2364">
                  <c:v>#N/A</c:v>
                </c:pt>
                <c:pt idx="2365">
                  <c:v>#N/A</c:v>
                </c:pt>
                <c:pt idx="2366">
                  <c:v>#N/A</c:v>
                </c:pt>
                <c:pt idx="2367">
                  <c:v>#N/A</c:v>
                </c:pt>
                <c:pt idx="2368">
                  <c:v>#N/A</c:v>
                </c:pt>
                <c:pt idx="2369">
                  <c:v>#N/A</c:v>
                </c:pt>
                <c:pt idx="2370">
                  <c:v>#N/A</c:v>
                </c:pt>
                <c:pt idx="2371">
                  <c:v>#N/A</c:v>
                </c:pt>
                <c:pt idx="2372">
                  <c:v>#N/A</c:v>
                </c:pt>
                <c:pt idx="2373">
                  <c:v>#N/A</c:v>
                </c:pt>
                <c:pt idx="2374">
                  <c:v>#N/A</c:v>
                </c:pt>
                <c:pt idx="2375">
                  <c:v>#N/A</c:v>
                </c:pt>
                <c:pt idx="2376">
                  <c:v>#N/A</c:v>
                </c:pt>
                <c:pt idx="2377">
                  <c:v>#N/A</c:v>
                </c:pt>
                <c:pt idx="2378">
                  <c:v>#N/A</c:v>
                </c:pt>
                <c:pt idx="2379">
                  <c:v>#N/A</c:v>
                </c:pt>
                <c:pt idx="2380">
                  <c:v>#N/A</c:v>
                </c:pt>
                <c:pt idx="2381">
                  <c:v>#N/A</c:v>
                </c:pt>
                <c:pt idx="2382">
                  <c:v>#N/A</c:v>
                </c:pt>
                <c:pt idx="2383">
                  <c:v>#N/A</c:v>
                </c:pt>
                <c:pt idx="2384">
                  <c:v>#N/A</c:v>
                </c:pt>
                <c:pt idx="2385">
                  <c:v>#N/A</c:v>
                </c:pt>
                <c:pt idx="2386">
                  <c:v>#N/A</c:v>
                </c:pt>
                <c:pt idx="2387">
                  <c:v>#N/A</c:v>
                </c:pt>
                <c:pt idx="2388">
                  <c:v>#N/A</c:v>
                </c:pt>
                <c:pt idx="2389">
                  <c:v>#N/A</c:v>
                </c:pt>
                <c:pt idx="2390">
                  <c:v>#N/A</c:v>
                </c:pt>
                <c:pt idx="2391">
                  <c:v>#N/A</c:v>
                </c:pt>
                <c:pt idx="2392">
                  <c:v>#N/A</c:v>
                </c:pt>
                <c:pt idx="2393">
                  <c:v>#N/A</c:v>
                </c:pt>
                <c:pt idx="2394">
                  <c:v>#N/A</c:v>
                </c:pt>
                <c:pt idx="2395">
                  <c:v>#N/A</c:v>
                </c:pt>
                <c:pt idx="2396">
                  <c:v>#N/A</c:v>
                </c:pt>
                <c:pt idx="2397">
                  <c:v>#N/A</c:v>
                </c:pt>
                <c:pt idx="2398">
                  <c:v>#N/A</c:v>
                </c:pt>
                <c:pt idx="2399">
                  <c:v>#N/A</c:v>
                </c:pt>
                <c:pt idx="2400">
                  <c:v>#N/A</c:v>
                </c:pt>
                <c:pt idx="2401">
                  <c:v>#N/A</c:v>
                </c:pt>
                <c:pt idx="2402">
                  <c:v>#N/A</c:v>
                </c:pt>
                <c:pt idx="2403">
                  <c:v>#N/A</c:v>
                </c:pt>
                <c:pt idx="2404">
                  <c:v>#N/A</c:v>
                </c:pt>
                <c:pt idx="2405">
                  <c:v>#N/A</c:v>
                </c:pt>
                <c:pt idx="2406">
                  <c:v>#N/A</c:v>
                </c:pt>
                <c:pt idx="2407">
                  <c:v>#N/A</c:v>
                </c:pt>
                <c:pt idx="2408">
                  <c:v>#N/A</c:v>
                </c:pt>
                <c:pt idx="2409">
                  <c:v>#N/A</c:v>
                </c:pt>
                <c:pt idx="2410">
                  <c:v>#N/A</c:v>
                </c:pt>
                <c:pt idx="2411">
                  <c:v>#N/A</c:v>
                </c:pt>
                <c:pt idx="2412">
                  <c:v>#N/A</c:v>
                </c:pt>
                <c:pt idx="2413">
                  <c:v>#N/A</c:v>
                </c:pt>
                <c:pt idx="2414">
                  <c:v>#N/A</c:v>
                </c:pt>
                <c:pt idx="2415">
                  <c:v>#N/A</c:v>
                </c:pt>
                <c:pt idx="2416">
                  <c:v>#N/A</c:v>
                </c:pt>
                <c:pt idx="2417">
                  <c:v>#N/A</c:v>
                </c:pt>
                <c:pt idx="2418">
                  <c:v>#N/A</c:v>
                </c:pt>
                <c:pt idx="2419">
                  <c:v>#N/A</c:v>
                </c:pt>
                <c:pt idx="2420">
                  <c:v>#N/A</c:v>
                </c:pt>
                <c:pt idx="2421">
                  <c:v>#N/A</c:v>
                </c:pt>
                <c:pt idx="2422">
                  <c:v>#N/A</c:v>
                </c:pt>
                <c:pt idx="2423">
                  <c:v>#N/A</c:v>
                </c:pt>
                <c:pt idx="2424">
                  <c:v>#N/A</c:v>
                </c:pt>
                <c:pt idx="2425">
                  <c:v>#N/A</c:v>
                </c:pt>
                <c:pt idx="2426">
                  <c:v>#N/A</c:v>
                </c:pt>
                <c:pt idx="2427">
                  <c:v>#N/A</c:v>
                </c:pt>
                <c:pt idx="2428">
                  <c:v>#N/A</c:v>
                </c:pt>
                <c:pt idx="2429">
                  <c:v>#N/A</c:v>
                </c:pt>
                <c:pt idx="2430">
                  <c:v>#N/A</c:v>
                </c:pt>
                <c:pt idx="2431">
                  <c:v>#N/A</c:v>
                </c:pt>
                <c:pt idx="2432">
                  <c:v>#N/A</c:v>
                </c:pt>
                <c:pt idx="2433">
                  <c:v>#N/A</c:v>
                </c:pt>
                <c:pt idx="2434">
                  <c:v>#N/A</c:v>
                </c:pt>
                <c:pt idx="2435">
                  <c:v>#N/A</c:v>
                </c:pt>
                <c:pt idx="2436">
                  <c:v>#N/A</c:v>
                </c:pt>
                <c:pt idx="2437">
                  <c:v>#N/A</c:v>
                </c:pt>
                <c:pt idx="2438">
                  <c:v>#N/A</c:v>
                </c:pt>
                <c:pt idx="2439">
                  <c:v>#N/A</c:v>
                </c:pt>
                <c:pt idx="2440">
                  <c:v>#N/A</c:v>
                </c:pt>
                <c:pt idx="2441">
                  <c:v>#N/A</c:v>
                </c:pt>
                <c:pt idx="2442">
                  <c:v>#N/A</c:v>
                </c:pt>
                <c:pt idx="2443">
                  <c:v>#N/A</c:v>
                </c:pt>
                <c:pt idx="2444">
                  <c:v>#N/A</c:v>
                </c:pt>
                <c:pt idx="2445">
                  <c:v>#N/A</c:v>
                </c:pt>
                <c:pt idx="2446">
                  <c:v>#N/A</c:v>
                </c:pt>
                <c:pt idx="2447">
                  <c:v>#N/A</c:v>
                </c:pt>
                <c:pt idx="2448">
                  <c:v>#N/A</c:v>
                </c:pt>
                <c:pt idx="2449">
                  <c:v>#N/A</c:v>
                </c:pt>
                <c:pt idx="2450">
                  <c:v>#N/A</c:v>
                </c:pt>
                <c:pt idx="2451">
                  <c:v>#N/A</c:v>
                </c:pt>
                <c:pt idx="2452">
                  <c:v>#N/A</c:v>
                </c:pt>
                <c:pt idx="2453">
                  <c:v>#N/A</c:v>
                </c:pt>
                <c:pt idx="2454">
                  <c:v>#N/A</c:v>
                </c:pt>
                <c:pt idx="2455">
                  <c:v>#N/A</c:v>
                </c:pt>
                <c:pt idx="2456">
                  <c:v>#N/A</c:v>
                </c:pt>
                <c:pt idx="2457">
                  <c:v>#N/A</c:v>
                </c:pt>
                <c:pt idx="2458">
                  <c:v>#N/A</c:v>
                </c:pt>
                <c:pt idx="2459">
                  <c:v>#N/A</c:v>
                </c:pt>
                <c:pt idx="2460">
                  <c:v>#N/A</c:v>
                </c:pt>
                <c:pt idx="2461">
                  <c:v>#N/A</c:v>
                </c:pt>
                <c:pt idx="2462">
                  <c:v>#N/A</c:v>
                </c:pt>
                <c:pt idx="2463">
                  <c:v>#N/A</c:v>
                </c:pt>
                <c:pt idx="2464">
                  <c:v>#N/A</c:v>
                </c:pt>
                <c:pt idx="2465">
                  <c:v>#N/A</c:v>
                </c:pt>
                <c:pt idx="2466">
                  <c:v>#N/A</c:v>
                </c:pt>
                <c:pt idx="2467">
                  <c:v>#N/A</c:v>
                </c:pt>
                <c:pt idx="2468">
                  <c:v>#N/A</c:v>
                </c:pt>
                <c:pt idx="2469">
                  <c:v>#N/A</c:v>
                </c:pt>
                <c:pt idx="2470">
                  <c:v>#N/A</c:v>
                </c:pt>
                <c:pt idx="2471">
                  <c:v>#N/A</c:v>
                </c:pt>
                <c:pt idx="2472">
                  <c:v>#N/A</c:v>
                </c:pt>
                <c:pt idx="2473">
                  <c:v>#N/A</c:v>
                </c:pt>
                <c:pt idx="2474">
                  <c:v>#N/A</c:v>
                </c:pt>
                <c:pt idx="2475">
                  <c:v>#N/A</c:v>
                </c:pt>
                <c:pt idx="2476">
                  <c:v>#N/A</c:v>
                </c:pt>
                <c:pt idx="2477">
                  <c:v>#N/A</c:v>
                </c:pt>
                <c:pt idx="2478">
                  <c:v>#N/A</c:v>
                </c:pt>
                <c:pt idx="2479">
                  <c:v>#N/A</c:v>
                </c:pt>
                <c:pt idx="2480">
                  <c:v>#N/A</c:v>
                </c:pt>
                <c:pt idx="2481">
                  <c:v>#N/A</c:v>
                </c:pt>
                <c:pt idx="2482">
                  <c:v>#N/A</c:v>
                </c:pt>
                <c:pt idx="2483">
                  <c:v>#N/A</c:v>
                </c:pt>
                <c:pt idx="2484">
                  <c:v>#N/A</c:v>
                </c:pt>
                <c:pt idx="2485">
                  <c:v>#N/A</c:v>
                </c:pt>
                <c:pt idx="2486">
                  <c:v>#N/A</c:v>
                </c:pt>
                <c:pt idx="2487">
                  <c:v>#N/A</c:v>
                </c:pt>
                <c:pt idx="2488">
                  <c:v>#N/A</c:v>
                </c:pt>
                <c:pt idx="2489">
                  <c:v>#N/A</c:v>
                </c:pt>
                <c:pt idx="2490">
                  <c:v>#N/A</c:v>
                </c:pt>
                <c:pt idx="2491">
                  <c:v>#N/A</c:v>
                </c:pt>
                <c:pt idx="2492">
                  <c:v>#N/A</c:v>
                </c:pt>
                <c:pt idx="2493">
                  <c:v>#N/A</c:v>
                </c:pt>
                <c:pt idx="2494">
                  <c:v>#N/A</c:v>
                </c:pt>
                <c:pt idx="2495">
                  <c:v>#N/A</c:v>
                </c:pt>
                <c:pt idx="2496">
                  <c:v>#N/A</c:v>
                </c:pt>
                <c:pt idx="2497">
                  <c:v>#N/A</c:v>
                </c:pt>
                <c:pt idx="2498">
                  <c:v>#N/A</c:v>
                </c:pt>
                <c:pt idx="2499">
                  <c:v>#N/A</c:v>
                </c:pt>
                <c:pt idx="2500">
                  <c:v>#N/A</c:v>
                </c:pt>
                <c:pt idx="2501">
                  <c:v>#N/A</c:v>
                </c:pt>
                <c:pt idx="2502">
                  <c:v>#N/A</c:v>
                </c:pt>
                <c:pt idx="2503">
                  <c:v>#N/A</c:v>
                </c:pt>
                <c:pt idx="2504">
                  <c:v>#N/A</c:v>
                </c:pt>
                <c:pt idx="2505">
                  <c:v>#N/A</c:v>
                </c:pt>
                <c:pt idx="2506">
                  <c:v>#N/A</c:v>
                </c:pt>
                <c:pt idx="2507">
                  <c:v>#N/A</c:v>
                </c:pt>
                <c:pt idx="2508">
                  <c:v>#N/A</c:v>
                </c:pt>
                <c:pt idx="2509">
                  <c:v>#N/A</c:v>
                </c:pt>
                <c:pt idx="2510">
                  <c:v>#N/A</c:v>
                </c:pt>
                <c:pt idx="2511">
                  <c:v>#N/A</c:v>
                </c:pt>
                <c:pt idx="2512">
                  <c:v>#N/A</c:v>
                </c:pt>
                <c:pt idx="2513">
                  <c:v>#N/A</c:v>
                </c:pt>
                <c:pt idx="2514">
                  <c:v>#N/A</c:v>
                </c:pt>
                <c:pt idx="2515">
                  <c:v>#N/A</c:v>
                </c:pt>
                <c:pt idx="2516">
                  <c:v>#N/A</c:v>
                </c:pt>
                <c:pt idx="2517">
                  <c:v>#N/A</c:v>
                </c:pt>
                <c:pt idx="2518">
                  <c:v>#N/A</c:v>
                </c:pt>
                <c:pt idx="2519">
                  <c:v>#N/A</c:v>
                </c:pt>
                <c:pt idx="2520">
                  <c:v>#N/A</c:v>
                </c:pt>
                <c:pt idx="2521">
                  <c:v>#N/A</c:v>
                </c:pt>
                <c:pt idx="2522">
                  <c:v>#N/A</c:v>
                </c:pt>
                <c:pt idx="2523">
                  <c:v>#N/A</c:v>
                </c:pt>
                <c:pt idx="2524">
                  <c:v>#N/A</c:v>
                </c:pt>
                <c:pt idx="2525">
                  <c:v>#N/A</c:v>
                </c:pt>
                <c:pt idx="2526">
                  <c:v>#N/A</c:v>
                </c:pt>
                <c:pt idx="2527">
                  <c:v>#N/A</c:v>
                </c:pt>
                <c:pt idx="2528">
                  <c:v>#N/A</c:v>
                </c:pt>
                <c:pt idx="2529">
                  <c:v>#N/A</c:v>
                </c:pt>
                <c:pt idx="2530">
                  <c:v>#N/A</c:v>
                </c:pt>
                <c:pt idx="2531">
                  <c:v>#N/A</c:v>
                </c:pt>
                <c:pt idx="2532">
                  <c:v>#N/A</c:v>
                </c:pt>
                <c:pt idx="2533">
                  <c:v>#N/A</c:v>
                </c:pt>
                <c:pt idx="2534">
                  <c:v>#N/A</c:v>
                </c:pt>
                <c:pt idx="2535">
                  <c:v>#N/A</c:v>
                </c:pt>
                <c:pt idx="2536">
                  <c:v>#N/A</c:v>
                </c:pt>
                <c:pt idx="2537">
                  <c:v>#N/A</c:v>
                </c:pt>
                <c:pt idx="2538">
                  <c:v>#N/A</c:v>
                </c:pt>
                <c:pt idx="2539">
                  <c:v>#N/A</c:v>
                </c:pt>
                <c:pt idx="2540">
                  <c:v>#N/A</c:v>
                </c:pt>
                <c:pt idx="2541">
                  <c:v>#N/A</c:v>
                </c:pt>
                <c:pt idx="2542">
                  <c:v>#N/A</c:v>
                </c:pt>
                <c:pt idx="2543">
                  <c:v>#N/A</c:v>
                </c:pt>
                <c:pt idx="2544">
                  <c:v>#N/A</c:v>
                </c:pt>
                <c:pt idx="2545">
                  <c:v>#N/A</c:v>
                </c:pt>
                <c:pt idx="2546">
                  <c:v>#N/A</c:v>
                </c:pt>
                <c:pt idx="2547">
                  <c:v>#N/A</c:v>
                </c:pt>
                <c:pt idx="2548">
                  <c:v>#N/A</c:v>
                </c:pt>
                <c:pt idx="2549">
                  <c:v>#N/A</c:v>
                </c:pt>
                <c:pt idx="2550">
                  <c:v>#N/A</c:v>
                </c:pt>
                <c:pt idx="2551">
                  <c:v>#N/A</c:v>
                </c:pt>
                <c:pt idx="2552">
                  <c:v>#N/A</c:v>
                </c:pt>
                <c:pt idx="2553">
                  <c:v>#N/A</c:v>
                </c:pt>
                <c:pt idx="2554">
                  <c:v>#N/A</c:v>
                </c:pt>
                <c:pt idx="2555">
                  <c:v>#N/A</c:v>
                </c:pt>
                <c:pt idx="2556">
                  <c:v>#N/A</c:v>
                </c:pt>
                <c:pt idx="2557">
                  <c:v>#N/A</c:v>
                </c:pt>
                <c:pt idx="2558">
                  <c:v>#N/A</c:v>
                </c:pt>
                <c:pt idx="2559">
                  <c:v>#N/A</c:v>
                </c:pt>
                <c:pt idx="2560">
                  <c:v>#N/A</c:v>
                </c:pt>
                <c:pt idx="2561">
                  <c:v>#N/A</c:v>
                </c:pt>
                <c:pt idx="2562">
                  <c:v>#N/A</c:v>
                </c:pt>
                <c:pt idx="2563">
                  <c:v>#N/A</c:v>
                </c:pt>
                <c:pt idx="2564">
                  <c:v>#N/A</c:v>
                </c:pt>
                <c:pt idx="2565">
                  <c:v>#N/A</c:v>
                </c:pt>
                <c:pt idx="2566">
                  <c:v>#N/A</c:v>
                </c:pt>
                <c:pt idx="2567">
                  <c:v>#N/A</c:v>
                </c:pt>
                <c:pt idx="2568">
                  <c:v>#N/A</c:v>
                </c:pt>
                <c:pt idx="2569">
                  <c:v>#N/A</c:v>
                </c:pt>
                <c:pt idx="2570">
                  <c:v>#N/A</c:v>
                </c:pt>
                <c:pt idx="2571">
                  <c:v>#N/A</c:v>
                </c:pt>
                <c:pt idx="2572">
                  <c:v>#N/A</c:v>
                </c:pt>
                <c:pt idx="2573">
                  <c:v>#N/A</c:v>
                </c:pt>
                <c:pt idx="2574">
                  <c:v>#N/A</c:v>
                </c:pt>
                <c:pt idx="2575">
                  <c:v>#N/A</c:v>
                </c:pt>
                <c:pt idx="2576">
                  <c:v>#N/A</c:v>
                </c:pt>
                <c:pt idx="2577">
                  <c:v>#N/A</c:v>
                </c:pt>
                <c:pt idx="2578">
                  <c:v>#N/A</c:v>
                </c:pt>
                <c:pt idx="2579">
                  <c:v>#N/A</c:v>
                </c:pt>
                <c:pt idx="2580">
                  <c:v>#N/A</c:v>
                </c:pt>
                <c:pt idx="2581">
                  <c:v>#N/A</c:v>
                </c:pt>
                <c:pt idx="2582">
                  <c:v>#N/A</c:v>
                </c:pt>
                <c:pt idx="2583">
                  <c:v>#N/A</c:v>
                </c:pt>
                <c:pt idx="2584">
                  <c:v>#N/A</c:v>
                </c:pt>
                <c:pt idx="2585">
                  <c:v>#N/A</c:v>
                </c:pt>
                <c:pt idx="2586">
                  <c:v>#N/A</c:v>
                </c:pt>
                <c:pt idx="2587">
                  <c:v>#N/A</c:v>
                </c:pt>
                <c:pt idx="2588">
                  <c:v>#N/A</c:v>
                </c:pt>
                <c:pt idx="2589">
                  <c:v>#N/A</c:v>
                </c:pt>
                <c:pt idx="2590">
                  <c:v>#N/A</c:v>
                </c:pt>
                <c:pt idx="2591">
                  <c:v>#N/A</c:v>
                </c:pt>
                <c:pt idx="2592">
                  <c:v>#N/A</c:v>
                </c:pt>
                <c:pt idx="2593">
                  <c:v>#N/A</c:v>
                </c:pt>
                <c:pt idx="2594">
                  <c:v>#N/A</c:v>
                </c:pt>
                <c:pt idx="2595">
                  <c:v>#N/A</c:v>
                </c:pt>
                <c:pt idx="2596">
                  <c:v>#N/A</c:v>
                </c:pt>
                <c:pt idx="2597">
                  <c:v>#N/A</c:v>
                </c:pt>
                <c:pt idx="2598">
                  <c:v>#N/A</c:v>
                </c:pt>
                <c:pt idx="2599">
                  <c:v>#N/A</c:v>
                </c:pt>
                <c:pt idx="2600">
                  <c:v>#N/A</c:v>
                </c:pt>
                <c:pt idx="2601">
                  <c:v>#N/A</c:v>
                </c:pt>
                <c:pt idx="2602">
                  <c:v>#N/A</c:v>
                </c:pt>
                <c:pt idx="2603">
                  <c:v>#N/A</c:v>
                </c:pt>
                <c:pt idx="2604">
                  <c:v>#N/A</c:v>
                </c:pt>
                <c:pt idx="2605">
                  <c:v>#N/A</c:v>
                </c:pt>
                <c:pt idx="2606">
                  <c:v>#N/A</c:v>
                </c:pt>
                <c:pt idx="2607">
                  <c:v>#N/A</c:v>
                </c:pt>
                <c:pt idx="2608">
                  <c:v>#N/A</c:v>
                </c:pt>
                <c:pt idx="2609">
                  <c:v>#N/A</c:v>
                </c:pt>
                <c:pt idx="2610">
                  <c:v>#N/A</c:v>
                </c:pt>
                <c:pt idx="2611">
                  <c:v>#N/A</c:v>
                </c:pt>
                <c:pt idx="2612">
                  <c:v>#N/A</c:v>
                </c:pt>
                <c:pt idx="2613">
                  <c:v>#N/A</c:v>
                </c:pt>
                <c:pt idx="2614">
                  <c:v>#N/A</c:v>
                </c:pt>
                <c:pt idx="2615">
                  <c:v>#N/A</c:v>
                </c:pt>
                <c:pt idx="2616">
                  <c:v>#N/A</c:v>
                </c:pt>
                <c:pt idx="2617">
                  <c:v>#N/A</c:v>
                </c:pt>
                <c:pt idx="2618">
                  <c:v>#N/A</c:v>
                </c:pt>
                <c:pt idx="2619">
                  <c:v>#N/A</c:v>
                </c:pt>
                <c:pt idx="2620">
                  <c:v>#N/A</c:v>
                </c:pt>
                <c:pt idx="2621">
                  <c:v>#N/A</c:v>
                </c:pt>
                <c:pt idx="2622">
                  <c:v>#N/A</c:v>
                </c:pt>
                <c:pt idx="2623">
                  <c:v>#N/A</c:v>
                </c:pt>
                <c:pt idx="2624">
                  <c:v>#N/A</c:v>
                </c:pt>
                <c:pt idx="2625">
                  <c:v>#N/A</c:v>
                </c:pt>
                <c:pt idx="2626">
                  <c:v>#N/A</c:v>
                </c:pt>
                <c:pt idx="2627">
                  <c:v>#N/A</c:v>
                </c:pt>
                <c:pt idx="2628">
                  <c:v>#N/A</c:v>
                </c:pt>
                <c:pt idx="2629">
                  <c:v>#N/A</c:v>
                </c:pt>
                <c:pt idx="2630">
                  <c:v>#N/A</c:v>
                </c:pt>
                <c:pt idx="2631">
                  <c:v>#N/A</c:v>
                </c:pt>
                <c:pt idx="2632">
                  <c:v>#N/A</c:v>
                </c:pt>
                <c:pt idx="2633">
                  <c:v>#N/A</c:v>
                </c:pt>
                <c:pt idx="2634">
                  <c:v>#N/A</c:v>
                </c:pt>
                <c:pt idx="2635">
                  <c:v>#N/A</c:v>
                </c:pt>
                <c:pt idx="2636">
                  <c:v>#N/A</c:v>
                </c:pt>
                <c:pt idx="2637">
                  <c:v>#N/A</c:v>
                </c:pt>
                <c:pt idx="2638">
                  <c:v>#N/A</c:v>
                </c:pt>
                <c:pt idx="2639">
                  <c:v>#N/A</c:v>
                </c:pt>
                <c:pt idx="2640">
                  <c:v>#N/A</c:v>
                </c:pt>
                <c:pt idx="2641">
                  <c:v>#N/A</c:v>
                </c:pt>
                <c:pt idx="2642">
                  <c:v>#N/A</c:v>
                </c:pt>
                <c:pt idx="2643">
                  <c:v>#N/A</c:v>
                </c:pt>
                <c:pt idx="2644">
                  <c:v>#N/A</c:v>
                </c:pt>
                <c:pt idx="2645">
                  <c:v>#N/A</c:v>
                </c:pt>
                <c:pt idx="2646">
                  <c:v>#N/A</c:v>
                </c:pt>
                <c:pt idx="2647">
                  <c:v>#N/A</c:v>
                </c:pt>
                <c:pt idx="2648">
                  <c:v>#N/A</c:v>
                </c:pt>
                <c:pt idx="2649">
                  <c:v>#N/A</c:v>
                </c:pt>
                <c:pt idx="2650">
                  <c:v>#N/A</c:v>
                </c:pt>
                <c:pt idx="2651">
                  <c:v>#N/A</c:v>
                </c:pt>
                <c:pt idx="2652">
                  <c:v>#N/A</c:v>
                </c:pt>
                <c:pt idx="2653">
                  <c:v>#N/A</c:v>
                </c:pt>
                <c:pt idx="2654">
                  <c:v>#N/A</c:v>
                </c:pt>
                <c:pt idx="2655">
                  <c:v>#N/A</c:v>
                </c:pt>
                <c:pt idx="2656">
                  <c:v>#N/A</c:v>
                </c:pt>
                <c:pt idx="2657">
                  <c:v>#N/A</c:v>
                </c:pt>
                <c:pt idx="2658">
                  <c:v>#N/A</c:v>
                </c:pt>
                <c:pt idx="2659">
                  <c:v>#N/A</c:v>
                </c:pt>
                <c:pt idx="2660">
                  <c:v>#N/A</c:v>
                </c:pt>
                <c:pt idx="2661">
                  <c:v>#N/A</c:v>
                </c:pt>
                <c:pt idx="2662">
                  <c:v>#N/A</c:v>
                </c:pt>
                <c:pt idx="2663">
                  <c:v>#N/A</c:v>
                </c:pt>
                <c:pt idx="2664">
                  <c:v>#N/A</c:v>
                </c:pt>
                <c:pt idx="2665">
                  <c:v>#N/A</c:v>
                </c:pt>
                <c:pt idx="2666">
                  <c:v>#N/A</c:v>
                </c:pt>
                <c:pt idx="2667">
                  <c:v>#N/A</c:v>
                </c:pt>
                <c:pt idx="2668">
                  <c:v>#N/A</c:v>
                </c:pt>
                <c:pt idx="2669">
                  <c:v>#N/A</c:v>
                </c:pt>
                <c:pt idx="2670">
                  <c:v>#N/A</c:v>
                </c:pt>
                <c:pt idx="2671">
                  <c:v>#N/A</c:v>
                </c:pt>
                <c:pt idx="2672">
                  <c:v>#N/A</c:v>
                </c:pt>
                <c:pt idx="2673">
                  <c:v>#N/A</c:v>
                </c:pt>
                <c:pt idx="2674">
                  <c:v>#N/A</c:v>
                </c:pt>
                <c:pt idx="2675">
                  <c:v>#N/A</c:v>
                </c:pt>
                <c:pt idx="2676">
                  <c:v>#N/A</c:v>
                </c:pt>
                <c:pt idx="2677">
                  <c:v>#N/A</c:v>
                </c:pt>
                <c:pt idx="2678">
                  <c:v>#N/A</c:v>
                </c:pt>
                <c:pt idx="2679">
                  <c:v>#N/A</c:v>
                </c:pt>
                <c:pt idx="2680">
                  <c:v>#N/A</c:v>
                </c:pt>
                <c:pt idx="2681">
                  <c:v>#N/A</c:v>
                </c:pt>
                <c:pt idx="2682">
                  <c:v>#N/A</c:v>
                </c:pt>
                <c:pt idx="2683">
                  <c:v>#N/A</c:v>
                </c:pt>
                <c:pt idx="2684">
                  <c:v>#N/A</c:v>
                </c:pt>
                <c:pt idx="2685">
                  <c:v>#N/A</c:v>
                </c:pt>
                <c:pt idx="2686">
                  <c:v>#N/A</c:v>
                </c:pt>
                <c:pt idx="2687">
                  <c:v>#N/A</c:v>
                </c:pt>
                <c:pt idx="2688">
                  <c:v>#N/A</c:v>
                </c:pt>
                <c:pt idx="2689">
                  <c:v>#N/A</c:v>
                </c:pt>
                <c:pt idx="2690">
                  <c:v>#N/A</c:v>
                </c:pt>
                <c:pt idx="2691">
                  <c:v>#N/A</c:v>
                </c:pt>
                <c:pt idx="2692">
                  <c:v>#N/A</c:v>
                </c:pt>
                <c:pt idx="2693">
                  <c:v>#N/A</c:v>
                </c:pt>
                <c:pt idx="2694">
                  <c:v>#N/A</c:v>
                </c:pt>
                <c:pt idx="2695">
                  <c:v>#N/A</c:v>
                </c:pt>
                <c:pt idx="2696">
                  <c:v>#N/A</c:v>
                </c:pt>
                <c:pt idx="2697">
                  <c:v>#N/A</c:v>
                </c:pt>
                <c:pt idx="2698">
                  <c:v>#N/A</c:v>
                </c:pt>
                <c:pt idx="2699">
                  <c:v>#N/A</c:v>
                </c:pt>
                <c:pt idx="2700">
                  <c:v>#N/A</c:v>
                </c:pt>
                <c:pt idx="2701">
                  <c:v>#N/A</c:v>
                </c:pt>
                <c:pt idx="2702">
                  <c:v>#N/A</c:v>
                </c:pt>
                <c:pt idx="2703">
                  <c:v>#N/A</c:v>
                </c:pt>
                <c:pt idx="2704">
                  <c:v>#N/A</c:v>
                </c:pt>
                <c:pt idx="2705">
                  <c:v>#N/A</c:v>
                </c:pt>
                <c:pt idx="2706">
                  <c:v>#N/A</c:v>
                </c:pt>
                <c:pt idx="2707">
                  <c:v>#N/A</c:v>
                </c:pt>
                <c:pt idx="2708">
                  <c:v>#N/A</c:v>
                </c:pt>
                <c:pt idx="2709">
                  <c:v>#N/A</c:v>
                </c:pt>
                <c:pt idx="2710">
                  <c:v>#N/A</c:v>
                </c:pt>
                <c:pt idx="2711">
                  <c:v>#N/A</c:v>
                </c:pt>
                <c:pt idx="2712">
                  <c:v>#N/A</c:v>
                </c:pt>
                <c:pt idx="2713">
                  <c:v>#N/A</c:v>
                </c:pt>
                <c:pt idx="2714">
                  <c:v>#N/A</c:v>
                </c:pt>
                <c:pt idx="2715">
                  <c:v>#N/A</c:v>
                </c:pt>
                <c:pt idx="2716">
                  <c:v>#N/A</c:v>
                </c:pt>
                <c:pt idx="2717">
                  <c:v>#N/A</c:v>
                </c:pt>
                <c:pt idx="2718">
                  <c:v>#N/A</c:v>
                </c:pt>
                <c:pt idx="2719">
                  <c:v>#N/A</c:v>
                </c:pt>
                <c:pt idx="2720">
                  <c:v>#N/A</c:v>
                </c:pt>
                <c:pt idx="2721">
                  <c:v>#N/A</c:v>
                </c:pt>
                <c:pt idx="2722">
                  <c:v>#N/A</c:v>
                </c:pt>
                <c:pt idx="2723">
                  <c:v>#N/A</c:v>
                </c:pt>
                <c:pt idx="2724">
                  <c:v>#N/A</c:v>
                </c:pt>
                <c:pt idx="2725">
                  <c:v>#N/A</c:v>
                </c:pt>
                <c:pt idx="2726">
                  <c:v>#N/A</c:v>
                </c:pt>
                <c:pt idx="2727">
                  <c:v>#N/A</c:v>
                </c:pt>
                <c:pt idx="2728">
                  <c:v>#N/A</c:v>
                </c:pt>
                <c:pt idx="2729">
                  <c:v>#N/A</c:v>
                </c:pt>
                <c:pt idx="2730">
                  <c:v>#N/A</c:v>
                </c:pt>
                <c:pt idx="2731">
                  <c:v>#N/A</c:v>
                </c:pt>
                <c:pt idx="2732">
                  <c:v>#N/A</c:v>
                </c:pt>
                <c:pt idx="2733">
                  <c:v>#N/A</c:v>
                </c:pt>
                <c:pt idx="2734">
                  <c:v>#N/A</c:v>
                </c:pt>
                <c:pt idx="2735">
                  <c:v>#N/A</c:v>
                </c:pt>
                <c:pt idx="2736">
                  <c:v>#N/A</c:v>
                </c:pt>
                <c:pt idx="2737">
                  <c:v>#N/A</c:v>
                </c:pt>
                <c:pt idx="2738">
                  <c:v>#N/A</c:v>
                </c:pt>
                <c:pt idx="2739">
                  <c:v>#N/A</c:v>
                </c:pt>
                <c:pt idx="2740">
                  <c:v>#N/A</c:v>
                </c:pt>
                <c:pt idx="2741">
                  <c:v>#N/A</c:v>
                </c:pt>
                <c:pt idx="2742">
                  <c:v>#N/A</c:v>
                </c:pt>
                <c:pt idx="2743">
                  <c:v>#N/A</c:v>
                </c:pt>
                <c:pt idx="2744">
                  <c:v>#N/A</c:v>
                </c:pt>
                <c:pt idx="2745">
                  <c:v>#N/A</c:v>
                </c:pt>
                <c:pt idx="2746">
                  <c:v>#N/A</c:v>
                </c:pt>
                <c:pt idx="2747">
                  <c:v>#N/A</c:v>
                </c:pt>
                <c:pt idx="2748">
                  <c:v>#N/A</c:v>
                </c:pt>
                <c:pt idx="2749">
                  <c:v>#N/A</c:v>
                </c:pt>
                <c:pt idx="2750">
                  <c:v>#N/A</c:v>
                </c:pt>
                <c:pt idx="2751">
                  <c:v>#N/A</c:v>
                </c:pt>
                <c:pt idx="2752">
                  <c:v>#N/A</c:v>
                </c:pt>
                <c:pt idx="2753">
                  <c:v>#N/A</c:v>
                </c:pt>
                <c:pt idx="2754">
                  <c:v>#N/A</c:v>
                </c:pt>
                <c:pt idx="2755">
                  <c:v>#N/A</c:v>
                </c:pt>
                <c:pt idx="2756">
                  <c:v>#N/A</c:v>
                </c:pt>
                <c:pt idx="2757">
                  <c:v>#N/A</c:v>
                </c:pt>
                <c:pt idx="2758">
                  <c:v>#N/A</c:v>
                </c:pt>
                <c:pt idx="2759">
                  <c:v>#N/A</c:v>
                </c:pt>
                <c:pt idx="2760">
                  <c:v>#N/A</c:v>
                </c:pt>
                <c:pt idx="2761">
                  <c:v>#N/A</c:v>
                </c:pt>
                <c:pt idx="2762">
                  <c:v>#N/A</c:v>
                </c:pt>
                <c:pt idx="2763">
                  <c:v>#N/A</c:v>
                </c:pt>
                <c:pt idx="2764">
                  <c:v>#N/A</c:v>
                </c:pt>
                <c:pt idx="2765">
                  <c:v>#N/A</c:v>
                </c:pt>
                <c:pt idx="2766">
                  <c:v>#N/A</c:v>
                </c:pt>
                <c:pt idx="2767">
                  <c:v>#N/A</c:v>
                </c:pt>
                <c:pt idx="2768">
                  <c:v>#N/A</c:v>
                </c:pt>
                <c:pt idx="2769">
                  <c:v>#N/A</c:v>
                </c:pt>
                <c:pt idx="2770">
                  <c:v>#N/A</c:v>
                </c:pt>
                <c:pt idx="2771">
                  <c:v>#N/A</c:v>
                </c:pt>
                <c:pt idx="2772">
                  <c:v>#N/A</c:v>
                </c:pt>
                <c:pt idx="2773">
                  <c:v>#N/A</c:v>
                </c:pt>
                <c:pt idx="2774">
                  <c:v>#N/A</c:v>
                </c:pt>
                <c:pt idx="2775">
                  <c:v>#N/A</c:v>
                </c:pt>
                <c:pt idx="2776">
                  <c:v>#N/A</c:v>
                </c:pt>
                <c:pt idx="2777">
                  <c:v>#N/A</c:v>
                </c:pt>
                <c:pt idx="2778">
                  <c:v>#N/A</c:v>
                </c:pt>
                <c:pt idx="2779">
                  <c:v>#N/A</c:v>
                </c:pt>
                <c:pt idx="2780">
                  <c:v>#N/A</c:v>
                </c:pt>
                <c:pt idx="2781">
                  <c:v>#N/A</c:v>
                </c:pt>
                <c:pt idx="2782">
                  <c:v>#N/A</c:v>
                </c:pt>
                <c:pt idx="2783">
                  <c:v>#N/A</c:v>
                </c:pt>
                <c:pt idx="2784">
                  <c:v>#N/A</c:v>
                </c:pt>
                <c:pt idx="2785">
                  <c:v>#N/A</c:v>
                </c:pt>
                <c:pt idx="2786">
                  <c:v>#N/A</c:v>
                </c:pt>
                <c:pt idx="2787">
                  <c:v>#N/A</c:v>
                </c:pt>
                <c:pt idx="2788">
                  <c:v>#N/A</c:v>
                </c:pt>
                <c:pt idx="2789">
                  <c:v>#N/A</c:v>
                </c:pt>
                <c:pt idx="2790">
                  <c:v>#N/A</c:v>
                </c:pt>
                <c:pt idx="2791">
                  <c:v>#N/A</c:v>
                </c:pt>
                <c:pt idx="2792">
                  <c:v>#N/A</c:v>
                </c:pt>
                <c:pt idx="2793">
                  <c:v>#N/A</c:v>
                </c:pt>
                <c:pt idx="2794">
                  <c:v>#N/A</c:v>
                </c:pt>
                <c:pt idx="2795">
                  <c:v>#N/A</c:v>
                </c:pt>
                <c:pt idx="2796">
                  <c:v>#N/A</c:v>
                </c:pt>
                <c:pt idx="2797">
                  <c:v>#N/A</c:v>
                </c:pt>
                <c:pt idx="2798">
                  <c:v>#N/A</c:v>
                </c:pt>
                <c:pt idx="2799">
                  <c:v>#N/A</c:v>
                </c:pt>
                <c:pt idx="2800">
                  <c:v>#N/A</c:v>
                </c:pt>
                <c:pt idx="2801">
                  <c:v>#N/A</c:v>
                </c:pt>
                <c:pt idx="2802">
                  <c:v>#N/A</c:v>
                </c:pt>
                <c:pt idx="2803">
                  <c:v>#N/A</c:v>
                </c:pt>
                <c:pt idx="2804">
                  <c:v>#N/A</c:v>
                </c:pt>
                <c:pt idx="2805">
                  <c:v>#N/A</c:v>
                </c:pt>
                <c:pt idx="2806">
                  <c:v>#N/A</c:v>
                </c:pt>
                <c:pt idx="2807">
                  <c:v>#N/A</c:v>
                </c:pt>
                <c:pt idx="2808">
                  <c:v>#N/A</c:v>
                </c:pt>
                <c:pt idx="2809">
                  <c:v>#N/A</c:v>
                </c:pt>
                <c:pt idx="2810">
                  <c:v>#N/A</c:v>
                </c:pt>
                <c:pt idx="2811">
                  <c:v>#N/A</c:v>
                </c:pt>
                <c:pt idx="2812">
                  <c:v>#N/A</c:v>
                </c:pt>
                <c:pt idx="2813">
                  <c:v>#N/A</c:v>
                </c:pt>
                <c:pt idx="2814">
                  <c:v>#N/A</c:v>
                </c:pt>
                <c:pt idx="2815">
                  <c:v>#N/A</c:v>
                </c:pt>
                <c:pt idx="2816">
                  <c:v>#N/A</c:v>
                </c:pt>
                <c:pt idx="2817">
                  <c:v>#N/A</c:v>
                </c:pt>
                <c:pt idx="2818">
                  <c:v>#N/A</c:v>
                </c:pt>
                <c:pt idx="2819">
                  <c:v>#N/A</c:v>
                </c:pt>
                <c:pt idx="2820">
                  <c:v>#N/A</c:v>
                </c:pt>
                <c:pt idx="2821">
                  <c:v>#N/A</c:v>
                </c:pt>
                <c:pt idx="2822">
                  <c:v>#N/A</c:v>
                </c:pt>
                <c:pt idx="2823">
                  <c:v>#N/A</c:v>
                </c:pt>
                <c:pt idx="2824">
                  <c:v>#N/A</c:v>
                </c:pt>
                <c:pt idx="2825">
                  <c:v>#N/A</c:v>
                </c:pt>
                <c:pt idx="2826">
                  <c:v>#N/A</c:v>
                </c:pt>
                <c:pt idx="2827">
                  <c:v>#N/A</c:v>
                </c:pt>
                <c:pt idx="2828">
                  <c:v>#N/A</c:v>
                </c:pt>
                <c:pt idx="2829">
                  <c:v>#N/A</c:v>
                </c:pt>
                <c:pt idx="2830">
                  <c:v>#N/A</c:v>
                </c:pt>
                <c:pt idx="2831">
                  <c:v>#N/A</c:v>
                </c:pt>
                <c:pt idx="2832">
                  <c:v>#N/A</c:v>
                </c:pt>
                <c:pt idx="2833">
                  <c:v>#N/A</c:v>
                </c:pt>
                <c:pt idx="2834">
                  <c:v>#N/A</c:v>
                </c:pt>
                <c:pt idx="2835">
                  <c:v>#N/A</c:v>
                </c:pt>
                <c:pt idx="2836">
                  <c:v>#N/A</c:v>
                </c:pt>
                <c:pt idx="2837">
                  <c:v>#N/A</c:v>
                </c:pt>
                <c:pt idx="2838">
                  <c:v>#N/A</c:v>
                </c:pt>
                <c:pt idx="2839">
                  <c:v>#N/A</c:v>
                </c:pt>
                <c:pt idx="2840">
                  <c:v>#N/A</c:v>
                </c:pt>
                <c:pt idx="2841">
                  <c:v>#N/A</c:v>
                </c:pt>
                <c:pt idx="2842">
                  <c:v>#N/A</c:v>
                </c:pt>
                <c:pt idx="2843">
                  <c:v>#N/A</c:v>
                </c:pt>
                <c:pt idx="2844">
                  <c:v>#N/A</c:v>
                </c:pt>
                <c:pt idx="2845">
                  <c:v>#N/A</c:v>
                </c:pt>
                <c:pt idx="2846">
                  <c:v>#N/A</c:v>
                </c:pt>
                <c:pt idx="2847">
                  <c:v>#N/A</c:v>
                </c:pt>
                <c:pt idx="2848">
                  <c:v>#N/A</c:v>
                </c:pt>
                <c:pt idx="2849">
                  <c:v>#N/A</c:v>
                </c:pt>
                <c:pt idx="2850">
                  <c:v>#N/A</c:v>
                </c:pt>
                <c:pt idx="2851">
                  <c:v>#N/A</c:v>
                </c:pt>
                <c:pt idx="2852">
                  <c:v>#N/A</c:v>
                </c:pt>
                <c:pt idx="2853">
                  <c:v>#N/A</c:v>
                </c:pt>
                <c:pt idx="2854">
                  <c:v>#N/A</c:v>
                </c:pt>
                <c:pt idx="2855">
                  <c:v>#N/A</c:v>
                </c:pt>
                <c:pt idx="2856">
                  <c:v>#N/A</c:v>
                </c:pt>
                <c:pt idx="2857">
                  <c:v>#N/A</c:v>
                </c:pt>
                <c:pt idx="2858">
                  <c:v>#N/A</c:v>
                </c:pt>
                <c:pt idx="2859">
                  <c:v>#N/A</c:v>
                </c:pt>
                <c:pt idx="2860">
                  <c:v>#N/A</c:v>
                </c:pt>
                <c:pt idx="2861">
                  <c:v>#N/A</c:v>
                </c:pt>
                <c:pt idx="2862">
                  <c:v>#N/A</c:v>
                </c:pt>
                <c:pt idx="2863">
                  <c:v>#N/A</c:v>
                </c:pt>
                <c:pt idx="2864">
                  <c:v>#N/A</c:v>
                </c:pt>
                <c:pt idx="2865">
                  <c:v>#N/A</c:v>
                </c:pt>
                <c:pt idx="2866">
                  <c:v>#N/A</c:v>
                </c:pt>
                <c:pt idx="2867">
                  <c:v>#N/A</c:v>
                </c:pt>
                <c:pt idx="2868">
                  <c:v>#N/A</c:v>
                </c:pt>
                <c:pt idx="2869">
                  <c:v>#N/A</c:v>
                </c:pt>
                <c:pt idx="2870">
                  <c:v>#N/A</c:v>
                </c:pt>
                <c:pt idx="2871">
                  <c:v>#N/A</c:v>
                </c:pt>
                <c:pt idx="2872">
                  <c:v>#N/A</c:v>
                </c:pt>
                <c:pt idx="2873">
                  <c:v>#N/A</c:v>
                </c:pt>
                <c:pt idx="2874">
                  <c:v>#N/A</c:v>
                </c:pt>
                <c:pt idx="2875">
                  <c:v>#N/A</c:v>
                </c:pt>
                <c:pt idx="2876">
                  <c:v>#N/A</c:v>
                </c:pt>
                <c:pt idx="2877">
                  <c:v>#N/A</c:v>
                </c:pt>
                <c:pt idx="2878">
                  <c:v>#N/A</c:v>
                </c:pt>
                <c:pt idx="2879">
                  <c:v>#N/A</c:v>
                </c:pt>
                <c:pt idx="2880">
                  <c:v>#N/A</c:v>
                </c:pt>
                <c:pt idx="2881">
                  <c:v>#N/A</c:v>
                </c:pt>
                <c:pt idx="2882">
                  <c:v>#N/A</c:v>
                </c:pt>
                <c:pt idx="2883">
                  <c:v>#N/A</c:v>
                </c:pt>
                <c:pt idx="2884">
                  <c:v>#N/A</c:v>
                </c:pt>
                <c:pt idx="2885">
                  <c:v>#N/A</c:v>
                </c:pt>
                <c:pt idx="2886">
                  <c:v>#N/A</c:v>
                </c:pt>
                <c:pt idx="2887">
                  <c:v>#N/A</c:v>
                </c:pt>
                <c:pt idx="2888">
                  <c:v>#N/A</c:v>
                </c:pt>
                <c:pt idx="2889">
                  <c:v>#N/A</c:v>
                </c:pt>
                <c:pt idx="2890">
                  <c:v>#N/A</c:v>
                </c:pt>
                <c:pt idx="2891">
                  <c:v>#N/A</c:v>
                </c:pt>
                <c:pt idx="2892">
                  <c:v>#N/A</c:v>
                </c:pt>
                <c:pt idx="2893">
                  <c:v>#N/A</c:v>
                </c:pt>
                <c:pt idx="2894">
                  <c:v>#N/A</c:v>
                </c:pt>
                <c:pt idx="2895">
                  <c:v>#N/A</c:v>
                </c:pt>
                <c:pt idx="2896">
                  <c:v>#N/A</c:v>
                </c:pt>
                <c:pt idx="2897">
                  <c:v>#N/A</c:v>
                </c:pt>
                <c:pt idx="2898">
                  <c:v>#N/A</c:v>
                </c:pt>
                <c:pt idx="2899">
                  <c:v>#N/A</c:v>
                </c:pt>
                <c:pt idx="2900">
                  <c:v>#N/A</c:v>
                </c:pt>
                <c:pt idx="2901">
                  <c:v>#N/A</c:v>
                </c:pt>
                <c:pt idx="2902">
                  <c:v>#N/A</c:v>
                </c:pt>
                <c:pt idx="2903">
                  <c:v>#N/A</c:v>
                </c:pt>
                <c:pt idx="2904">
                  <c:v>#N/A</c:v>
                </c:pt>
                <c:pt idx="2905">
                  <c:v>#N/A</c:v>
                </c:pt>
                <c:pt idx="2906">
                  <c:v>#N/A</c:v>
                </c:pt>
                <c:pt idx="2907">
                  <c:v>#N/A</c:v>
                </c:pt>
                <c:pt idx="2908">
                  <c:v>#N/A</c:v>
                </c:pt>
                <c:pt idx="2909">
                  <c:v>#N/A</c:v>
                </c:pt>
                <c:pt idx="2910">
                  <c:v>#N/A</c:v>
                </c:pt>
                <c:pt idx="2911">
                  <c:v>#N/A</c:v>
                </c:pt>
                <c:pt idx="2912">
                  <c:v>#N/A</c:v>
                </c:pt>
                <c:pt idx="2913">
                  <c:v>#N/A</c:v>
                </c:pt>
                <c:pt idx="2914">
                  <c:v>#N/A</c:v>
                </c:pt>
                <c:pt idx="2915">
                  <c:v>#N/A</c:v>
                </c:pt>
                <c:pt idx="2916">
                  <c:v>#N/A</c:v>
                </c:pt>
                <c:pt idx="2917">
                  <c:v>#N/A</c:v>
                </c:pt>
                <c:pt idx="2918">
                  <c:v>#N/A</c:v>
                </c:pt>
                <c:pt idx="2919">
                  <c:v>#N/A</c:v>
                </c:pt>
                <c:pt idx="2920">
                  <c:v>#N/A</c:v>
                </c:pt>
                <c:pt idx="2921">
                  <c:v>#N/A</c:v>
                </c:pt>
                <c:pt idx="2922">
                  <c:v>#N/A</c:v>
                </c:pt>
                <c:pt idx="2923">
                  <c:v>#N/A</c:v>
                </c:pt>
                <c:pt idx="2924">
                  <c:v>#N/A</c:v>
                </c:pt>
                <c:pt idx="2925">
                  <c:v>#N/A</c:v>
                </c:pt>
                <c:pt idx="2926">
                  <c:v>#N/A</c:v>
                </c:pt>
                <c:pt idx="2927">
                  <c:v>#N/A</c:v>
                </c:pt>
                <c:pt idx="2928">
                  <c:v>#N/A</c:v>
                </c:pt>
                <c:pt idx="2929">
                  <c:v>#N/A</c:v>
                </c:pt>
                <c:pt idx="2930">
                  <c:v>#N/A</c:v>
                </c:pt>
                <c:pt idx="2931">
                  <c:v>#N/A</c:v>
                </c:pt>
                <c:pt idx="2932">
                  <c:v>#N/A</c:v>
                </c:pt>
                <c:pt idx="2933">
                  <c:v>#N/A</c:v>
                </c:pt>
                <c:pt idx="2934">
                  <c:v>#N/A</c:v>
                </c:pt>
                <c:pt idx="2935">
                  <c:v>#N/A</c:v>
                </c:pt>
                <c:pt idx="2936">
                  <c:v>#N/A</c:v>
                </c:pt>
                <c:pt idx="2937">
                  <c:v>#N/A</c:v>
                </c:pt>
                <c:pt idx="2938">
                  <c:v>#N/A</c:v>
                </c:pt>
                <c:pt idx="2939">
                  <c:v>#N/A</c:v>
                </c:pt>
                <c:pt idx="2940">
                  <c:v>#N/A</c:v>
                </c:pt>
                <c:pt idx="2941">
                  <c:v>#N/A</c:v>
                </c:pt>
                <c:pt idx="2942">
                  <c:v>#N/A</c:v>
                </c:pt>
                <c:pt idx="2943">
                  <c:v>#N/A</c:v>
                </c:pt>
                <c:pt idx="2944">
                  <c:v>#N/A</c:v>
                </c:pt>
                <c:pt idx="2945">
                  <c:v>#N/A</c:v>
                </c:pt>
                <c:pt idx="2946">
                  <c:v>#N/A</c:v>
                </c:pt>
                <c:pt idx="2947">
                  <c:v>#N/A</c:v>
                </c:pt>
                <c:pt idx="2948">
                  <c:v>#N/A</c:v>
                </c:pt>
                <c:pt idx="2949">
                  <c:v>#N/A</c:v>
                </c:pt>
                <c:pt idx="2950">
                  <c:v>#N/A</c:v>
                </c:pt>
                <c:pt idx="2951">
                  <c:v>#N/A</c:v>
                </c:pt>
                <c:pt idx="2952">
                  <c:v>#N/A</c:v>
                </c:pt>
                <c:pt idx="2953">
                  <c:v>#N/A</c:v>
                </c:pt>
                <c:pt idx="2954">
                  <c:v>#N/A</c:v>
                </c:pt>
                <c:pt idx="2955">
                  <c:v>#N/A</c:v>
                </c:pt>
                <c:pt idx="2956">
                  <c:v>#N/A</c:v>
                </c:pt>
                <c:pt idx="2957">
                  <c:v>#N/A</c:v>
                </c:pt>
                <c:pt idx="2958">
                  <c:v>#N/A</c:v>
                </c:pt>
                <c:pt idx="2959">
                  <c:v>#N/A</c:v>
                </c:pt>
                <c:pt idx="2960">
                  <c:v>#N/A</c:v>
                </c:pt>
                <c:pt idx="2961">
                  <c:v>#N/A</c:v>
                </c:pt>
                <c:pt idx="2962">
                  <c:v>#N/A</c:v>
                </c:pt>
                <c:pt idx="2963">
                  <c:v>#N/A</c:v>
                </c:pt>
                <c:pt idx="2964">
                  <c:v>#N/A</c:v>
                </c:pt>
                <c:pt idx="2965">
                  <c:v>#N/A</c:v>
                </c:pt>
                <c:pt idx="2966">
                  <c:v>#N/A</c:v>
                </c:pt>
                <c:pt idx="2967">
                  <c:v>#N/A</c:v>
                </c:pt>
                <c:pt idx="2968">
                  <c:v>#N/A</c:v>
                </c:pt>
                <c:pt idx="2969">
                  <c:v>#N/A</c:v>
                </c:pt>
                <c:pt idx="2970">
                  <c:v>#N/A</c:v>
                </c:pt>
                <c:pt idx="2971">
                  <c:v>#N/A</c:v>
                </c:pt>
                <c:pt idx="2972">
                  <c:v>#N/A</c:v>
                </c:pt>
                <c:pt idx="2973">
                  <c:v>#N/A</c:v>
                </c:pt>
                <c:pt idx="2974">
                  <c:v>#N/A</c:v>
                </c:pt>
                <c:pt idx="2975">
                  <c:v>#N/A</c:v>
                </c:pt>
                <c:pt idx="2976">
                  <c:v>#N/A</c:v>
                </c:pt>
                <c:pt idx="2977">
                  <c:v>#N/A</c:v>
                </c:pt>
                <c:pt idx="2978">
                  <c:v>#N/A</c:v>
                </c:pt>
                <c:pt idx="2979">
                  <c:v>#N/A</c:v>
                </c:pt>
                <c:pt idx="2980">
                  <c:v>#N/A</c:v>
                </c:pt>
                <c:pt idx="2981">
                  <c:v>#N/A</c:v>
                </c:pt>
                <c:pt idx="2982">
                  <c:v>#N/A</c:v>
                </c:pt>
                <c:pt idx="2983">
                  <c:v>#N/A</c:v>
                </c:pt>
                <c:pt idx="2984">
                  <c:v>#N/A</c:v>
                </c:pt>
                <c:pt idx="2985">
                  <c:v>#N/A</c:v>
                </c:pt>
                <c:pt idx="2986">
                  <c:v>#N/A</c:v>
                </c:pt>
                <c:pt idx="2987">
                  <c:v>#N/A</c:v>
                </c:pt>
                <c:pt idx="2988">
                  <c:v>#N/A</c:v>
                </c:pt>
                <c:pt idx="2989">
                  <c:v>#N/A</c:v>
                </c:pt>
                <c:pt idx="2990">
                  <c:v>#N/A</c:v>
                </c:pt>
                <c:pt idx="2991">
                  <c:v>#N/A</c:v>
                </c:pt>
                <c:pt idx="2992">
                  <c:v>#N/A</c:v>
                </c:pt>
                <c:pt idx="2993">
                  <c:v>#N/A</c:v>
                </c:pt>
                <c:pt idx="2994">
                  <c:v>#N/A</c:v>
                </c:pt>
                <c:pt idx="2995">
                  <c:v>#N/A</c:v>
                </c:pt>
                <c:pt idx="2996">
                  <c:v>#N/A</c:v>
                </c:pt>
                <c:pt idx="2997">
                  <c:v>#N/A</c:v>
                </c:pt>
                <c:pt idx="2998">
                  <c:v>#N/A</c:v>
                </c:pt>
                <c:pt idx="2999">
                  <c:v>#N/A</c:v>
                </c:pt>
                <c:pt idx="3000">
                  <c:v>#N/A</c:v>
                </c:pt>
                <c:pt idx="3001">
                  <c:v>#N/A</c:v>
                </c:pt>
                <c:pt idx="3002">
                  <c:v>#N/A</c:v>
                </c:pt>
                <c:pt idx="3003">
                  <c:v>#N/A</c:v>
                </c:pt>
                <c:pt idx="3004">
                  <c:v>#N/A</c:v>
                </c:pt>
                <c:pt idx="3005">
                  <c:v>#N/A</c:v>
                </c:pt>
                <c:pt idx="3006">
                  <c:v>#N/A</c:v>
                </c:pt>
                <c:pt idx="3007">
                  <c:v>#N/A</c:v>
                </c:pt>
                <c:pt idx="3008">
                  <c:v>#N/A</c:v>
                </c:pt>
                <c:pt idx="3009">
                  <c:v>#N/A</c:v>
                </c:pt>
                <c:pt idx="3010">
                  <c:v>#N/A</c:v>
                </c:pt>
                <c:pt idx="3011">
                  <c:v>#N/A</c:v>
                </c:pt>
                <c:pt idx="3012">
                  <c:v>#N/A</c:v>
                </c:pt>
                <c:pt idx="3013">
                  <c:v>#N/A</c:v>
                </c:pt>
                <c:pt idx="3014">
                  <c:v>#N/A</c:v>
                </c:pt>
                <c:pt idx="3015">
                  <c:v>#N/A</c:v>
                </c:pt>
                <c:pt idx="3016">
                  <c:v>#N/A</c:v>
                </c:pt>
                <c:pt idx="3017">
                  <c:v>#N/A</c:v>
                </c:pt>
                <c:pt idx="3018">
                  <c:v>#N/A</c:v>
                </c:pt>
                <c:pt idx="3019">
                  <c:v>#N/A</c:v>
                </c:pt>
                <c:pt idx="3020">
                  <c:v>#N/A</c:v>
                </c:pt>
                <c:pt idx="3021">
                  <c:v>#N/A</c:v>
                </c:pt>
                <c:pt idx="3022">
                  <c:v>#N/A</c:v>
                </c:pt>
                <c:pt idx="3023">
                  <c:v>#N/A</c:v>
                </c:pt>
                <c:pt idx="3024">
                  <c:v>#N/A</c:v>
                </c:pt>
                <c:pt idx="3025">
                  <c:v>#N/A</c:v>
                </c:pt>
                <c:pt idx="3026">
                  <c:v>#N/A</c:v>
                </c:pt>
                <c:pt idx="3027">
                  <c:v>#N/A</c:v>
                </c:pt>
                <c:pt idx="3028">
                  <c:v>#N/A</c:v>
                </c:pt>
                <c:pt idx="3029">
                  <c:v>#N/A</c:v>
                </c:pt>
                <c:pt idx="3030">
                  <c:v>#N/A</c:v>
                </c:pt>
                <c:pt idx="3031">
                  <c:v>#N/A</c:v>
                </c:pt>
                <c:pt idx="3032">
                  <c:v>#N/A</c:v>
                </c:pt>
                <c:pt idx="3033">
                  <c:v>#N/A</c:v>
                </c:pt>
                <c:pt idx="3034">
                  <c:v>#N/A</c:v>
                </c:pt>
                <c:pt idx="3035">
                  <c:v>#N/A</c:v>
                </c:pt>
                <c:pt idx="3036">
                  <c:v>#N/A</c:v>
                </c:pt>
                <c:pt idx="3037">
                  <c:v>#N/A</c:v>
                </c:pt>
                <c:pt idx="3038">
                  <c:v>#N/A</c:v>
                </c:pt>
                <c:pt idx="3039">
                  <c:v>#N/A</c:v>
                </c:pt>
                <c:pt idx="3040">
                  <c:v>#N/A</c:v>
                </c:pt>
                <c:pt idx="3041">
                  <c:v>#N/A</c:v>
                </c:pt>
                <c:pt idx="3042">
                  <c:v>#N/A</c:v>
                </c:pt>
                <c:pt idx="3043">
                  <c:v>#N/A</c:v>
                </c:pt>
                <c:pt idx="3044">
                  <c:v>#N/A</c:v>
                </c:pt>
                <c:pt idx="3045">
                  <c:v>#N/A</c:v>
                </c:pt>
                <c:pt idx="3046">
                  <c:v>#N/A</c:v>
                </c:pt>
                <c:pt idx="3047">
                  <c:v>#N/A</c:v>
                </c:pt>
                <c:pt idx="3048">
                  <c:v>#N/A</c:v>
                </c:pt>
                <c:pt idx="3049">
                  <c:v>#N/A</c:v>
                </c:pt>
                <c:pt idx="3050">
                  <c:v>#N/A</c:v>
                </c:pt>
                <c:pt idx="3051">
                  <c:v>#N/A</c:v>
                </c:pt>
                <c:pt idx="3052">
                  <c:v>#N/A</c:v>
                </c:pt>
                <c:pt idx="3053">
                  <c:v>#N/A</c:v>
                </c:pt>
                <c:pt idx="3054">
                  <c:v>#N/A</c:v>
                </c:pt>
                <c:pt idx="3055">
                  <c:v>#N/A</c:v>
                </c:pt>
                <c:pt idx="3056">
                  <c:v>#N/A</c:v>
                </c:pt>
                <c:pt idx="3057">
                  <c:v>#N/A</c:v>
                </c:pt>
                <c:pt idx="3058">
                  <c:v>#N/A</c:v>
                </c:pt>
                <c:pt idx="3059">
                  <c:v>#N/A</c:v>
                </c:pt>
                <c:pt idx="3060">
                  <c:v>#N/A</c:v>
                </c:pt>
                <c:pt idx="3061">
                  <c:v>#N/A</c:v>
                </c:pt>
                <c:pt idx="3062">
                  <c:v>#N/A</c:v>
                </c:pt>
                <c:pt idx="3063">
                  <c:v>#N/A</c:v>
                </c:pt>
                <c:pt idx="3064">
                  <c:v>#N/A</c:v>
                </c:pt>
                <c:pt idx="3065">
                  <c:v>#N/A</c:v>
                </c:pt>
                <c:pt idx="3066">
                  <c:v>#N/A</c:v>
                </c:pt>
                <c:pt idx="3067">
                  <c:v>#N/A</c:v>
                </c:pt>
                <c:pt idx="3068">
                  <c:v>#N/A</c:v>
                </c:pt>
                <c:pt idx="3069">
                  <c:v>#N/A</c:v>
                </c:pt>
                <c:pt idx="3070">
                  <c:v>#N/A</c:v>
                </c:pt>
                <c:pt idx="3071">
                  <c:v>#N/A</c:v>
                </c:pt>
                <c:pt idx="3072">
                  <c:v>#N/A</c:v>
                </c:pt>
                <c:pt idx="3073">
                  <c:v>#N/A</c:v>
                </c:pt>
                <c:pt idx="3074">
                  <c:v>#N/A</c:v>
                </c:pt>
                <c:pt idx="3075">
                  <c:v>#N/A</c:v>
                </c:pt>
                <c:pt idx="3076">
                  <c:v>#N/A</c:v>
                </c:pt>
                <c:pt idx="3077">
                  <c:v>#N/A</c:v>
                </c:pt>
                <c:pt idx="3078">
                  <c:v>#N/A</c:v>
                </c:pt>
                <c:pt idx="3079">
                  <c:v>#N/A</c:v>
                </c:pt>
                <c:pt idx="3080">
                  <c:v>#N/A</c:v>
                </c:pt>
                <c:pt idx="3081">
                  <c:v>#N/A</c:v>
                </c:pt>
                <c:pt idx="3082">
                  <c:v>#N/A</c:v>
                </c:pt>
                <c:pt idx="3083">
                  <c:v>#N/A</c:v>
                </c:pt>
                <c:pt idx="3084">
                  <c:v>#N/A</c:v>
                </c:pt>
                <c:pt idx="3085">
                  <c:v>#N/A</c:v>
                </c:pt>
                <c:pt idx="3086">
                  <c:v>#N/A</c:v>
                </c:pt>
                <c:pt idx="3087">
                  <c:v>#N/A</c:v>
                </c:pt>
                <c:pt idx="3088">
                  <c:v>#N/A</c:v>
                </c:pt>
                <c:pt idx="3089">
                  <c:v>#N/A</c:v>
                </c:pt>
                <c:pt idx="3090">
                  <c:v>#N/A</c:v>
                </c:pt>
                <c:pt idx="3091">
                  <c:v>#N/A</c:v>
                </c:pt>
                <c:pt idx="3092">
                  <c:v>#N/A</c:v>
                </c:pt>
                <c:pt idx="3093">
                  <c:v>#N/A</c:v>
                </c:pt>
                <c:pt idx="3094">
                  <c:v>#N/A</c:v>
                </c:pt>
                <c:pt idx="3095">
                  <c:v>#N/A</c:v>
                </c:pt>
                <c:pt idx="3096">
                  <c:v>#N/A</c:v>
                </c:pt>
                <c:pt idx="3097">
                  <c:v>#N/A</c:v>
                </c:pt>
                <c:pt idx="3098">
                  <c:v>#N/A</c:v>
                </c:pt>
                <c:pt idx="3099">
                  <c:v>#N/A</c:v>
                </c:pt>
                <c:pt idx="3100">
                  <c:v>#N/A</c:v>
                </c:pt>
                <c:pt idx="3101">
                  <c:v>#N/A</c:v>
                </c:pt>
                <c:pt idx="3102">
                  <c:v>#N/A</c:v>
                </c:pt>
                <c:pt idx="3103">
                  <c:v>#N/A</c:v>
                </c:pt>
                <c:pt idx="3104">
                  <c:v>#N/A</c:v>
                </c:pt>
                <c:pt idx="3105">
                  <c:v>#N/A</c:v>
                </c:pt>
                <c:pt idx="3106">
                  <c:v>#N/A</c:v>
                </c:pt>
                <c:pt idx="3107">
                  <c:v>#N/A</c:v>
                </c:pt>
                <c:pt idx="3108">
                  <c:v>#N/A</c:v>
                </c:pt>
                <c:pt idx="3109">
                  <c:v>#N/A</c:v>
                </c:pt>
                <c:pt idx="3110">
                  <c:v>#N/A</c:v>
                </c:pt>
                <c:pt idx="3111">
                  <c:v>#N/A</c:v>
                </c:pt>
                <c:pt idx="3112">
                  <c:v>#N/A</c:v>
                </c:pt>
                <c:pt idx="3113">
                  <c:v>#N/A</c:v>
                </c:pt>
                <c:pt idx="3114">
                  <c:v>#N/A</c:v>
                </c:pt>
                <c:pt idx="3115">
                  <c:v>#N/A</c:v>
                </c:pt>
                <c:pt idx="3116">
                  <c:v>#N/A</c:v>
                </c:pt>
                <c:pt idx="3117">
                  <c:v>#N/A</c:v>
                </c:pt>
                <c:pt idx="3118">
                  <c:v>#N/A</c:v>
                </c:pt>
                <c:pt idx="3119">
                  <c:v>#N/A</c:v>
                </c:pt>
                <c:pt idx="3120">
                  <c:v>#N/A</c:v>
                </c:pt>
                <c:pt idx="3121">
                  <c:v>#N/A</c:v>
                </c:pt>
                <c:pt idx="3122">
                  <c:v>#N/A</c:v>
                </c:pt>
                <c:pt idx="3123">
                  <c:v>#N/A</c:v>
                </c:pt>
                <c:pt idx="3124">
                  <c:v>#N/A</c:v>
                </c:pt>
                <c:pt idx="3125">
                  <c:v>#N/A</c:v>
                </c:pt>
                <c:pt idx="3126">
                  <c:v>#N/A</c:v>
                </c:pt>
                <c:pt idx="3127">
                  <c:v>#N/A</c:v>
                </c:pt>
                <c:pt idx="3128">
                  <c:v>#N/A</c:v>
                </c:pt>
                <c:pt idx="3129">
                  <c:v>#N/A</c:v>
                </c:pt>
                <c:pt idx="3130">
                  <c:v>#N/A</c:v>
                </c:pt>
                <c:pt idx="3131">
                  <c:v>#N/A</c:v>
                </c:pt>
                <c:pt idx="3132">
                  <c:v>#N/A</c:v>
                </c:pt>
                <c:pt idx="3133">
                  <c:v>#N/A</c:v>
                </c:pt>
                <c:pt idx="3134">
                  <c:v>#N/A</c:v>
                </c:pt>
                <c:pt idx="3135">
                  <c:v>#N/A</c:v>
                </c:pt>
                <c:pt idx="3136">
                  <c:v>#N/A</c:v>
                </c:pt>
                <c:pt idx="3137">
                  <c:v>#N/A</c:v>
                </c:pt>
                <c:pt idx="3138">
                  <c:v>#N/A</c:v>
                </c:pt>
                <c:pt idx="3139">
                  <c:v>#N/A</c:v>
                </c:pt>
                <c:pt idx="3140">
                  <c:v>#N/A</c:v>
                </c:pt>
                <c:pt idx="3141">
                  <c:v>#N/A</c:v>
                </c:pt>
                <c:pt idx="3142">
                  <c:v>#N/A</c:v>
                </c:pt>
                <c:pt idx="3143">
                  <c:v>#N/A</c:v>
                </c:pt>
                <c:pt idx="3144">
                  <c:v>#N/A</c:v>
                </c:pt>
                <c:pt idx="3145">
                  <c:v>#N/A</c:v>
                </c:pt>
                <c:pt idx="3146">
                  <c:v>#N/A</c:v>
                </c:pt>
                <c:pt idx="3147">
                  <c:v>#N/A</c:v>
                </c:pt>
                <c:pt idx="3148">
                  <c:v>#N/A</c:v>
                </c:pt>
                <c:pt idx="3149">
                  <c:v>#N/A</c:v>
                </c:pt>
                <c:pt idx="3150">
                  <c:v>#N/A</c:v>
                </c:pt>
                <c:pt idx="3151">
                  <c:v>#N/A</c:v>
                </c:pt>
                <c:pt idx="3152">
                  <c:v>#N/A</c:v>
                </c:pt>
                <c:pt idx="3153">
                  <c:v>#N/A</c:v>
                </c:pt>
                <c:pt idx="3154">
                  <c:v>#N/A</c:v>
                </c:pt>
                <c:pt idx="3155">
                  <c:v>#N/A</c:v>
                </c:pt>
                <c:pt idx="3156">
                  <c:v>#N/A</c:v>
                </c:pt>
                <c:pt idx="3157">
                  <c:v>#N/A</c:v>
                </c:pt>
                <c:pt idx="3158">
                  <c:v>#N/A</c:v>
                </c:pt>
                <c:pt idx="3159">
                  <c:v>#N/A</c:v>
                </c:pt>
                <c:pt idx="3160">
                  <c:v>#N/A</c:v>
                </c:pt>
                <c:pt idx="3161">
                  <c:v>#N/A</c:v>
                </c:pt>
                <c:pt idx="3162">
                  <c:v>#N/A</c:v>
                </c:pt>
                <c:pt idx="3163">
                  <c:v>#N/A</c:v>
                </c:pt>
                <c:pt idx="3164">
                  <c:v>#N/A</c:v>
                </c:pt>
                <c:pt idx="3165">
                  <c:v>#N/A</c:v>
                </c:pt>
                <c:pt idx="3166">
                  <c:v>#N/A</c:v>
                </c:pt>
                <c:pt idx="3167">
                  <c:v>#N/A</c:v>
                </c:pt>
                <c:pt idx="3168">
                  <c:v>#N/A</c:v>
                </c:pt>
                <c:pt idx="3169">
                  <c:v>#N/A</c:v>
                </c:pt>
                <c:pt idx="3170">
                  <c:v>#N/A</c:v>
                </c:pt>
                <c:pt idx="3171">
                  <c:v>#N/A</c:v>
                </c:pt>
                <c:pt idx="3172">
                  <c:v>#N/A</c:v>
                </c:pt>
                <c:pt idx="3173">
                  <c:v>#N/A</c:v>
                </c:pt>
                <c:pt idx="3174">
                  <c:v>#N/A</c:v>
                </c:pt>
                <c:pt idx="3175">
                  <c:v>#N/A</c:v>
                </c:pt>
                <c:pt idx="3176">
                  <c:v>#N/A</c:v>
                </c:pt>
                <c:pt idx="3177">
                  <c:v>#N/A</c:v>
                </c:pt>
                <c:pt idx="3178">
                  <c:v>#N/A</c:v>
                </c:pt>
                <c:pt idx="3179">
                  <c:v>#N/A</c:v>
                </c:pt>
                <c:pt idx="3180">
                  <c:v>#N/A</c:v>
                </c:pt>
                <c:pt idx="3181">
                  <c:v>#N/A</c:v>
                </c:pt>
                <c:pt idx="3182">
                  <c:v>#N/A</c:v>
                </c:pt>
                <c:pt idx="3183">
                  <c:v>#N/A</c:v>
                </c:pt>
                <c:pt idx="3184">
                  <c:v>#N/A</c:v>
                </c:pt>
                <c:pt idx="3185">
                  <c:v>#N/A</c:v>
                </c:pt>
                <c:pt idx="3186">
                  <c:v>#N/A</c:v>
                </c:pt>
                <c:pt idx="3187">
                  <c:v>#N/A</c:v>
                </c:pt>
                <c:pt idx="3188">
                  <c:v>#N/A</c:v>
                </c:pt>
                <c:pt idx="3189">
                  <c:v>#N/A</c:v>
                </c:pt>
                <c:pt idx="3190">
                  <c:v>#N/A</c:v>
                </c:pt>
                <c:pt idx="3191">
                  <c:v>#N/A</c:v>
                </c:pt>
                <c:pt idx="3192">
                  <c:v>#N/A</c:v>
                </c:pt>
                <c:pt idx="3193">
                  <c:v>#N/A</c:v>
                </c:pt>
                <c:pt idx="3194">
                  <c:v>#N/A</c:v>
                </c:pt>
                <c:pt idx="3195">
                  <c:v>#N/A</c:v>
                </c:pt>
                <c:pt idx="3196">
                  <c:v>#N/A</c:v>
                </c:pt>
                <c:pt idx="3197">
                  <c:v>#N/A</c:v>
                </c:pt>
                <c:pt idx="3198">
                  <c:v>#N/A</c:v>
                </c:pt>
                <c:pt idx="3199">
                  <c:v>#N/A</c:v>
                </c:pt>
                <c:pt idx="3200">
                  <c:v>#N/A</c:v>
                </c:pt>
                <c:pt idx="3201">
                  <c:v>#N/A</c:v>
                </c:pt>
                <c:pt idx="3202">
                  <c:v>#N/A</c:v>
                </c:pt>
                <c:pt idx="3203">
                  <c:v>#N/A</c:v>
                </c:pt>
                <c:pt idx="3204">
                  <c:v>#N/A</c:v>
                </c:pt>
                <c:pt idx="3205">
                  <c:v>#N/A</c:v>
                </c:pt>
                <c:pt idx="3206">
                  <c:v>#N/A</c:v>
                </c:pt>
                <c:pt idx="3207">
                  <c:v>#N/A</c:v>
                </c:pt>
                <c:pt idx="3208">
                  <c:v>#N/A</c:v>
                </c:pt>
                <c:pt idx="3209">
                  <c:v>#N/A</c:v>
                </c:pt>
                <c:pt idx="3210">
                  <c:v>#N/A</c:v>
                </c:pt>
                <c:pt idx="3211">
                  <c:v>#N/A</c:v>
                </c:pt>
                <c:pt idx="3212">
                  <c:v>#N/A</c:v>
                </c:pt>
                <c:pt idx="3213">
                  <c:v>#N/A</c:v>
                </c:pt>
                <c:pt idx="3214">
                  <c:v>#N/A</c:v>
                </c:pt>
                <c:pt idx="3215">
                  <c:v>#N/A</c:v>
                </c:pt>
                <c:pt idx="3216">
                  <c:v>#N/A</c:v>
                </c:pt>
                <c:pt idx="3217">
                  <c:v>#N/A</c:v>
                </c:pt>
                <c:pt idx="3218">
                  <c:v>#N/A</c:v>
                </c:pt>
                <c:pt idx="3219">
                  <c:v>#N/A</c:v>
                </c:pt>
                <c:pt idx="3220">
                  <c:v>#N/A</c:v>
                </c:pt>
                <c:pt idx="3221">
                  <c:v>#N/A</c:v>
                </c:pt>
                <c:pt idx="3222">
                  <c:v>#N/A</c:v>
                </c:pt>
                <c:pt idx="3223">
                  <c:v>#N/A</c:v>
                </c:pt>
                <c:pt idx="3224">
                  <c:v>#N/A</c:v>
                </c:pt>
                <c:pt idx="3225">
                  <c:v>#N/A</c:v>
                </c:pt>
                <c:pt idx="3226">
                  <c:v>#N/A</c:v>
                </c:pt>
                <c:pt idx="3227">
                  <c:v>#N/A</c:v>
                </c:pt>
                <c:pt idx="3228">
                  <c:v>#N/A</c:v>
                </c:pt>
                <c:pt idx="3229">
                  <c:v>#N/A</c:v>
                </c:pt>
                <c:pt idx="3230">
                  <c:v>#N/A</c:v>
                </c:pt>
                <c:pt idx="3231">
                  <c:v>#N/A</c:v>
                </c:pt>
                <c:pt idx="3232">
                  <c:v>#N/A</c:v>
                </c:pt>
                <c:pt idx="3233">
                  <c:v>#N/A</c:v>
                </c:pt>
                <c:pt idx="3234">
                  <c:v>#N/A</c:v>
                </c:pt>
                <c:pt idx="3235">
                  <c:v>#N/A</c:v>
                </c:pt>
                <c:pt idx="3236">
                  <c:v>#N/A</c:v>
                </c:pt>
                <c:pt idx="3237">
                  <c:v>#N/A</c:v>
                </c:pt>
                <c:pt idx="3238">
                  <c:v>#N/A</c:v>
                </c:pt>
                <c:pt idx="3239">
                  <c:v>#N/A</c:v>
                </c:pt>
                <c:pt idx="3240">
                  <c:v>#N/A</c:v>
                </c:pt>
                <c:pt idx="3241">
                  <c:v>#N/A</c:v>
                </c:pt>
                <c:pt idx="3242">
                  <c:v>#N/A</c:v>
                </c:pt>
                <c:pt idx="3243">
                  <c:v>#N/A</c:v>
                </c:pt>
                <c:pt idx="3244">
                  <c:v>#N/A</c:v>
                </c:pt>
                <c:pt idx="3245">
                  <c:v>#N/A</c:v>
                </c:pt>
                <c:pt idx="3246">
                  <c:v>#N/A</c:v>
                </c:pt>
                <c:pt idx="3247">
                  <c:v>#N/A</c:v>
                </c:pt>
                <c:pt idx="3248">
                  <c:v>#N/A</c:v>
                </c:pt>
                <c:pt idx="3249">
                  <c:v>#N/A</c:v>
                </c:pt>
                <c:pt idx="3250">
                  <c:v>#N/A</c:v>
                </c:pt>
                <c:pt idx="3251">
                  <c:v>#N/A</c:v>
                </c:pt>
                <c:pt idx="3252">
                  <c:v>#N/A</c:v>
                </c:pt>
                <c:pt idx="3253">
                  <c:v>#N/A</c:v>
                </c:pt>
                <c:pt idx="3254">
                  <c:v>#N/A</c:v>
                </c:pt>
                <c:pt idx="3255">
                  <c:v>#N/A</c:v>
                </c:pt>
                <c:pt idx="3256">
                  <c:v>#N/A</c:v>
                </c:pt>
                <c:pt idx="3257">
                  <c:v>#N/A</c:v>
                </c:pt>
                <c:pt idx="3258">
                  <c:v>#N/A</c:v>
                </c:pt>
                <c:pt idx="3259">
                  <c:v>#N/A</c:v>
                </c:pt>
                <c:pt idx="3260">
                  <c:v>#N/A</c:v>
                </c:pt>
                <c:pt idx="3261">
                  <c:v>#N/A</c:v>
                </c:pt>
                <c:pt idx="3262">
                  <c:v>#N/A</c:v>
                </c:pt>
                <c:pt idx="3263">
                  <c:v>#N/A</c:v>
                </c:pt>
                <c:pt idx="3264">
                  <c:v>#N/A</c:v>
                </c:pt>
                <c:pt idx="3265">
                  <c:v>#N/A</c:v>
                </c:pt>
                <c:pt idx="3266">
                  <c:v>#N/A</c:v>
                </c:pt>
                <c:pt idx="3267">
                  <c:v>#N/A</c:v>
                </c:pt>
                <c:pt idx="3268">
                  <c:v>#N/A</c:v>
                </c:pt>
                <c:pt idx="3269">
                  <c:v>#N/A</c:v>
                </c:pt>
                <c:pt idx="3270">
                  <c:v>#N/A</c:v>
                </c:pt>
                <c:pt idx="3271">
                  <c:v>#N/A</c:v>
                </c:pt>
                <c:pt idx="3272">
                  <c:v>#N/A</c:v>
                </c:pt>
                <c:pt idx="3273">
                  <c:v>#N/A</c:v>
                </c:pt>
                <c:pt idx="3274">
                  <c:v>#N/A</c:v>
                </c:pt>
                <c:pt idx="3275">
                  <c:v>#N/A</c:v>
                </c:pt>
                <c:pt idx="3276">
                  <c:v>#N/A</c:v>
                </c:pt>
                <c:pt idx="3277">
                  <c:v>#N/A</c:v>
                </c:pt>
                <c:pt idx="3278">
                  <c:v>#N/A</c:v>
                </c:pt>
                <c:pt idx="3279">
                  <c:v>#N/A</c:v>
                </c:pt>
                <c:pt idx="3280">
                  <c:v>#N/A</c:v>
                </c:pt>
                <c:pt idx="3281">
                  <c:v>#N/A</c:v>
                </c:pt>
                <c:pt idx="3282">
                  <c:v>#N/A</c:v>
                </c:pt>
                <c:pt idx="3283">
                  <c:v>#N/A</c:v>
                </c:pt>
                <c:pt idx="3284">
                  <c:v>#N/A</c:v>
                </c:pt>
                <c:pt idx="3285">
                  <c:v>#N/A</c:v>
                </c:pt>
                <c:pt idx="3286">
                  <c:v>#N/A</c:v>
                </c:pt>
                <c:pt idx="3287">
                  <c:v>#N/A</c:v>
                </c:pt>
                <c:pt idx="3288">
                  <c:v>#N/A</c:v>
                </c:pt>
                <c:pt idx="3289">
                  <c:v>#N/A</c:v>
                </c:pt>
                <c:pt idx="3290">
                  <c:v>#N/A</c:v>
                </c:pt>
                <c:pt idx="3291">
                  <c:v>#N/A</c:v>
                </c:pt>
                <c:pt idx="3292">
                  <c:v>#N/A</c:v>
                </c:pt>
                <c:pt idx="3293">
                  <c:v>#N/A</c:v>
                </c:pt>
                <c:pt idx="3294">
                  <c:v>#N/A</c:v>
                </c:pt>
                <c:pt idx="3295">
                  <c:v>#N/A</c:v>
                </c:pt>
                <c:pt idx="3296">
                  <c:v>#N/A</c:v>
                </c:pt>
                <c:pt idx="3297">
                  <c:v>#N/A</c:v>
                </c:pt>
                <c:pt idx="3298">
                  <c:v>#N/A</c:v>
                </c:pt>
                <c:pt idx="3299">
                  <c:v>#N/A</c:v>
                </c:pt>
                <c:pt idx="3300">
                  <c:v>#N/A</c:v>
                </c:pt>
                <c:pt idx="3301">
                  <c:v>#N/A</c:v>
                </c:pt>
                <c:pt idx="3302">
                  <c:v>#N/A</c:v>
                </c:pt>
                <c:pt idx="3303">
                  <c:v>#N/A</c:v>
                </c:pt>
                <c:pt idx="3304">
                  <c:v>#N/A</c:v>
                </c:pt>
                <c:pt idx="3305">
                  <c:v>#N/A</c:v>
                </c:pt>
                <c:pt idx="3306">
                  <c:v>#N/A</c:v>
                </c:pt>
                <c:pt idx="3307">
                  <c:v>#N/A</c:v>
                </c:pt>
                <c:pt idx="3308">
                  <c:v>#N/A</c:v>
                </c:pt>
                <c:pt idx="3309">
                  <c:v>#N/A</c:v>
                </c:pt>
                <c:pt idx="3310">
                  <c:v>#N/A</c:v>
                </c:pt>
                <c:pt idx="3311">
                  <c:v>#N/A</c:v>
                </c:pt>
                <c:pt idx="3312">
                  <c:v>#N/A</c:v>
                </c:pt>
                <c:pt idx="3313">
                  <c:v>#N/A</c:v>
                </c:pt>
                <c:pt idx="3314">
                  <c:v>#N/A</c:v>
                </c:pt>
                <c:pt idx="3315">
                  <c:v>#N/A</c:v>
                </c:pt>
                <c:pt idx="3316">
                  <c:v>#N/A</c:v>
                </c:pt>
                <c:pt idx="3317">
                  <c:v>#N/A</c:v>
                </c:pt>
                <c:pt idx="3318">
                  <c:v>#N/A</c:v>
                </c:pt>
                <c:pt idx="3319">
                  <c:v>#N/A</c:v>
                </c:pt>
                <c:pt idx="3320">
                  <c:v>#N/A</c:v>
                </c:pt>
                <c:pt idx="3321">
                  <c:v>#N/A</c:v>
                </c:pt>
                <c:pt idx="3322">
                  <c:v>#N/A</c:v>
                </c:pt>
                <c:pt idx="3323">
                  <c:v>#N/A</c:v>
                </c:pt>
                <c:pt idx="3324">
                  <c:v>#N/A</c:v>
                </c:pt>
                <c:pt idx="3325">
                  <c:v>#N/A</c:v>
                </c:pt>
                <c:pt idx="3326">
                  <c:v>#N/A</c:v>
                </c:pt>
                <c:pt idx="3327">
                  <c:v>#N/A</c:v>
                </c:pt>
                <c:pt idx="3328">
                  <c:v>#N/A</c:v>
                </c:pt>
                <c:pt idx="3329">
                  <c:v>#N/A</c:v>
                </c:pt>
                <c:pt idx="3330">
                  <c:v>#N/A</c:v>
                </c:pt>
                <c:pt idx="3331">
                  <c:v>#N/A</c:v>
                </c:pt>
                <c:pt idx="3332">
                  <c:v>#N/A</c:v>
                </c:pt>
                <c:pt idx="3333">
                  <c:v>#N/A</c:v>
                </c:pt>
                <c:pt idx="3334">
                  <c:v>#N/A</c:v>
                </c:pt>
                <c:pt idx="3335">
                  <c:v>#N/A</c:v>
                </c:pt>
                <c:pt idx="3336">
                  <c:v>#N/A</c:v>
                </c:pt>
                <c:pt idx="3337">
                  <c:v>#N/A</c:v>
                </c:pt>
                <c:pt idx="3338">
                  <c:v>#N/A</c:v>
                </c:pt>
                <c:pt idx="3339">
                  <c:v>#N/A</c:v>
                </c:pt>
                <c:pt idx="3340">
                  <c:v>#N/A</c:v>
                </c:pt>
                <c:pt idx="3341">
                  <c:v>#N/A</c:v>
                </c:pt>
                <c:pt idx="3342">
                  <c:v>#N/A</c:v>
                </c:pt>
                <c:pt idx="3343">
                  <c:v>#N/A</c:v>
                </c:pt>
                <c:pt idx="3344">
                  <c:v>#N/A</c:v>
                </c:pt>
                <c:pt idx="3345">
                  <c:v>#N/A</c:v>
                </c:pt>
                <c:pt idx="3346">
                  <c:v>#N/A</c:v>
                </c:pt>
                <c:pt idx="3347">
                  <c:v>#N/A</c:v>
                </c:pt>
                <c:pt idx="3348">
                  <c:v>#N/A</c:v>
                </c:pt>
                <c:pt idx="3349">
                  <c:v>#N/A</c:v>
                </c:pt>
                <c:pt idx="3350">
                  <c:v>#N/A</c:v>
                </c:pt>
                <c:pt idx="3351">
                  <c:v>#N/A</c:v>
                </c:pt>
                <c:pt idx="3352">
                  <c:v>#N/A</c:v>
                </c:pt>
                <c:pt idx="3353">
                  <c:v>#N/A</c:v>
                </c:pt>
                <c:pt idx="3354">
                  <c:v>#N/A</c:v>
                </c:pt>
                <c:pt idx="3355">
                  <c:v>#N/A</c:v>
                </c:pt>
                <c:pt idx="3356">
                  <c:v>#N/A</c:v>
                </c:pt>
                <c:pt idx="3357">
                  <c:v>#N/A</c:v>
                </c:pt>
                <c:pt idx="3358">
                  <c:v>#N/A</c:v>
                </c:pt>
                <c:pt idx="3359">
                  <c:v>#N/A</c:v>
                </c:pt>
                <c:pt idx="3360">
                  <c:v>#N/A</c:v>
                </c:pt>
                <c:pt idx="3361">
                  <c:v>#N/A</c:v>
                </c:pt>
                <c:pt idx="3362">
                  <c:v>#N/A</c:v>
                </c:pt>
                <c:pt idx="3363">
                  <c:v>#N/A</c:v>
                </c:pt>
                <c:pt idx="3364">
                  <c:v>#N/A</c:v>
                </c:pt>
                <c:pt idx="3365">
                  <c:v>#N/A</c:v>
                </c:pt>
                <c:pt idx="3366">
                  <c:v>#N/A</c:v>
                </c:pt>
                <c:pt idx="3367">
                  <c:v>#N/A</c:v>
                </c:pt>
                <c:pt idx="3368">
                  <c:v>#N/A</c:v>
                </c:pt>
                <c:pt idx="3369">
                  <c:v>#N/A</c:v>
                </c:pt>
                <c:pt idx="3370">
                  <c:v>#N/A</c:v>
                </c:pt>
                <c:pt idx="3371">
                  <c:v>#N/A</c:v>
                </c:pt>
                <c:pt idx="3372">
                  <c:v>#N/A</c:v>
                </c:pt>
                <c:pt idx="3373">
                  <c:v>#N/A</c:v>
                </c:pt>
                <c:pt idx="3374">
                  <c:v>#N/A</c:v>
                </c:pt>
                <c:pt idx="3375">
                  <c:v>#N/A</c:v>
                </c:pt>
                <c:pt idx="3376">
                  <c:v>#N/A</c:v>
                </c:pt>
                <c:pt idx="3377">
                  <c:v>#N/A</c:v>
                </c:pt>
                <c:pt idx="3378">
                  <c:v>#N/A</c:v>
                </c:pt>
                <c:pt idx="3379">
                  <c:v>#N/A</c:v>
                </c:pt>
                <c:pt idx="3380">
                  <c:v>#N/A</c:v>
                </c:pt>
                <c:pt idx="3381">
                  <c:v>#N/A</c:v>
                </c:pt>
                <c:pt idx="3382">
                  <c:v>#N/A</c:v>
                </c:pt>
                <c:pt idx="3383">
                  <c:v>#N/A</c:v>
                </c:pt>
                <c:pt idx="3384">
                  <c:v>#N/A</c:v>
                </c:pt>
                <c:pt idx="3385">
                  <c:v>#N/A</c:v>
                </c:pt>
                <c:pt idx="3386">
                  <c:v>#N/A</c:v>
                </c:pt>
                <c:pt idx="3387">
                  <c:v>#N/A</c:v>
                </c:pt>
                <c:pt idx="3388">
                  <c:v>#N/A</c:v>
                </c:pt>
                <c:pt idx="3389">
                  <c:v>#N/A</c:v>
                </c:pt>
                <c:pt idx="3390">
                  <c:v>#N/A</c:v>
                </c:pt>
                <c:pt idx="3391">
                  <c:v>#N/A</c:v>
                </c:pt>
                <c:pt idx="3392">
                  <c:v>#N/A</c:v>
                </c:pt>
                <c:pt idx="3393">
                  <c:v>#N/A</c:v>
                </c:pt>
                <c:pt idx="3394">
                  <c:v>#N/A</c:v>
                </c:pt>
                <c:pt idx="3395">
                  <c:v>#N/A</c:v>
                </c:pt>
                <c:pt idx="3396">
                  <c:v>#N/A</c:v>
                </c:pt>
                <c:pt idx="3397">
                  <c:v>#N/A</c:v>
                </c:pt>
                <c:pt idx="3398">
                  <c:v>#N/A</c:v>
                </c:pt>
                <c:pt idx="3399">
                  <c:v>#N/A</c:v>
                </c:pt>
                <c:pt idx="3400">
                  <c:v>#N/A</c:v>
                </c:pt>
                <c:pt idx="3401">
                  <c:v>#N/A</c:v>
                </c:pt>
                <c:pt idx="3402">
                  <c:v>#N/A</c:v>
                </c:pt>
                <c:pt idx="3403">
                  <c:v>#N/A</c:v>
                </c:pt>
                <c:pt idx="3404">
                  <c:v>#N/A</c:v>
                </c:pt>
                <c:pt idx="3405">
                  <c:v>#N/A</c:v>
                </c:pt>
                <c:pt idx="3406">
                  <c:v>#N/A</c:v>
                </c:pt>
                <c:pt idx="3407">
                  <c:v>#N/A</c:v>
                </c:pt>
                <c:pt idx="3408">
                  <c:v>#N/A</c:v>
                </c:pt>
                <c:pt idx="3409">
                  <c:v>#N/A</c:v>
                </c:pt>
                <c:pt idx="3410">
                  <c:v>#N/A</c:v>
                </c:pt>
                <c:pt idx="3411">
                  <c:v>#N/A</c:v>
                </c:pt>
                <c:pt idx="3412">
                  <c:v>#N/A</c:v>
                </c:pt>
                <c:pt idx="3413">
                  <c:v>#N/A</c:v>
                </c:pt>
                <c:pt idx="3414">
                  <c:v>#N/A</c:v>
                </c:pt>
                <c:pt idx="3415">
                  <c:v>#N/A</c:v>
                </c:pt>
                <c:pt idx="3416">
                  <c:v>#N/A</c:v>
                </c:pt>
                <c:pt idx="3417">
                  <c:v>#N/A</c:v>
                </c:pt>
                <c:pt idx="3418">
                  <c:v>#N/A</c:v>
                </c:pt>
                <c:pt idx="3419">
                  <c:v>#N/A</c:v>
                </c:pt>
                <c:pt idx="3420">
                  <c:v>#N/A</c:v>
                </c:pt>
                <c:pt idx="3421">
                  <c:v>#N/A</c:v>
                </c:pt>
                <c:pt idx="3422">
                  <c:v>#N/A</c:v>
                </c:pt>
                <c:pt idx="3423">
                  <c:v>#N/A</c:v>
                </c:pt>
                <c:pt idx="3424">
                  <c:v>#N/A</c:v>
                </c:pt>
                <c:pt idx="3425">
                  <c:v>#N/A</c:v>
                </c:pt>
                <c:pt idx="3426">
                  <c:v>#N/A</c:v>
                </c:pt>
                <c:pt idx="3427">
                  <c:v>#N/A</c:v>
                </c:pt>
                <c:pt idx="3428">
                  <c:v>#N/A</c:v>
                </c:pt>
                <c:pt idx="3429">
                  <c:v>#N/A</c:v>
                </c:pt>
                <c:pt idx="3430">
                  <c:v>#N/A</c:v>
                </c:pt>
                <c:pt idx="3431">
                  <c:v>#N/A</c:v>
                </c:pt>
                <c:pt idx="3432">
                  <c:v>#N/A</c:v>
                </c:pt>
                <c:pt idx="3433">
                  <c:v>#N/A</c:v>
                </c:pt>
                <c:pt idx="3434">
                  <c:v>#N/A</c:v>
                </c:pt>
                <c:pt idx="3435">
                  <c:v>#N/A</c:v>
                </c:pt>
                <c:pt idx="3436">
                  <c:v>#N/A</c:v>
                </c:pt>
                <c:pt idx="3437">
                  <c:v>#N/A</c:v>
                </c:pt>
                <c:pt idx="3438">
                  <c:v>#N/A</c:v>
                </c:pt>
                <c:pt idx="3439">
                  <c:v>#N/A</c:v>
                </c:pt>
                <c:pt idx="3440">
                  <c:v>#N/A</c:v>
                </c:pt>
                <c:pt idx="3441">
                  <c:v>#N/A</c:v>
                </c:pt>
                <c:pt idx="3442">
                  <c:v>#N/A</c:v>
                </c:pt>
                <c:pt idx="3443">
                  <c:v>#N/A</c:v>
                </c:pt>
                <c:pt idx="3444">
                  <c:v>#N/A</c:v>
                </c:pt>
                <c:pt idx="3445">
                  <c:v>#N/A</c:v>
                </c:pt>
                <c:pt idx="3446">
                  <c:v>#N/A</c:v>
                </c:pt>
                <c:pt idx="3447">
                  <c:v>#N/A</c:v>
                </c:pt>
                <c:pt idx="3448">
                  <c:v>#N/A</c:v>
                </c:pt>
                <c:pt idx="3449">
                  <c:v>#N/A</c:v>
                </c:pt>
                <c:pt idx="3450">
                  <c:v>#N/A</c:v>
                </c:pt>
                <c:pt idx="3451">
                  <c:v>#N/A</c:v>
                </c:pt>
                <c:pt idx="3452">
                  <c:v>#N/A</c:v>
                </c:pt>
                <c:pt idx="3453">
                  <c:v>#N/A</c:v>
                </c:pt>
                <c:pt idx="3454">
                  <c:v>#N/A</c:v>
                </c:pt>
                <c:pt idx="3455">
                  <c:v>#N/A</c:v>
                </c:pt>
                <c:pt idx="3456">
                  <c:v>#N/A</c:v>
                </c:pt>
                <c:pt idx="3457">
                  <c:v>#N/A</c:v>
                </c:pt>
                <c:pt idx="3458">
                  <c:v>#N/A</c:v>
                </c:pt>
                <c:pt idx="3459">
                  <c:v>#N/A</c:v>
                </c:pt>
                <c:pt idx="3460">
                  <c:v>#N/A</c:v>
                </c:pt>
                <c:pt idx="3461">
                  <c:v>#N/A</c:v>
                </c:pt>
                <c:pt idx="3462">
                  <c:v>#N/A</c:v>
                </c:pt>
                <c:pt idx="3463">
                  <c:v>#N/A</c:v>
                </c:pt>
                <c:pt idx="3464">
                  <c:v>#N/A</c:v>
                </c:pt>
                <c:pt idx="3465">
                  <c:v>#N/A</c:v>
                </c:pt>
                <c:pt idx="3466">
                  <c:v>#N/A</c:v>
                </c:pt>
                <c:pt idx="3467">
                  <c:v>#N/A</c:v>
                </c:pt>
                <c:pt idx="3468">
                  <c:v>#N/A</c:v>
                </c:pt>
                <c:pt idx="3469">
                  <c:v>#N/A</c:v>
                </c:pt>
                <c:pt idx="3470">
                  <c:v>#N/A</c:v>
                </c:pt>
                <c:pt idx="3471">
                  <c:v>#N/A</c:v>
                </c:pt>
                <c:pt idx="3472">
                  <c:v>#N/A</c:v>
                </c:pt>
                <c:pt idx="3473">
                  <c:v>#N/A</c:v>
                </c:pt>
                <c:pt idx="3474">
                  <c:v>#N/A</c:v>
                </c:pt>
                <c:pt idx="3475">
                  <c:v>#N/A</c:v>
                </c:pt>
                <c:pt idx="3476">
                  <c:v>#N/A</c:v>
                </c:pt>
                <c:pt idx="3477">
                  <c:v>#N/A</c:v>
                </c:pt>
                <c:pt idx="3478">
                  <c:v>#N/A</c:v>
                </c:pt>
                <c:pt idx="3479">
                  <c:v>#N/A</c:v>
                </c:pt>
                <c:pt idx="3480">
                  <c:v>#N/A</c:v>
                </c:pt>
                <c:pt idx="3481">
                  <c:v>#N/A</c:v>
                </c:pt>
                <c:pt idx="3482">
                  <c:v>#N/A</c:v>
                </c:pt>
                <c:pt idx="3483">
                  <c:v>#N/A</c:v>
                </c:pt>
                <c:pt idx="3484">
                  <c:v>#N/A</c:v>
                </c:pt>
                <c:pt idx="3485">
                  <c:v>#N/A</c:v>
                </c:pt>
                <c:pt idx="3486">
                  <c:v>#N/A</c:v>
                </c:pt>
                <c:pt idx="3487">
                  <c:v>#N/A</c:v>
                </c:pt>
                <c:pt idx="3488">
                  <c:v>#N/A</c:v>
                </c:pt>
                <c:pt idx="3489">
                  <c:v>#N/A</c:v>
                </c:pt>
                <c:pt idx="3490">
                  <c:v>#N/A</c:v>
                </c:pt>
                <c:pt idx="3491">
                  <c:v>#N/A</c:v>
                </c:pt>
                <c:pt idx="3492">
                  <c:v>#N/A</c:v>
                </c:pt>
                <c:pt idx="3493">
                  <c:v>#N/A</c:v>
                </c:pt>
                <c:pt idx="3494">
                  <c:v>#N/A</c:v>
                </c:pt>
                <c:pt idx="3495">
                  <c:v>#N/A</c:v>
                </c:pt>
                <c:pt idx="3496">
                  <c:v>#N/A</c:v>
                </c:pt>
                <c:pt idx="3497">
                  <c:v>#N/A</c:v>
                </c:pt>
                <c:pt idx="3498">
                  <c:v>#N/A</c:v>
                </c:pt>
                <c:pt idx="3499">
                  <c:v>#N/A</c:v>
                </c:pt>
                <c:pt idx="3500">
                  <c:v>#N/A</c:v>
                </c:pt>
                <c:pt idx="3501">
                  <c:v>#N/A</c:v>
                </c:pt>
                <c:pt idx="3502">
                  <c:v>#N/A</c:v>
                </c:pt>
                <c:pt idx="3503">
                  <c:v>#N/A</c:v>
                </c:pt>
                <c:pt idx="3504">
                  <c:v>#N/A</c:v>
                </c:pt>
                <c:pt idx="3505">
                  <c:v>#N/A</c:v>
                </c:pt>
                <c:pt idx="3506">
                  <c:v>#N/A</c:v>
                </c:pt>
                <c:pt idx="3507">
                  <c:v>#N/A</c:v>
                </c:pt>
                <c:pt idx="3508">
                  <c:v>#N/A</c:v>
                </c:pt>
                <c:pt idx="3509">
                  <c:v>#N/A</c:v>
                </c:pt>
                <c:pt idx="3510">
                  <c:v>#N/A</c:v>
                </c:pt>
                <c:pt idx="3511">
                  <c:v>#N/A</c:v>
                </c:pt>
                <c:pt idx="3512">
                  <c:v>#N/A</c:v>
                </c:pt>
                <c:pt idx="3513">
                  <c:v>#N/A</c:v>
                </c:pt>
                <c:pt idx="3514">
                  <c:v>#N/A</c:v>
                </c:pt>
                <c:pt idx="3515">
                  <c:v>#N/A</c:v>
                </c:pt>
                <c:pt idx="3516">
                  <c:v>#N/A</c:v>
                </c:pt>
                <c:pt idx="3517">
                  <c:v>#N/A</c:v>
                </c:pt>
                <c:pt idx="3518">
                  <c:v>#N/A</c:v>
                </c:pt>
                <c:pt idx="3519">
                  <c:v>#N/A</c:v>
                </c:pt>
                <c:pt idx="3520">
                  <c:v>#N/A</c:v>
                </c:pt>
                <c:pt idx="3521">
                  <c:v>#N/A</c:v>
                </c:pt>
                <c:pt idx="3522">
                  <c:v>#N/A</c:v>
                </c:pt>
                <c:pt idx="3523">
                  <c:v>#N/A</c:v>
                </c:pt>
                <c:pt idx="3524">
                  <c:v>#N/A</c:v>
                </c:pt>
                <c:pt idx="3525">
                  <c:v>#N/A</c:v>
                </c:pt>
                <c:pt idx="3526">
                  <c:v>#N/A</c:v>
                </c:pt>
                <c:pt idx="3527">
                  <c:v>#N/A</c:v>
                </c:pt>
                <c:pt idx="3528">
                  <c:v>#N/A</c:v>
                </c:pt>
                <c:pt idx="3529">
                  <c:v>#N/A</c:v>
                </c:pt>
                <c:pt idx="3530">
                  <c:v>#N/A</c:v>
                </c:pt>
                <c:pt idx="3531">
                  <c:v>#N/A</c:v>
                </c:pt>
                <c:pt idx="3532">
                  <c:v>#N/A</c:v>
                </c:pt>
                <c:pt idx="3533">
                  <c:v>#N/A</c:v>
                </c:pt>
                <c:pt idx="3534">
                  <c:v>#N/A</c:v>
                </c:pt>
                <c:pt idx="3535">
                  <c:v>#N/A</c:v>
                </c:pt>
                <c:pt idx="3536">
                  <c:v>#N/A</c:v>
                </c:pt>
                <c:pt idx="3537">
                  <c:v>#N/A</c:v>
                </c:pt>
                <c:pt idx="3538">
                  <c:v>#N/A</c:v>
                </c:pt>
                <c:pt idx="3539">
                  <c:v>#N/A</c:v>
                </c:pt>
                <c:pt idx="3540">
                  <c:v>#N/A</c:v>
                </c:pt>
                <c:pt idx="3541">
                  <c:v>#N/A</c:v>
                </c:pt>
                <c:pt idx="3542">
                  <c:v>#N/A</c:v>
                </c:pt>
                <c:pt idx="3543">
                  <c:v>#N/A</c:v>
                </c:pt>
                <c:pt idx="3544">
                  <c:v>#N/A</c:v>
                </c:pt>
                <c:pt idx="3545">
                  <c:v>#N/A</c:v>
                </c:pt>
                <c:pt idx="3546">
                  <c:v>#N/A</c:v>
                </c:pt>
                <c:pt idx="3547">
                  <c:v>#N/A</c:v>
                </c:pt>
                <c:pt idx="3548">
                  <c:v>#N/A</c:v>
                </c:pt>
                <c:pt idx="3549">
                  <c:v>#N/A</c:v>
                </c:pt>
                <c:pt idx="3550">
                  <c:v>#N/A</c:v>
                </c:pt>
                <c:pt idx="3551">
                  <c:v>#N/A</c:v>
                </c:pt>
                <c:pt idx="3552">
                  <c:v>#N/A</c:v>
                </c:pt>
                <c:pt idx="3553">
                  <c:v>#N/A</c:v>
                </c:pt>
                <c:pt idx="3554">
                  <c:v>#N/A</c:v>
                </c:pt>
                <c:pt idx="3555">
                  <c:v>#N/A</c:v>
                </c:pt>
                <c:pt idx="3556">
                  <c:v>#N/A</c:v>
                </c:pt>
                <c:pt idx="3557">
                  <c:v>#N/A</c:v>
                </c:pt>
                <c:pt idx="3558">
                  <c:v>#N/A</c:v>
                </c:pt>
                <c:pt idx="3559">
                  <c:v>#N/A</c:v>
                </c:pt>
                <c:pt idx="3560">
                  <c:v>#N/A</c:v>
                </c:pt>
                <c:pt idx="3561">
                  <c:v>#N/A</c:v>
                </c:pt>
                <c:pt idx="3562">
                  <c:v>#N/A</c:v>
                </c:pt>
                <c:pt idx="3563">
                  <c:v>#N/A</c:v>
                </c:pt>
                <c:pt idx="3564">
                  <c:v>#N/A</c:v>
                </c:pt>
                <c:pt idx="3565">
                  <c:v>#N/A</c:v>
                </c:pt>
                <c:pt idx="3566">
                  <c:v>#N/A</c:v>
                </c:pt>
                <c:pt idx="3567">
                  <c:v>#N/A</c:v>
                </c:pt>
                <c:pt idx="3568">
                  <c:v>#N/A</c:v>
                </c:pt>
                <c:pt idx="3569">
                  <c:v>#N/A</c:v>
                </c:pt>
                <c:pt idx="3570">
                  <c:v>#N/A</c:v>
                </c:pt>
                <c:pt idx="3571">
                  <c:v>#N/A</c:v>
                </c:pt>
                <c:pt idx="3572">
                  <c:v>#N/A</c:v>
                </c:pt>
                <c:pt idx="3573">
                  <c:v>#N/A</c:v>
                </c:pt>
                <c:pt idx="3574">
                  <c:v>#N/A</c:v>
                </c:pt>
                <c:pt idx="3575">
                  <c:v>#N/A</c:v>
                </c:pt>
                <c:pt idx="3576">
                  <c:v>#N/A</c:v>
                </c:pt>
                <c:pt idx="3577">
                  <c:v>#N/A</c:v>
                </c:pt>
                <c:pt idx="3578">
                  <c:v>#N/A</c:v>
                </c:pt>
                <c:pt idx="3579">
                  <c:v>#N/A</c:v>
                </c:pt>
                <c:pt idx="3580">
                  <c:v>#N/A</c:v>
                </c:pt>
                <c:pt idx="3581">
                  <c:v>#N/A</c:v>
                </c:pt>
                <c:pt idx="3582">
                  <c:v>#N/A</c:v>
                </c:pt>
                <c:pt idx="3583">
                  <c:v>#N/A</c:v>
                </c:pt>
                <c:pt idx="3584">
                  <c:v>#N/A</c:v>
                </c:pt>
                <c:pt idx="3585">
                  <c:v>#N/A</c:v>
                </c:pt>
                <c:pt idx="3586">
                  <c:v>#N/A</c:v>
                </c:pt>
                <c:pt idx="3587">
                  <c:v>#N/A</c:v>
                </c:pt>
                <c:pt idx="3588">
                  <c:v>#N/A</c:v>
                </c:pt>
                <c:pt idx="3589">
                  <c:v>#N/A</c:v>
                </c:pt>
                <c:pt idx="3590">
                  <c:v>#N/A</c:v>
                </c:pt>
                <c:pt idx="3591">
                  <c:v>#N/A</c:v>
                </c:pt>
                <c:pt idx="3592">
                  <c:v>#N/A</c:v>
                </c:pt>
                <c:pt idx="3593">
                  <c:v>#N/A</c:v>
                </c:pt>
                <c:pt idx="3594">
                  <c:v>#N/A</c:v>
                </c:pt>
                <c:pt idx="3595">
                  <c:v>#N/A</c:v>
                </c:pt>
                <c:pt idx="3596">
                  <c:v>#N/A</c:v>
                </c:pt>
                <c:pt idx="3597">
                  <c:v>#N/A</c:v>
                </c:pt>
                <c:pt idx="3598">
                  <c:v>#N/A</c:v>
                </c:pt>
                <c:pt idx="3599">
                  <c:v>#N/A</c:v>
                </c:pt>
                <c:pt idx="3600">
                  <c:v>#N/A</c:v>
                </c:pt>
                <c:pt idx="3601">
                  <c:v>#N/A</c:v>
                </c:pt>
                <c:pt idx="3602">
                  <c:v>#N/A</c:v>
                </c:pt>
                <c:pt idx="3603">
                  <c:v>#N/A</c:v>
                </c:pt>
                <c:pt idx="3604">
                  <c:v>#N/A</c:v>
                </c:pt>
                <c:pt idx="3605">
                  <c:v>#N/A</c:v>
                </c:pt>
                <c:pt idx="3606">
                  <c:v>#N/A</c:v>
                </c:pt>
                <c:pt idx="3607">
                  <c:v>#N/A</c:v>
                </c:pt>
                <c:pt idx="3608">
                  <c:v>#N/A</c:v>
                </c:pt>
                <c:pt idx="3609">
                  <c:v>#N/A</c:v>
                </c:pt>
                <c:pt idx="3610">
                  <c:v>#N/A</c:v>
                </c:pt>
                <c:pt idx="3611">
                  <c:v>#N/A</c:v>
                </c:pt>
                <c:pt idx="3612">
                  <c:v>#N/A</c:v>
                </c:pt>
                <c:pt idx="3613">
                  <c:v>#N/A</c:v>
                </c:pt>
                <c:pt idx="3614">
                  <c:v>#N/A</c:v>
                </c:pt>
                <c:pt idx="3615">
                  <c:v>#N/A</c:v>
                </c:pt>
                <c:pt idx="3616">
                  <c:v>#N/A</c:v>
                </c:pt>
                <c:pt idx="3617">
                  <c:v>#N/A</c:v>
                </c:pt>
                <c:pt idx="3618">
                  <c:v>#N/A</c:v>
                </c:pt>
                <c:pt idx="3619">
                  <c:v>#N/A</c:v>
                </c:pt>
                <c:pt idx="3620">
                  <c:v>#N/A</c:v>
                </c:pt>
                <c:pt idx="3621">
                  <c:v>#N/A</c:v>
                </c:pt>
                <c:pt idx="3622">
                  <c:v>#N/A</c:v>
                </c:pt>
                <c:pt idx="3623">
                  <c:v>#N/A</c:v>
                </c:pt>
                <c:pt idx="3624">
                  <c:v>#N/A</c:v>
                </c:pt>
                <c:pt idx="3625">
                  <c:v>#N/A</c:v>
                </c:pt>
                <c:pt idx="3626">
                  <c:v>#N/A</c:v>
                </c:pt>
                <c:pt idx="3627">
                  <c:v>#N/A</c:v>
                </c:pt>
                <c:pt idx="3628">
                  <c:v>#N/A</c:v>
                </c:pt>
                <c:pt idx="3629">
                  <c:v>#N/A</c:v>
                </c:pt>
                <c:pt idx="3630">
                  <c:v>#N/A</c:v>
                </c:pt>
                <c:pt idx="3631">
                  <c:v>#N/A</c:v>
                </c:pt>
                <c:pt idx="3632">
                  <c:v>#N/A</c:v>
                </c:pt>
                <c:pt idx="3633">
                  <c:v>#N/A</c:v>
                </c:pt>
                <c:pt idx="3634">
                  <c:v>#N/A</c:v>
                </c:pt>
                <c:pt idx="3635">
                  <c:v>#N/A</c:v>
                </c:pt>
                <c:pt idx="3636">
                  <c:v>#N/A</c:v>
                </c:pt>
                <c:pt idx="3637">
                  <c:v>#N/A</c:v>
                </c:pt>
                <c:pt idx="3638">
                  <c:v>#N/A</c:v>
                </c:pt>
                <c:pt idx="3639">
                  <c:v>#N/A</c:v>
                </c:pt>
                <c:pt idx="3640">
                  <c:v>#N/A</c:v>
                </c:pt>
                <c:pt idx="3641">
                  <c:v>#N/A</c:v>
                </c:pt>
                <c:pt idx="3642">
                  <c:v>#N/A</c:v>
                </c:pt>
                <c:pt idx="3643">
                  <c:v>#N/A</c:v>
                </c:pt>
                <c:pt idx="3644">
                  <c:v>#N/A</c:v>
                </c:pt>
                <c:pt idx="3645">
                  <c:v>#N/A</c:v>
                </c:pt>
                <c:pt idx="3646">
                  <c:v>#N/A</c:v>
                </c:pt>
                <c:pt idx="3647">
                  <c:v>#N/A</c:v>
                </c:pt>
                <c:pt idx="3648">
                  <c:v>#N/A</c:v>
                </c:pt>
                <c:pt idx="3649">
                  <c:v>#N/A</c:v>
                </c:pt>
                <c:pt idx="3650">
                  <c:v>#N/A</c:v>
                </c:pt>
                <c:pt idx="3651">
                  <c:v>#N/A</c:v>
                </c:pt>
                <c:pt idx="3652">
                  <c:v>#N/A</c:v>
                </c:pt>
                <c:pt idx="3653">
                  <c:v>#N/A</c:v>
                </c:pt>
                <c:pt idx="3654">
                  <c:v>#N/A</c:v>
                </c:pt>
                <c:pt idx="3655">
                  <c:v>#N/A</c:v>
                </c:pt>
                <c:pt idx="3656">
                  <c:v>#N/A</c:v>
                </c:pt>
                <c:pt idx="3657">
                  <c:v>#N/A</c:v>
                </c:pt>
                <c:pt idx="3658">
                  <c:v>#N/A</c:v>
                </c:pt>
                <c:pt idx="3659">
                  <c:v>#N/A</c:v>
                </c:pt>
                <c:pt idx="3660">
                  <c:v>#N/A</c:v>
                </c:pt>
                <c:pt idx="3661">
                  <c:v>#N/A</c:v>
                </c:pt>
                <c:pt idx="3662">
                  <c:v>#N/A</c:v>
                </c:pt>
                <c:pt idx="3663">
                  <c:v>#N/A</c:v>
                </c:pt>
                <c:pt idx="3664">
                  <c:v>#N/A</c:v>
                </c:pt>
                <c:pt idx="3665">
                  <c:v>#N/A</c:v>
                </c:pt>
                <c:pt idx="3666">
                  <c:v>#N/A</c:v>
                </c:pt>
                <c:pt idx="3667">
                  <c:v>#N/A</c:v>
                </c:pt>
                <c:pt idx="3668">
                  <c:v>#N/A</c:v>
                </c:pt>
                <c:pt idx="3669">
                  <c:v>#N/A</c:v>
                </c:pt>
                <c:pt idx="3670">
                  <c:v>#N/A</c:v>
                </c:pt>
                <c:pt idx="3671">
                  <c:v>#N/A</c:v>
                </c:pt>
                <c:pt idx="3672">
                  <c:v>#N/A</c:v>
                </c:pt>
                <c:pt idx="3673">
                  <c:v>#N/A</c:v>
                </c:pt>
                <c:pt idx="3674">
                  <c:v>#N/A</c:v>
                </c:pt>
                <c:pt idx="3675">
                  <c:v>#N/A</c:v>
                </c:pt>
                <c:pt idx="3676">
                  <c:v>#N/A</c:v>
                </c:pt>
                <c:pt idx="3677">
                  <c:v>#N/A</c:v>
                </c:pt>
                <c:pt idx="3678">
                  <c:v>#N/A</c:v>
                </c:pt>
                <c:pt idx="3679">
                  <c:v>#N/A</c:v>
                </c:pt>
                <c:pt idx="3680">
                  <c:v>#N/A</c:v>
                </c:pt>
                <c:pt idx="3681">
                  <c:v>#N/A</c:v>
                </c:pt>
                <c:pt idx="3682">
                  <c:v>#N/A</c:v>
                </c:pt>
                <c:pt idx="3683">
                  <c:v>#N/A</c:v>
                </c:pt>
                <c:pt idx="3684">
                  <c:v>#N/A</c:v>
                </c:pt>
                <c:pt idx="3685">
                  <c:v>#N/A</c:v>
                </c:pt>
                <c:pt idx="3686">
                  <c:v>#N/A</c:v>
                </c:pt>
                <c:pt idx="3687">
                  <c:v>#N/A</c:v>
                </c:pt>
                <c:pt idx="3688">
                  <c:v>#N/A</c:v>
                </c:pt>
                <c:pt idx="3689">
                  <c:v>#N/A</c:v>
                </c:pt>
                <c:pt idx="3690">
                  <c:v>#N/A</c:v>
                </c:pt>
                <c:pt idx="3691">
                  <c:v>#N/A</c:v>
                </c:pt>
                <c:pt idx="3692">
                  <c:v>#N/A</c:v>
                </c:pt>
                <c:pt idx="3693">
                  <c:v>#N/A</c:v>
                </c:pt>
                <c:pt idx="3694">
                  <c:v>#N/A</c:v>
                </c:pt>
                <c:pt idx="3695">
                  <c:v>#N/A</c:v>
                </c:pt>
                <c:pt idx="3696">
                  <c:v>#N/A</c:v>
                </c:pt>
                <c:pt idx="3697">
                  <c:v>#N/A</c:v>
                </c:pt>
                <c:pt idx="3698">
                  <c:v>#N/A</c:v>
                </c:pt>
                <c:pt idx="3699">
                  <c:v>#N/A</c:v>
                </c:pt>
                <c:pt idx="3700">
                  <c:v>#N/A</c:v>
                </c:pt>
                <c:pt idx="3701">
                  <c:v>#N/A</c:v>
                </c:pt>
                <c:pt idx="3702">
                  <c:v>#N/A</c:v>
                </c:pt>
                <c:pt idx="3703">
                  <c:v>#N/A</c:v>
                </c:pt>
                <c:pt idx="3704">
                  <c:v>#N/A</c:v>
                </c:pt>
                <c:pt idx="3705">
                  <c:v>#N/A</c:v>
                </c:pt>
                <c:pt idx="3706">
                  <c:v>#N/A</c:v>
                </c:pt>
                <c:pt idx="3707">
                  <c:v>#N/A</c:v>
                </c:pt>
                <c:pt idx="3708">
                  <c:v>#N/A</c:v>
                </c:pt>
                <c:pt idx="3709">
                  <c:v>#N/A</c:v>
                </c:pt>
                <c:pt idx="3710">
                  <c:v>#N/A</c:v>
                </c:pt>
                <c:pt idx="3711">
                  <c:v>#N/A</c:v>
                </c:pt>
                <c:pt idx="3712">
                  <c:v>#N/A</c:v>
                </c:pt>
                <c:pt idx="3713">
                  <c:v>#N/A</c:v>
                </c:pt>
                <c:pt idx="3714">
                  <c:v>#N/A</c:v>
                </c:pt>
                <c:pt idx="3715">
                  <c:v>#N/A</c:v>
                </c:pt>
                <c:pt idx="3716">
                  <c:v>#N/A</c:v>
                </c:pt>
                <c:pt idx="3717">
                  <c:v>#N/A</c:v>
                </c:pt>
                <c:pt idx="3718">
                  <c:v>#N/A</c:v>
                </c:pt>
                <c:pt idx="3719">
                  <c:v>#N/A</c:v>
                </c:pt>
                <c:pt idx="3720">
                  <c:v>#N/A</c:v>
                </c:pt>
                <c:pt idx="3721">
                  <c:v>#N/A</c:v>
                </c:pt>
                <c:pt idx="3722">
                  <c:v>#N/A</c:v>
                </c:pt>
                <c:pt idx="3723">
                  <c:v>#N/A</c:v>
                </c:pt>
                <c:pt idx="3724">
                  <c:v>#N/A</c:v>
                </c:pt>
                <c:pt idx="3725">
                  <c:v>#N/A</c:v>
                </c:pt>
                <c:pt idx="3726">
                  <c:v>#N/A</c:v>
                </c:pt>
                <c:pt idx="3727">
                  <c:v>#N/A</c:v>
                </c:pt>
                <c:pt idx="3728">
                  <c:v>#N/A</c:v>
                </c:pt>
                <c:pt idx="3729">
                  <c:v>#N/A</c:v>
                </c:pt>
                <c:pt idx="3730">
                  <c:v>#N/A</c:v>
                </c:pt>
                <c:pt idx="3731">
                  <c:v>#N/A</c:v>
                </c:pt>
                <c:pt idx="3732">
                  <c:v>#N/A</c:v>
                </c:pt>
                <c:pt idx="3733">
                  <c:v>#N/A</c:v>
                </c:pt>
                <c:pt idx="3734">
                  <c:v>#N/A</c:v>
                </c:pt>
                <c:pt idx="3735">
                  <c:v>#N/A</c:v>
                </c:pt>
                <c:pt idx="3736">
                  <c:v>#N/A</c:v>
                </c:pt>
                <c:pt idx="3737">
                  <c:v>#N/A</c:v>
                </c:pt>
                <c:pt idx="3738">
                  <c:v>#N/A</c:v>
                </c:pt>
                <c:pt idx="3739">
                  <c:v>#N/A</c:v>
                </c:pt>
                <c:pt idx="3740">
                  <c:v>#N/A</c:v>
                </c:pt>
                <c:pt idx="3741">
                  <c:v>#N/A</c:v>
                </c:pt>
                <c:pt idx="3742">
                  <c:v>#N/A</c:v>
                </c:pt>
                <c:pt idx="3743">
                  <c:v>#N/A</c:v>
                </c:pt>
                <c:pt idx="3744">
                  <c:v>#N/A</c:v>
                </c:pt>
                <c:pt idx="3745">
                  <c:v>#N/A</c:v>
                </c:pt>
                <c:pt idx="3746">
                  <c:v>#N/A</c:v>
                </c:pt>
                <c:pt idx="3747">
                  <c:v>#N/A</c:v>
                </c:pt>
                <c:pt idx="3748">
                  <c:v>#N/A</c:v>
                </c:pt>
                <c:pt idx="3749">
                  <c:v>#N/A</c:v>
                </c:pt>
                <c:pt idx="3750">
                  <c:v>#N/A</c:v>
                </c:pt>
                <c:pt idx="3751">
                  <c:v>#N/A</c:v>
                </c:pt>
                <c:pt idx="3752">
                  <c:v>#N/A</c:v>
                </c:pt>
                <c:pt idx="3753">
                  <c:v>#N/A</c:v>
                </c:pt>
                <c:pt idx="3754">
                  <c:v>#N/A</c:v>
                </c:pt>
                <c:pt idx="3755">
                  <c:v>#N/A</c:v>
                </c:pt>
                <c:pt idx="3756">
                  <c:v>#N/A</c:v>
                </c:pt>
                <c:pt idx="3757">
                  <c:v>#N/A</c:v>
                </c:pt>
                <c:pt idx="3758">
                  <c:v>#N/A</c:v>
                </c:pt>
                <c:pt idx="3759">
                  <c:v>#N/A</c:v>
                </c:pt>
                <c:pt idx="3760">
                  <c:v>#N/A</c:v>
                </c:pt>
                <c:pt idx="3761">
                  <c:v>#N/A</c:v>
                </c:pt>
                <c:pt idx="3762">
                  <c:v>#N/A</c:v>
                </c:pt>
                <c:pt idx="3763">
                  <c:v>#N/A</c:v>
                </c:pt>
                <c:pt idx="3764">
                  <c:v>#N/A</c:v>
                </c:pt>
                <c:pt idx="3765">
                  <c:v>#N/A</c:v>
                </c:pt>
                <c:pt idx="3766">
                  <c:v>#N/A</c:v>
                </c:pt>
                <c:pt idx="3767">
                  <c:v>#N/A</c:v>
                </c:pt>
                <c:pt idx="3768">
                  <c:v>#N/A</c:v>
                </c:pt>
                <c:pt idx="3769">
                  <c:v>#N/A</c:v>
                </c:pt>
                <c:pt idx="3770">
                  <c:v>#N/A</c:v>
                </c:pt>
                <c:pt idx="3771">
                  <c:v>#N/A</c:v>
                </c:pt>
                <c:pt idx="3772">
                  <c:v>#N/A</c:v>
                </c:pt>
                <c:pt idx="3773">
                  <c:v>#N/A</c:v>
                </c:pt>
                <c:pt idx="3774">
                  <c:v>#N/A</c:v>
                </c:pt>
                <c:pt idx="3775">
                  <c:v>#N/A</c:v>
                </c:pt>
                <c:pt idx="3776">
                  <c:v>#N/A</c:v>
                </c:pt>
                <c:pt idx="3777">
                  <c:v>#N/A</c:v>
                </c:pt>
                <c:pt idx="3778">
                  <c:v>#N/A</c:v>
                </c:pt>
                <c:pt idx="3779">
                  <c:v>#N/A</c:v>
                </c:pt>
                <c:pt idx="3780">
                  <c:v>#N/A</c:v>
                </c:pt>
                <c:pt idx="3781">
                  <c:v>#N/A</c:v>
                </c:pt>
                <c:pt idx="3782">
                  <c:v>#N/A</c:v>
                </c:pt>
                <c:pt idx="3783">
                  <c:v>#N/A</c:v>
                </c:pt>
                <c:pt idx="3784">
                  <c:v>#N/A</c:v>
                </c:pt>
                <c:pt idx="3785">
                  <c:v>#N/A</c:v>
                </c:pt>
                <c:pt idx="3786">
                  <c:v>#N/A</c:v>
                </c:pt>
                <c:pt idx="3787">
                  <c:v>#N/A</c:v>
                </c:pt>
                <c:pt idx="3788">
                  <c:v>#N/A</c:v>
                </c:pt>
                <c:pt idx="3789">
                  <c:v>#N/A</c:v>
                </c:pt>
                <c:pt idx="3790">
                  <c:v>#N/A</c:v>
                </c:pt>
                <c:pt idx="3791">
                  <c:v>#N/A</c:v>
                </c:pt>
                <c:pt idx="3792">
                  <c:v>#N/A</c:v>
                </c:pt>
                <c:pt idx="3793">
                  <c:v>#N/A</c:v>
                </c:pt>
                <c:pt idx="3794">
                  <c:v>#N/A</c:v>
                </c:pt>
                <c:pt idx="3795">
                  <c:v>#N/A</c:v>
                </c:pt>
                <c:pt idx="3796">
                  <c:v>#N/A</c:v>
                </c:pt>
                <c:pt idx="3797">
                  <c:v>#N/A</c:v>
                </c:pt>
                <c:pt idx="3798">
                  <c:v>#N/A</c:v>
                </c:pt>
                <c:pt idx="3799">
                  <c:v>#N/A</c:v>
                </c:pt>
                <c:pt idx="3800">
                  <c:v>#N/A</c:v>
                </c:pt>
                <c:pt idx="3801">
                  <c:v>#N/A</c:v>
                </c:pt>
                <c:pt idx="3802">
                  <c:v>#N/A</c:v>
                </c:pt>
                <c:pt idx="3803">
                  <c:v>#N/A</c:v>
                </c:pt>
                <c:pt idx="3804">
                  <c:v>#N/A</c:v>
                </c:pt>
                <c:pt idx="3805">
                  <c:v>#N/A</c:v>
                </c:pt>
                <c:pt idx="3806">
                  <c:v>#N/A</c:v>
                </c:pt>
                <c:pt idx="3807">
                  <c:v>#N/A</c:v>
                </c:pt>
                <c:pt idx="3808">
                  <c:v>#N/A</c:v>
                </c:pt>
                <c:pt idx="3809">
                  <c:v>#N/A</c:v>
                </c:pt>
                <c:pt idx="3810">
                  <c:v>#N/A</c:v>
                </c:pt>
                <c:pt idx="3811">
                  <c:v>#N/A</c:v>
                </c:pt>
                <c:pt idx="3812">
                  <c:v>#N/A</c:v>
                </c:pt>
                <c:pt idx="3813">
                  <c:v>#N/A</c:v>
                </c:pt>
                <c:pt idx="3814">
                  <c:v>#N/A</c:v>
                </c:pt>
                <c:pt idx="3815">
                  <c:v>#N/A</c:v>
                </c:pt>
                <c:pt idx="3816">
                  <c:v>#N/A</c:v>
                </c:pt>
                <c:pt idx="3817">
                  <c:v>#N/A</c:v>
                </c:pt>
                <c:pt idx="3818">
                  <c:v>#N/A</c:v>
                </c:pt>
                <c:pt idx="3819">
                  <c:v>#N/A</c:v>
                </c:pt>
                <c:pt idx="3820">
                  <c:v>#N/A</c:v>
                </c:pt>
                <c:pt idx="3821">
                  <c:v>#N/A</c:v>
                </c:pt>
                <c:pt idx="3822">
                  <c:v>#N/A</c:v>
                </c:pt>
                <c:pt idx="3823">
                  <c:v>#N/A</c:v>
                </c:pt>
                <c:pt idx="3824">
                  <c:v>#N/A</c:v>
                </c:pt>
                <c:pt idx="3825">
                  <c:v>#N/A</c:v>
                </c:pt>
                <c:pt idx="3826">
                  <c:v>#N/A</c:v>
                </c:pt>
                <c:pt idx="3827">
                  <c:v>#N/A</c:v>
                </c:pt>
                <c:pt idx="3828">
                  <c:v>#N/A</c:v>
                </c:pt>
                <c:pt idx="3829">
                  <c:v>#N/A</c:v>
                </c:pt>
                <c:pt idx="3830">
                  <c:v>#N/A</c:v>
                </c:pt>
                <c:pt idx="3831">
                  <c:v>#N/A</c:v>
                </c:pt>
                <c:pt idx="3832">
                  <c:v>#N/A</c:v>
                </c:pt>
                <c:pt idx="3833">
                  <c:v>#N/A</c:v>
                </c:pt>
                <c:pt idx="3834">
                  <c:v>#N/A</c:v>
                </c:pt>
                <c:pt idx="3835">
                  <c:v>#N/A</c:v>
                </c:pt>
                <c:pt idx="3836">
                  <c:v>#N/A</c:v>
                </c:pt>
                <c:pt idx="3837">
                  <c:v>#N/A</c:v>
                </c:pt>
                <c:pt idx="3838">
                  <c:v>#N/A</c:v>
                </c:pt>
                <c:pt idx="3839">
                  <c:v>#N/A</c:v>
                </c:pt>
                <c:pt idx="3840">
                  <c:v>#N/A</c:v>
                </c:pt>
                <c:pt idx="3841">
                  <c:v>#N/A</c:v>
                </c:pt>
                <c:pt idx="3842">
                  <c:v>#N/A</c:v>
                </c:pt>
                <c:pt idx="3843">
                  <c:v>#N/A</c:v>
                </c:pt>
                <c:pt idx="3844">
                  <c:v>#N/A</c:v>
                </c:pt>
                <c:pt idx="3845">
                  <c:v>#N/A</c:v>
                </c:pt>
                <c:pt idx="3846">
                  <c:v>#N/A</c:v>
                </c:pt>
                <c:pt idx="3847">
                  <c:v>#N/A</c:v>
                </c:pt>
                <c:pt idx="3848">
                  <c:v>#N/A</c:v>
                </c:pt>
                <c:pt idx="3849">
                  <c:v>#N/A</c:v>
                </c:pt>
                <c:pt idx="3850">
                  <c:v>#N/A</c:v>
                </c:pt>
                <c:pt idx="3851">
                  <c:v>#N/A</c:v>
                </c:pt>
                <c:pt idx="3852">
                  <c:v>#N/A</c:v>
                </c:pt>
                <c:pt idx="3853">
                  <c:v>#N/A</c:v>
                </c:pt>
                <c:pt idx="3854">
                  <c:v>#N/A</c:v>
                </c:pt>
                <c:pt idx="3855">
                  <c:v>#N/A</c:v>
                </c:pt>
                <c:pt idx="3856">
                  <c:v>#N/A</c:v>
                </c:pt>
                <c:pt idx="3857">
                  <c:v>#N/A</c:v>
                </c:pt>
                <c:pt idx="3858">
                  <c:v>#N/A</c:v>
                </c:pt>
                <c:pt idx="3859">
                  <c:v>#N/A</c:v>
                </c:pt>
                <c:pt idx="3860">
                  <c:v>#N/A</c:v>
                </c:pt>
                <c:pt idx="3861">
                  <c:v>#N/A</c:v>
                </c:pt>
                <c:pt idx="3862">
                  <c:v>#N/A</c:v>
                </c:pt>
                <c:pt idx="3863">
                  <c:v>#N/A</c:v>
                </c:pt>
                <c:pt idx="3864">
                  <c:v>#N/A</c:v>
                </c:pt>
                <c:pt idx="3865">
                  <c:v>0</c:v>
                </c:pt>
                <c:pt idx="3866">
                  <c:v>3.1215411844516261E-3</c:v>
                </c:pt>
                <c:pt idx="3867">
                  <c:v>-2.9430216722687863E-3</c:v>
                </c:pt>
                <c:pt idx="3868">
                  <c:v>-2.5625200834451189E-2</c:v>
                </c:pt>
                <c:pt idx="3869">
                  <c:v>-3.227632780262879E-2</c:v>
                </c:pt>
                <c:pt idx="3870">
                  <c:v>-2.8940563203558201E-2</c:v>
                </c:pt>
                <c:pt idx="3871">
                  <c:v>-3.6091544805847309E-2</c:v>
                </c:pt>
                <c:pt idx="3872">
                  <c:v>-4.2207113237476834E-2</c:v>
                </c:pt>
                <c:pt idx="3873">
                  <c:v>-3.8136868359711751E-2</c:v>
                </c:pt>
                <c:pt idx="3874">
                  <c:v>-3.5902824178682624E-2</c:v>
                </c:pt>
                <c:pt idx="3875">
                  <c:v>-3.5979332541046682E-2</c:v>
                </c:pt>
                <c:pt idx="3876">
                  <c:v>-5.9446997556832915E-2</c:v>
                </c:pt>
                <c:pt idx="3877">
                  <c:v>-5.8702316163156576E-2</c:v>
                </c:pt>
                <c:pt idx="3878">
                  <c:v>-6.113528208633201E-2</c:v>
                </c:pt>
                <c:pt idx="3879">
                  <c:v>-6.5516660971044138E-2</c:v>
                </c:pt>
                <c:pt idx="3880">
                  <c:v>-6.5174923619151559E-2</c:v>
                </c:pt>
                <c:pt idx="3881">
                  <c:v>-5.5856205083215538E-2</c:v>
                </c:pt>
                <c:pt idx="3882">
                  <c:v>-5.0311899090570544E-2</c:v>
                </c:pt>
                <c:pt idx="3883">
                  <c:v>-4.9296888149874762E-2</c:v>
                </c:pt>
                <c:pt idx="3884">
                  <c:v>-4.5073626547381562E-2</c:v>
                </c:pt>
                <c:pt idx="3885">
                  <c:v>-3.7315678603671354E-2</c:v>
                </c:pt>
                <c:pt idx="3886">
                  <c:v>-2.2661776932218602E-2</c:v>
                </c:pt>
                <c:pt idx="3887">
                  <c:v>-2.9180289405632109E-2</c:v>
                </c:pt>
                <c:pt idx="3888">
                  <c:v>-2.5426279092304771E-2</c:v>
                </c:pt>
                <c:pt idx="3889">
                  <c:v>-1.2710589267406869E-2</c:v>
                </c:pt>
                <c:pt idx="3890">
                  <c:v>3.1368428569242823E-3</c:v>
                </c:pt>
                <c:pt idx="3891">
                  <c:v>1.4842622298618657E-3</c:v>
                </c:pt>
                <c:pt idx="3892">
                  <c:v>-4.8557307313689124E-3</c:v>
                </c:pt>
                <c:pt idx="3893">
                  <c:v>3.3255634840887449E-3</c:v>
                </c:pt>
                <c:pt idx="3894">
                  <c:v>1.9637146340094613E-3</c:v>
                </c:pt>
                <c:pt idx="3895">
                  <c:v>1.2241337978236011E-4</c:v>
                </c:pt>
                <c:pt idx="3896">
                  <c:v>6.8143448078876734E-3</c:v>
                </c:pt>
                <c:pt idx="3897">
                  <c:v>3.089917728007685E-2</c:v>
                </c:pt>
                <c:pt idx="3898">
                  <c:v>4.3094610240899334E-2</c:v>
                </c:pt>
                <c:pt idx="3899">
                  <c:v>4.3400643690355345E-2</c:v>
                </c:pt>
                <c:pt idx="3900">
                  <c:v>5.1898172470251192E-2</c:v>
                </c:pt>
                <c:pt idx="3901">
                  <c:v>4.7782022575067584E-2</c:v>
                </c:pt>
                <c:pt idx="3902">
                  <c:v>5.8865534002866537E-2</c:v>
                </c:pt>
                <c:pt idx="3903">
                  <c:v>8.0548003896825815E-2</c:v>
                </c:pt>
                <c:pt idx="3904">
                  <c:v>6.7204945500543234E-2</c:v>
                </c:pt>
                <c:pt idx="3905">
                  <c:v>6.5404448706243734E-2</c:v>
                </c:pt>
                <c:pt idx="3906">
                  <c:v>2.7833742228025704E-2</c:v>
                </c:pt>
                <c:pt idx="3907">
                  <c:v>3.4668489265876845E-2</c:v>
                </c:pt>
                <c:pt idx="3908">
                  <c:v>4.7113849543755304E-2</c:v>
                </c:pt>
                <c:pt idx="3909">
                  <c:v>5.2586747731527161E-2</c:v>
                </c:pt>
                <c:pt idx="3910">
                  <c:v>4.7317871843392645E-2</c:v>
                </c:pt>
                <c:pt idx="3911">
                  <c:v>6.7296755535380059E-2</c:v>
                </c:pt>
                <c:pt idx="3912">
                  <c:v>5.3321228010221544E-2</c:v>
                </c:pt>
                <c:pt idx="3913">
                  <c:v>3.7264673028762241E-2</c:v>
                </c:pt>
                <c:pt idx="3914">
                  <c:v>2.6038345991216794E-2</c:v>
                </c:pt>
                <c:pt idx="3915">
                  <c:v>2.6788127942384055E-2</c:v>
                </c:pt>
                <c:pt idx="3916">
                  <c:v>1.7086867594628963E-3</c:v>
                </c:pt>
                <c:pt idx="3917">
                  <c:v>-4.4323844596213524E-3</c:v>
                </c:pt>
                <c:pt idx="3918">
                  <c:v>4.8965351912964028E-3</c:v>
                </c:pt>
                <c:pt idx="3919">
                  <c:v>-1.4225454842214158E-2</c:v>
                </c:pt>
                <c:pt idx="3920">
                  <c:v>5.5851104525725948E-3</c:v>
                </c:pt>
                <c:pt idx="3921">
                  <c:v>2.7083960276859109E-3</c:v>
                </c:pt>
                <c:pt idx="3922">
                  <c:v>5.0138480135879515E-3</c:v>
                </c:pt>
                <c:pt idx="3923">
                  <c:v>5.0138480135879515E-3</c:v>
                </c:pt>
                <c:pt idx="3924">
                  <c:v>5.4473954003173564E-3</c:v>
                </c:pt>
                <c:pt idx="3925">
                  <c:v>1.0461243413905086E-2</c:v>
                </c:pt>
                <c:pt idx="3926">
                  <c:v>2.0045190939369739E-2</c:v>
                </c:pt>
                <c:pt idx="3927">
                  <c:v>1.5092549615673079E-2</c:v>
                </c:pt>
                <c:pt idx="3928">
                  <c:v>1.343996898861044E-2</c:v>
                </c:pt>
                <c:pt idx="3929">
                  <c:v>2.1177514702356959E-2</c:v>
                </c:pt>
                <c:pt idx="3930">
                  <c:v>2.9833160764471511E-2</c:v>
                </c:pt>
                <c:pt idx="3931">
                  <c:v>1.7275588221792759E-2</c:v>
                </c:pt>
                <c:pt idx="3932">
                  <c:v>1.7275588221792759E-2</c:v>
                </c:pt>
                <c:pt idx="3933">
                  <c:v>1.9116889476019638E-2</c:v>
                </c:pt>
                <c:pt idx="3934">
                  <c:v>1.7693833936049286E-2</c:v>
                </c:pt>
                <c:pt idx="3935">
                  <c:v>1.4383572124433197E-2</c:v>
                </c:pt>
                <c:pt idx="3936">
                  <c:v>3.9121275955462664E-3</c:v>
                </c:pt>
                <c:pt idx="3937">
                  <c:v>-2.601284320376207E-3</c:v>
                </c:pt>
                <c:pt idx="3938">
                  <c:v>-2.477850829095618E-2</c:v>
                </c:pt>
                <c:pt idx="3939">
                  <c:v>-2.4482675956482014E-2</c:v>
                </c:pt>
                <c:pt idx="3940">
                  <c:v>-3.4367556373911645E-2</c:v>
                </c:pt>
                <c:pt idx="3941">
                  <c:v>-2.0009487036933171E-2</c:v>
                </c:pt>
                <c:pt idx="3942">
                  <c:v>-1.3332857281300736E-2</c:v>
                </c:pt>
                <c:pt idx="3943">
                  <c:v>-1.2868706549625908E-2</c:v>
                </c:pt>
                <c:pt idx="3944">
                  <c:v>-2.3431961113349553E-2</c:v>
                </c:pt>
                <c:pt idx="3945">
                  <c:v>-4.0442320345613791E-2</c:v>
                </c:pt>
                <c:pt idx="3946">
                  <c:v>-5.1337111146248171E-2</c:v>
                </c:pt>
                <c:pt idx="3947">
                  <c:v>-4.9409100414675278E-2</c:v>
                </c:pt>
                <c:pt idx="3948">
                  <c:v>-4.8200268289324E-2</c:v>
                </c:pt>
                <c:pt idx="3949">
                  <c:v>-4.8200268289324E-2</c:v>
                </c:pt>
                <c:pt idx="3950">
                  <c:v>-4.7792223690049318E-2</c:v>
                </c:pt>
                <c:pt idx="3951">
                  <c:v>-4.2105102087658164E-2</c:v>
                </c:pt>
                <c:pt idx="3952">
                  <c:v>-4.1712359160856249E-2</c:v>
                </c:pt>
                <c:pt idx="3953">
                  <c:v>-4.4374850171123748E-2</c:v>
                </c:pt>
                <c:pt idx="3954">
                  <c:v>-6.0604824107274857E-2</c:v>
                </c:pt>
                <c:pt idx="3955">
                  <c:v>-5.4820791912556066E-2</c:v>
                </c:pt>
                <c:pt idx="3956">
                  <c:v>-4.9786541669004425E-2</c:v>
                </c:pt>
                <c:pt idx="3957">
                  <c:v>-5.9181768567304394E-2</c:v>
                </c:pt>
                <c:pt idx="3958">
                  <c:v>-6.0844550309348766E-2</c:v>
                </c:pt>
                <c:pt idx="3959">
                  <c:v>-5.5723590588451333E-2</c:v>
                </c:pt>
                <c:pt idx="3960">
                  <c:v>-3.6453684387703578E-2</c:v>
                </c:pt>
                <c:pt idx="3961">
                  <c:v>-3.2128411635391707E-2</c:v>
                </c:pt>
                <c:pt idx="3962">
                  <c:v>-2.7849043900498249E-2</c:v>
                </c:pt>
                <c:pt idx="3963">
                  <c:v>-2.8389702994537247E-2</c:v>
                </c:pt>
                <c:pt idx="3964">
                  <c:v>-3.3418852680597966E-2</c:v>
                </c:pt>
                <c:pt idx="3965">
                  <c:v>-3.2082506617973294E-2</c:v>
                </c:pt>
                <c:pt idx="3966">
                  <c:v>-3.2082506617973294E-2</c:v>
                </c:pt>
                <c:pt idx="3967">
                  <c:v>-1.1639472194310829E-2</c:v>
                </c:pt>
                <c:pt idx="3968">
                  <c:v>-1.0593857908669402E-2</c:v>
                </c:pt>
                <c:pt idx="3969">
                  <c:v>-2.2085413935743148E-2</c:v>
                </c:pt>
                <c:pt idx="3970">
                  <c:v>-8.2578025778217157E-3</c:v>
                </c:pt>
                <c:pt idx="3971">
                  <c:v>1.3108432751700594E-3</c:v>
                </c:pt>
                <c:pt idx="3972">
                  <c:v>1.6454398465752362E-2</c:v>
                </c:pt>
                <c:pt idx="3973">
                  <c:v>2.1815084388723704E-2</c:v>
                </c:pt>
                <c:pt idx="3974">
                  <c:v>1.8219191357615294E-2</c:v>
                </c:pt>
                <c:pt idx="3975">
                  <c:v>2.3528871705677412E-2</c:v>
                </c:pt>
                <c:pt idx="3976">
                  <c:v>2.6885038534711914E-2</c:v>
                </c:pt>
                <c:pt idx="3977">
                  <c:v>3.3627975537726229E-2</c:v>
                </c:pt>
                <c:pt idx="3978">
                  <c:v>2.2360844040253625E-2</c:v>
                </c:pt>
                <c:pt idx="3979">
                  <c:v>3.8070561112329537E-2</c:v>
                </c:pt>
                <c:pt idx="3980">
                  <c:v>3.7560505363236185E-2</c:v>
                </c:pt>
                <c:pt idx="3981">
                  <c:v>4.7664709752776036E-2</c:v>
                </c:pt>
                <c:pt idx="3982">
                  <c:v>4.8623614561071671E-2</c:v>
                </c:pt>
                <c:pt idx="3983">
                  <c:v>5.0000765083623611E-2</c:v>
                </c:pt>
                <c:pt idx="3984">
                  <c:v>6.618483400235653E-2</c:v>
                </c:pt>
                <c:pt idx="3985">
                  <c:v>6.1232192678659647E-2</c:v>
                </c:pt>
                <c:pt idx="3986">
                  <c:v>4.8536905083725657E-2</c:v>
                </c:pt>
                <c:pt idx="3987">
                  <c:v>4.0758554910051759E-2</c:v>
                </c:pt>
                <c:pt idx="3988">
                  <c:v>5.0521021947698808E-2</c:v>
                </c:pt>
                <c:pt idx="3989">
                  <c:v>4.8322681669106471E-2</c:v>
                </c:pt>
                <c:pt idx="3990">
                  <c:v>5.9671422086434056E-2</c:v>
                </c:pt>
                <c:pt idx="3991">
                  <c:v>7.11170730960895E-2</c:v>
                </c:pt>
                <c:pt idx="3992">
                  <c:v>7.4697664454725032E-2</c:v>
                </c:pt>
                <c:pt idx="3993">
                  <c:v>8.3577735046440615E-2</c:v>
                </c:pt>
                <c:pt idx="3994">
                  <c:v>6.8592297138077241E-2</c:v>
                </c:pt>
                <c:pt idx="3995">
                  <c:v>8.2878958670182579E-2</c:v>
                </c:pt>
                <c:pt idx="3996">
                  <c:v>8.2011863896723991E-2</c:v>
                </c:pt>
                <c:pt idx="3997">
                  <c:v>9.8042916090728793E-2</c:v>
                </c:pt>
                <c:pt idx="3998">
                  <c:v>0.10890710354641775</c:v>
                </c:pt>
                <c:pt idx="3999">
                  <c:v>0.11109524271002824</c:v>
                </c:pt>
                <c:pt idx="4000">
                  <c:v>0.10742284131655588</c:v>
                </c:pt>
                <c:pt idx="4001">
                  <c:v>9.8930413094151293E-2</c:v>
                </c:pt>
                <c:pt idx="4002">
                  <c:v>0.10503067985330783</c:v>
                </c:pt>
                <c:pt idx="4003">
                  <c:v>0.11525729762263026</c:v>
                </c:pt>
                <c:pt idx="4004">
                  <c:v>0.10897341079379963</c:v>
                </c:pt>
                <c:pt idx="4005">
                  <c:v>0.10070540710099629</c:v>
                </c:pt>
                <c:pt idx="4006">
                  <c:v>0.11039646633377043</c:v>
                </c:pt>
                <c:pt idx="4007">
                  <c:v>0.1179299897478796</c:v>
                </c:pt>
                <c:pt idx="4008">
                  <c:v>0.12864626103633126</c:v>
                </c:pt>
                <c:pt idx="4009">
                  <c:v>0.14542709518150332</c:v>
                </c:pt>
                <c:pt idx="4010">
                  <c:v>0.15527627169649638</c:v>
                </c:pt>
                <c:pt idx="4011">
                  <c:v>0.16617106249713109</c:v>
                </c:pt>
                <c:pt idx="4012">
                  <c:v>0.19044971615397577</c:v>
                </c:pt>
                <c:pt idx="4013">
                  <c:v>0.17211831253155974</c:v>
                </c:pt>
                <c:pt idx="4014">
                  <c:v>0.17434215559760702</c:v>
                </c:pt>
                <c:pt idx="4015">
                  <c:v>0.17422484277531547</c:v>
                </c:pt>
                <c:pt idx="4016">
                  <c:v>0.19393849747777447</c:v>
                </c:pt>
                <c:pt idx="4017">
                  <c:v>0.19215840291343844</c:v>
                </c:pt>
                <c:pt idx="4018">
                  <c:v>0.17944781364603157</c:v>
                </c:pt>
                <c:pt idx="4019">
                  <c:v>0.17680062430823673</c:v>
                </c:pt>
                <c:pt idx="4020">
                  <c:v>0.16835410110325055</c:v>
                </c:pt>
                <c:pt idx="4021">
                  <c:v>0.16835410110325055</c:v>
                </c:pt>
                <c:pt idx="4022">
                  <c:v>0.18162575169466022</c:v>
                </c:pt>
                <c:pt idx="4023">
                  <c:v>0.17374028981367662</c:v>
                </c:pt>
                <c:pt idx="4024">
                  <c:v>0.15770923761967182</c:v>
                </c:pt>
                <c:pt idx="4025">
                  <c:v>0.15744400863014341</c:v>
                </c:pt>
                <c:pt idx="4026">
                  <c:v>0.16415124173072115</c:v>
                </c:pt>
                <c:pt idx="4027">
                  <c:v>0.16485001810697919</c:v>
                </c:pt>
                <c:pt idx="4028">
                  <c:v>0.16410023615581193</c:v>
                </c:pt>
                <c:pt idx="4029">
                  <c:v>0.16125922563336181</c:v>
                </c:pt>
                <c:pt idx="4030">
                  <c:v>0.17451047399480779</c:v>
                </c:pt>
                <c:pt idx="4031">
                  <c:v>0.18232452807091826</c:v>
                </c:pt>
                <c:pt idx="4032">
                  <c:v>0.19473928500385096</c:v>
                </c:pt>
                <c:pt idx="4033">
                  <c:v>0.19630515615356758</c:v>
                </c:pt>
                <c:pt idx="4034">
                  <c:v>0.22233330102980253</c:v>
                </c:pt>
                <c:pt idx="4035">
                  <c:v>0.2258781884860015</c:v>
                </c:pt>
                <c:pt idx="4036">
                  <c:v>0.22420010507148436</c:v>
                </c:pt>
                <c:pt idx="4037">
                  <c:v>0.22477646806796003</c:v>
                </c:pt>
                <c:pt idx="4038">
                  <c:v>0.21692160953192197</c:v>
                </c:pt>
                <c:pt idx="4039">
                  <c:v>0.2350183875097549</c:v>
                </c:pt>
                <c:pt idx="4040">
                  <c:v>0.2530182548952602</c:v>
                </c:pt>
                <c:pt idx="4041">
                  <c:v>0.25165130548768966</c:v>
                </c:pt>
                <c:pt idx="4042">
                  <c:v>0.25580315928531006</c:v>
                </c:pt>
                <c:pt idx="4043">
                  <c:v>0.27609827754173533</c:v>
                </c:pt>
                <c:pt idx="4044">
                  <c:v>0.29202731858592146</c:v>
                </c:pt>
                <c:pt idx="4045">
                  <c:v>0.32034561377558579</c:v>
                </c:pt>
                <c:pt idx="4046">
                  <c:v>0.31520425182472467</c:v>
                </c:pt>
                <c:pt idx="4047">
                  <c:v>0.30393712032725184</c:v>
                </c:pt>
                <c:pt idx="4048">
                  <c:v>0.30263647816706363</c:v>
                </c:pt>
                <c:pt idx="4049">
                  <c:v>0.29357278750567439</c:v>
                </c:pt>
                <c:pt idx="4050">
                  <c:v>0.30930800736520503</c:v>
                </c:pt>
                <c:pt idx="4051">
                  <c:v>0.32425774137113206</c:v>
                </c:pt>
                <c:pt idx="4052">
                  <c:v>0.30732899105872291</c:v>
                </c:pt>
                <c:pt idx="4053">
                  <c:v>0.30824199084959991</c:v>
                </c:pt>
                <c:pt idx="4054">
                  <c:v>0.32630816548248731</c:v>
                </c:pt>
                <c:pt idx="4055">
                  <c:v>0.35061232192678649</c:v>
                </c:pt>
                <c:pt idx="4056">
                  <c:v>0.34529754102123378</c:v>
                </c:pt>
                <c:pt idx="4057">
                  <c:v>0.32113109962918962</c:v>
                </c:pt>
                <c:pt idx="4058">
                  <c:v>0.27360920548615963</c:v>
                </c:pt>
                <c:pt idx="4059">
                  <c:v>0.27490984764634785</c:v>
                </c:pt>
                <c:pt idx="4060">
                  <c:v>0.27416516625267162</c:v>
                </c:pt>
                <c:pt idx="4061">
                  <c:v>0.29542939043237437</c:v>
                </c:pt>
                <c:pt idx="4062">
                  <c:v>0.28073468430099413</c:v>
                </c:pt>
                <c:pt idx="4063">
                  <c:v>0.23029017071565927</c:v>
                </c:pt>
                <c:pt idx="4064">
                  <c:v>0.22101735719714166</c:v>
                </c:pt>
                <c:pt idx="4065">
                  <c:v>0.23138169001871911</c:v>
                </c:pt>
                <c:pt idx="4066">
                  <c:v>0.23578347113339504</c:v>
                </c:pt>
                <c:pt idx="4067">
                  <c:v>0.20756718709354938</c:v>
                </c:pt>
                <c:pt idx="4068">
                  <c:v>0.22912214305023548</c:v>
                </c:pt>
                <c:pt idx="4069">
                  <c:v>0.22336361364297108</c:v>
                </c:pt>
                <c:pt idx="4070">
                  <c:v>0.23188664521032143</c:v>
                </c:pt>
                <c:pt idx="4071">
                  <c:v>0.24313337447783057</c:v>
                </c:pt>
                <c:pt idx="4072">
                  <c:v>0.23232019259705106</c:v>
                </c:pt>
                <c:pt idx="4073">
                  <c:v>0.21246372228484578</c:v>
                </c:pt>
                <c:pt idx="4074">
                  <c:v>0.21984422897422706</c:v>
                </c:pt>
                <c:pt idx="4075">
                  <c:v>0.23181523740544852</c:v>
                </c:pt>
                <c:pt idx="4076">
                  <c:v>0.23181523740544852</c:v>
                </c:pt>
                <c:pt idx="4077">
                  <c:v>0.2721045410263343</c:v>
                </c:pt>
                <c:pt idx="4078">
                  <c:v>0.29151216227933707</c:v>
                </c:pt>
                <c:pt idx="4079">
                  <c:v>0.29990767990941403</c:v>
                </c:pt>
                <c:pt idx="4080">
                  <c:v>0.29507745196549995</c:v>
                </c:pt>
                <c:pt idx="4081">
                  <c:v>0.28646771092080381</c:v>
                </c:pt>
                <c:pt idx="4082">
                  <c:v>0.28869665454434168</c:v>
                </c:pt>
                <c:pt idx="4083">
                  <c:v>0.28520277266305216</c:v>
                </c:pt>
                <c:pt idx="4084">
                  <c:v>0.28520277266305216</c:v>
                </c:pt>
                <c:pt idx="4085">
                  <c:v>0.29113472102500815</c:v>
                </c:pt>
                <c:pt idx="4086">
                  <c:v>0.28726339788938926</c:v>
                </c:pt>
                <c:pt idx="4087">
                  <c:v>0.28838041997990382</c:v>
                </c:pt>
                <c:pt idx="4088">
                  <c:v>0.31712206144131549</c:v>
                </c:pt>
                <c:pt idx="4089">
                  <c:v>0.31663750847967687</c:v>
                </c:pt>
                <c:pt idx="4090">
                  <c:v>0.30149905384658537</c:v>
                </c:pt>
                <c:pt idx="4091">
                  <c:v>0.2912775366347542</c:v>
                </c:pt>
                <c:pt idx="4092">
                  <c:v>0.29879065781889969</c:v>
                </c:pt>
                <c:pt idx="4093">
                  <c:v>0.3059008349612613</c:v>
                </c:pt>
                <c:pt idx="4094">
                  <c:v>0.31896846325303341</c:v>
                </c:pt>
                <c:pt idx="4095">
                  <c:v>0.32269697077890602</c:v>
                </c:pt>
                <c:pt idx="4096">
                  <c:v>0.32981734903624971</c:v>
                </c:pt>
                <c:pt idx="4097">
                  <c:v>0.33740187802526833</c:v>
                </c:pt>
                <c:pt idx="4098">
                  <c:v>0.35947709084602941</c:v>
                </c:pt>
                <c:pt idx="4099">
                  <c:v>0.35382567314607494</c:v>
                </c:pt>
                <c:pt idx="4100">
                  <c:v>0.3410793799762315</c:v>
                </c:pt>
                <c:pt idx="4101">
                  <c:v>0.35301978506250742</c:v>
                </c:pt>
                <c:pt idx="4102">
                  <c:v>0.3504389029720949</c:v>
                </c:pt>
                <c:pt idx="4103">
                  <c:v>0.34708783670055143</c:v>
                </c:pt>
                <c:pt idx="4104">
                  <c:v>0.3546162595571698</c:v>
                </c:pt>
                <c:pt idx="4105">
                  <c:v>0.35132129941802659</c:v>
                </c:pt>
                <c:pt idx="4106">
                  <c:v>0.37013215544458999</c:v>
                </c:pt>
                <c:pt idx="4107">
                  <c:v>0.36052780568916187</c:v>
                </c:pt>
                <c:pt idx="4108">
                  <c:v>0.36708202206501195</c:v>
                </c:pt>
                <c:pt idx="4109">
                  <c:v>0.37167252380685234</c:v>
                </c:pt>
                <c:pt idx="4110">
                  <c:v>0.39153919523403924</c:v>
                </c:pt>
                <c:pt idx="4111">
                  <c:v>0.39442101021641673</c:v>
                </c:pt>
                <c:pt idx="4112">
                  <c:v>0.3908659216452357</c:v>
                </c:pt>
                <c:pt idx="4113">
                  <c:v>0.40192393028558038</c:v>
                </c:pt>
                <c:pt idx="4114">
                  <c:v>0.42127544540618311</c:v>
                </c:pt>
                <c:pt idx="4115">
                  <c:v>0.41296153669596092</c:v>
                </c:pt>
                <c:pt idx="4116">
                  <c:v>0.41847013878616957</c:v>
                </c:pt>
                <c:pt idx="4117">
                  <c:v>0.39804240603497965</c:v>
                </c:pt>
                <c:pt idx="4118">
                  <c:v>0.44780344491652935</c:v>
                </c:pt>
                <c:pt idx="4119">
                  <c:v>0.48988814477422404</c:v>
                </c:pt>
                <c:pt idx="4120">
                  <c:v>0.48796013404265093</c:v>
                </c:pt>
                <c:pt idx="4121">
                  <c:v>0.50298637641094168</c:v>
                </c:pt>
                <c:pt idx="4122">
                  <c:v>0.49313209933845759</c:v>
                </c:pt>
                <c:pt idx="4123">
                  <c:v>0.47288798665694154</c:v>
                </c:pt>
                <c:pt idx="4124">
                  <c:v>0.50093595229958643</c:v>
                </c:pt>
                <c:pt idx="4125">
                  <c:v>0.49187736219568801</c:v>
                </c:pt>
                <c:pt idx="4126">
                  <c:v>0.46680302157025766</c:v>
                </c:pt>
                <c:pt idx="4127">
                  <c:v>0.4907909434501192</c:v>
                </c:pt>
                <c:pt idx="4128">
                  <c:v>0.47905456066348062</c:v>
                </c:pt>
                <c:pt idx="4129">
                  <c:v>0.51995593118327843</c:v>
                </c:pt>
                <c:pt idx="4130">
                  <c:v>0.53222277194897427</c:v>
                </c:pt>
                <c:pt idx="4131">
                  <c:v>0.52901962184466766</c:v>
                </c:pt>
                <c:pt idx="4132">
                  <c:v>0.53078951529402163</c:v>
                </c:pt>
                <c:pt idx="4133">
                  <c:v>0.5553691018428315</c:v>
                </c:pt>
                <c:pt idx="4134">
                  <c:v>0.53950636804602747</c:v>
                </c:pt>
                <c:pt idx="4135">
                  <c:v>0.54690727696537245</c:v>
                </c:pt>
                <c:pt idx="4136">
                  <c:v>0.54704499201762768</c:v>
                </c:pt>
                <c:pt idx="4137">
                  <c:v>0.47700923710961618</c:v>
                </c:pt>
                <c:pt idx="4138">
                  <c:v>0.48657788296260773</c:v>
                </c:pt>
                <c:pt idx="4139">
                  <c:v>0.48456316275368905</c:v>
                </c:pt>
                <c:pt idx="4140">
                  <c:v>0.45369968937604876</c:v>
                </c:pt>
                <c:pt idx="4141">
                  <c:v>0.49415731139413555</c:v>
                </c:pt>
                <c:pt idx="4142">
                  <c:v>0.50210397996501022</c:v>
                </c:pt>
                <c:pt idx="4143">
                  <c:v>0.48944949683000361</c:v>
                </c:pt>
                <c:pt idx="4144">
                  <c:v>0.4956058697215604</c:v>
                </c:pt>
                <c:pt idx="4145">
                  <c:v>0.47007247892194615</c:v>
                </c:pt>
                <c:pt idx="4146">
                  <c:v>0.4575812136266495</c:v>
                </c:pt>
                <c:pt idx="4147">
                  <c:v>0.46934819975823383</c:v>
                </c:pt>
                <c:pt idx="4148">
                  <c:v>0.48174255446120262</c:v>
                </c:pt>
                <c:pt idx="4149">
                  <c:v>0.45489832038641831</c:v>
                </c:pt>
                <c:pt idx="4150">
                  <c:v>0.50581208526091914</c:v>
                </c:pt>
                <c:pt idx="4151">
                  <c:v>0.52587257787276154</c:v>
                </c:pt>
                <c:pt idx="4152">
                  <c:v>0.5249952819843211</c:v>
                </c:pt>
                <c:pt idx="4153">
                  <c:v>0.52697429829080322</c:v>
                </c:pt>
                <c:pt idx="4154">
                  <c:v>0.54886589104189087</c:v>
                </c:pt>
                <c:pt idx="4155">
                  <c:v>0.55643001780094559</c:v>
                </c:pt>
                <c:pt idx="4156">
                  <c:v>0.49364725564504219</c:v>
                </c:pt>
                <c:pt idx="4157">
                  <c:v>0.51449833466797945</c:v>
                </c:pt>
                <c:pt idx="4158">
                  <c:v>0.52950927536379733</c:v>
                </c:pt>
                <c:pt idx="4159">
                  <c:v>0.51997633341324212</c:v>
                </c:pt>
                <c:pt idx="4160">
                  <c:v>0.53172291731486276</c:v>
                </c:pt>
                <c:pt idx="4161">
                  <c:v>0.49686570742182123</c:v>
                </c:pt>
                <c:pt idx="4162">
                  <c:v>0.45847891174505362</c:v>
                </c:pt>
                <c:pt idx="4163">
                  <c:v>0.4618248774591065</c:v>
                </c:pt>
                <c:pt idx="4164">
                  <c:v>0.45227663383607841</c:v>
                </c:pt>
                <c:pt idx="4165">
                  <c:v>0.45304681801720936</c:v>
                </c:pt>
                <c:pt idx="4166">
                  <c:v>0.43638839725181966</c:v>
                </c:pt>
                <c:pt idx="4167">
                  <c:v>0.46031001188429888</c:v>
                </c:pt>
                <c:pt idx="4168">
                  <c:v>0.4920711833803435</c:v>
                </c:pt>
                <c:pt idx="4169">
                  <c:v>0.4909235579448834</c:v>
                </c:pt>
                <c:pt idx="4170">
                  <c:v>0.48813865355483355</c:v>
                </c:pt>
                <c:pt idx="4171">
                  <c:v>0.47785082909562004</c:v>
                </c:pt>
                <c:pt idx="4172">
                  <c:v>0.4701897917442377</c:v>
                </c:pt>
                <c:pt idx="4173">
                  <c:v>0.49385637850217035</c:v>
                </c:pt>
                <c:pt idx="4174">
                  <c:v>0.49959960623696187</c:v>
                </c:pt>
                <c:pt idx="4175">
                  <c:v>0.5136873460269209</c:v>
                </c:pt>
                <c:pt idx="4176">
                  <c:v>0.4904237033107719</c:v>
                </c:pt>
                <c:pt idx="4177">
                  <c:v>0.48875072045374579</c:v>
                </c:pt>
                <c:pt idx="4178">
                  <c:v>0.50839806790882247</c:v>
                </c:pt>
                <c:pt idx="4179">
                  <c:v>0.50856128574853221</c:v>
                </c:pt>
                <c:pt idx="4180">
                  <c:v>0.5334265035168344</c:v>
                </c:pt>
                <c:pt idx="4181">
                  <c:v>0.53659394971870422</c:v>
                </c:pt>
                <c:pt idx="4182">
                  <c:v>0.52667846595632906</c:v>
                </c:pt>
                <c:pt idx="4183">
                  <c:v>0.53824653034576686</c:v>
                </c:pt>
                <c:pt idx="4184">
                  <c:v>0.56615678093615629</c:v>
                </c:pt>
                <c:pt idx="4185">
                  <c:v>0.57335876811335473</c:v>
                </c:pt>
                <c:pt idx="4186">
                  <c:v>0.56425937354952915</c:v>
                </c:pt>
                <c:pt idx="4187">
                  <c:v>0.57877556016872655</c:v>
                </c:pt>
                <c:pt idx="4188">
                  <c:v>0.59221042859984596</c:v>
                </c:pt>
                <c:pt idx="4189">
                  <c:v>0.59221042859984596</c:v>
                </c:pt>
                <c:pt idx="4190">
                  <c:v>0.62388489061854457</c:v>
                </c:pt>
                <c:pt idx="4191">
                  <c:v>0.62030939981740008</c:v>
                </c:pt>
                <c:pt idx="4192">
                  <c:v>0.66174122831625515</c:v>
                </c:pt>
                <c:pt idx="4193">
                  <c:v>0.68090912336718401</c:v>
                </c:pt>
                <c:pt idx="4194">
                  <c:v>0.7038922354213315</c:v>
                </c:pt>
                <c:pt idx="4195">
                  <c:v>0.69946495151920107</c:v>
                </c:pt>
                <c:pt idx="4196">
                  <c:v>0.72162177325981736</c:v>
                </c:pt>
                <c:pt idx="4197">
                  <c:v>0.67113135465706408</c:v>
                </c:pt>
                <c:pt idx="4198">
                  <c:v>0.68492326211254895</c:v>
                </c:pt>
                <c:pt idx="4199">
                  <c:v>0.68492326211254895</c:v>
                </c:pt>
                <c:pt idx="4200">
                  <c:v>0.68134777131140445</c:v>
                </c:pt>
                <c:pt idx="4201">
                  <c:v>0.68134777131140445</c:v>
                </c:pt>
                <c:pt idx="4202">
                  <c:v>0.71702107040299512</c:v>
                </c:pt>
                <c:pt idx="4203">
                  <c:v>0.73175148043681171</c:v>
                </c:pt>
                <c:pt idx="4204">
                  <c:v>0.75558128503445432</c:v>
                </c:pt>
                <c:pt idx="4205">
                  <c:v>0.7235395828764084</c:v>
                </c:pt>
                <c:pt idx="4206">
                  <c:v>0.71643960684902863</c:v>
                </c:pt>
                <c:pt idx="4207">
                  <c:v>0.76676170705458113</c:v>
                </c:pt>
                <c:pt idx="4208">
                  <c:v>0.74048363486129043</c:v>
                </c:pt>
                <c:pt idx="4209">
                  <c:v>0.67833844239175356</c:v>
                </c:pt>
                <c:pt idx="4210">
                  <c:v>0.67707860469149295</c:v>
                </c:pt>
                <c:pt idx="4211">
                  <c:v>0.63226510657614887</c:v>
                </c:pt>
                <c:pt idx="4212">
                  <c:v>0.62543035953829751</c:v>
                </c:pt>
                <c:pt idx="4213">
                  <c:v>0.61421423361573435</c:v>
                </c:pt>
                <c:pt idx="4214">
                  <c:v>0.53091192867380421</c:v>
                </c:pt>
                <c:pt idx="4215">
                  <c:v>0.55116114191281107</c:v>
                </c:pt>
                <c:pt idx="4216">
                  <c:v>0.48777141341548647</c:v>
                </c:pt>
                <c:pt idx="4217">
                  <c:v>0.51462584860525262</c:v>
                </c:pt>
                <c:pt idx="4218">
                  <c:v>0.53415588323803798</c:v>
                </c:pt>
                <c:pt idx="4219">
                  <c:v>0.50605181146299283</c:v>
                </c:pt>
                <c:pt idx="4220">
                  <c:v>0.49799293062731764</c:v>
                </c:pt>
                <c:pt idx="4221">
                  <c:v>0.5116930280479659</c:v>
                </c:pt>
                <c:pt idx="4222">
                  <c:v>0.55155388483961287</c:v>
                </c:pt>
                <c:pt idx="4223">
                  <c:v>0.56266799961235758</c:v>
                </c:pt>
                <c:pt idx="4224">
                  <c:v>0.52124127167099377</c:v>
                </c:pt>
                <c:pt idx="4225">
                  <c:v>0.51788000428446823</c:v>
                </c:pt>
                <c:pt idx="4226">
                  <c:v>0.47939119745788217</c:v>
                </c:pt>
                <c:pt idx="4227">
                  <c:v>0.45782604038621422</c:v>
                </c:pt>
                <c:pt idx="4228">
                  <c:v>0.40677966101694918</c:v>
                </c:pt>
                <c:pt idx="4229">
                  <c:v>0.35609542122954041</c:v>
                </c:pt>
                <c:pt idx="4230">
                  <c:v>0.35133150053300843</c:v>
                </c:pt>
                <c:pt idx="4231">
                  <c:v>0.35133150053300843</c:v>
                </c:pt>
                <c:pt idx="4232">
                  <c:v>0.36006365495748693</c:v>
                </c:pt>
                <c:pt idx="4233">
                  <c:v>0.39685907669708298</c:v>
                </c:pt>
                <c:pt idx="4234">
                  <c:v>0.39525240108743875</c:v>
                </c:pt>
                <c:pt idx="4235">
                  <c:v>0.40591256624349037</c:v>
                </c:pt>
                <c:pt idx="4236">
                  <c:v>0.39191663648836816</c:v>
                </c:pt>
                <c:pt idx="4237">
                  <c:v>0.39886869634851085</c:v>
                </c:pt>
                <c:pt idx="4238">
                  <c:v>0.42351969070219364</c:v>
                </c:pt>
                <c:pt idx="4239">
                  <c:v>0.49285156867645652</c:v>
                </c:pt>
                <c:pt idx="4240">
                  <c:v>0.58232044762492552</c:v>
                </c:pt>
                <c:pt idx="4241">
                  <c:v>0.57777585090050354</c:v>
                </c:pt>
                <c:pt idx="4242">
                  <c:v>0.60407432532375793</c:v>
                </c:pt>
                <c:pt idx="4243">
                  <c:v>0.60740498936533771</c:v>
                </c:pt>
                <c:pt idx="4244">
                  <c:v>0.60160565549814593</c:v>
                </c:pt>
                <c:pt idx="4245">
                  <c:v>0.65782400016321807</c:v>
                </c:pt>
                <c:pt idx="4246">
                  <c:v>0.69662904155424199</c:v>
                </c:pt>
                <c:pt idx="4247">
                  <c:v>0.72053535451424855</c:v>
                </c:pt>
                <c:pt idx="4248">
                  <c:v>0.70321386127503738</c:v>
                </c:pt>
                <c:pt idx="4249">
                  <c:v>0.73188409493157613</c:v>
                </c:pt>
                <c:pt idx="4250">
                  <c:v>0.65520231361287795</c:v>
                </c:pt>
                <c:pt idx="4251">
                  <c:v>0.64896433180146595</c:v>
                </c:pt>
                <c:pt idx="4252">
                  <c:v>0.61925868497426784</c:v>
                </c:pt>
                <c:pt idx="4253">
                  <c:v>0.64844407493739054</c:v>
                </c:pt>
                <c:pt idx="4254">
                  <c:v>0.65806372636529176</c:v>
                </c:pt>
                <c:pt idx="4255">
                  <c:v>0.72039763946199331</c:v>
                </c:pt>
                <c:pt idx="4256">
                  <c:v>0.70847763660568108</c:v>
                </c:pt>
                <c:pt idx="4257">
                  <c:v>0.71510326078640407</c:v>
                </c:pt>
                <c:pt idx="4258">
                  <c:v>0.73244515625557871</c:v>
                </c:pt>
                <c:pt idx="4259">
                  <c:v>0.74144253966958584</c:v>
                </c:pt>
                <c:pt idx="4260">
                  <c:v>0.80429670963036259</c:v>
                </c:pt>
                <c:pt idx="4261">
                  <c:v>0.80711731792284902</c:v>
                </c:pt>
                <c:pt idx="4262">
                  <c:v>0.80708671457790349</c:v>
                </c:pt>
                <c:pt idx="4263">
                  <c:v>0.77033209729823482</c:v>
                </c:pt>
                <c:pt idx="4264">
                  <c:v>0.75415312893699271</c:v>
                </c:pt>
                <c:pt idx="4265">
                  <c:v>0.69622609751245834</c:v>
                </c:pt>
                <c:pt idx="4266">
                  <c:v>0.71973966754566288</c:v>
                </c:pt>
                <c:pt idx="4267">
                  <c:v>0.70217844810437779</c:v>
                </c:pt>
                <c:pt idx="4268">
                  <c:v>0.69807249932417625</c:v>
                </c:pt>
                <c:pt idx="4269">
                  <c:v>0.73898917151644672</c:v>
                </c:pt>
                <c:pt idx="4270">
                  <c:v>0.70164799012532075</c:v>
                </c:pt>
                <c:pt idx="4271">
                  <c:v>0.65212157688835393</c:v>
                </c:pt>
                <c:pt idx="4272">
                  <c:v>0.66325099333357151</c:v>
                </c:pt>
                <c:pt idx="4273">
                  <c:v>0.66325099333357151</c:v>
                </c:pt>
                <c:pt idx="4274">
                  <c:v>0.68713690406361416</c:v>
                </c:pt>
                <c:pt idx="4275">
                  <c:v>0.66896361772341706</c:v>
                </c:pt>
                <c:pt idx="4276">
                  <c:v>0.67759886155556814</c:v>
                </c:pt>
                <c:pt idx="4277">
                  <c:v>0.67940445890735868</c:v>
                </c:pt>
                <c:pt idx="4278">
                  <c:v>0.69280362343604174</c:v>
                </c:pt>
                <c:pt idx="4279">
                  <c:v>0.69219155653712949</c:v>
                </c:pt>
                <c:pt idx="4280">
                  <c:v>0.66204726176571094</c:v>
                </c:pt>
                <c:pt idx="4281">
                  <c:v>0.64529703096548441</c:v>
                </c:pt>
                <c:pt idx="4282">
                  <c:v>0.63727385403224557</c:v>
                </c:pt>
                <c:pt idx="4283">
                  <c:v>0.67838434740917197</c:v>
                </c:pt>
                <c:pt idx="4284">
                  <c:v>0.6998168899860755</c:v>
                </c:pt>
                <c:pt idx="4285">
                  <c:v>0.67704800134654719</c:v>
                </c:pt>
                <c:pt idx="4286">
                  <c:v>0.68242908949948244</c:v>
                </c:pt>
                <c:pt idx="4287">
                  <c:v>0.75749399409355456</c:v>
                </c:pt>
                <c:pt idx="4288">
                  <c:v>0.73678063012287254</c:v>
                </c:pt>
                <c:pt idx="4289">
                  <c:v>0.71260398761584631</c:v>
                </c:pt>
                <c:pt idx="4290">
                  <c:v>0.69701158336606195</c:v>
                </c:pt>
                <c:pt idx="4291">
                  <c:v>0.68033786092819959</c:v>
                </c:pt>
                <c:pt idx="4292">
                  <c:v>0.70718719556047471</c:v>
                </c:pt>
                <c:pt idx="4293">
                  <c:v>0.72386091799833729</c:v>
                </c:pt>
                <c:pt idx="4294">
                  <c:v>0.7043869894979522</c:v>
                </c:pt>
                <c:pt idx="4295">
                  <c:v>0.70066868308706165</c:v>
                </c:pt>
                <c:pt idx="4296">
                  <c:v>0.71926021514151506</c:v>
                </c:pt>
                <c:pt idx="4297">
                  <c:v>0.70429517946311537</c:v>
                </c:pt>
                <c:pt idx="4298">
                  <c:v>0.67743054315836715</c:v>
                </c:pt>
                <c:pt idx="4299">
                  <c:v>0.66632662950060428</c:v>
                </c:pt>
                <c:pt idx="4300">
                  <c:v>0.65032108009405443</c:v>
                </c:pt>
                <c:pt idx="4301">
                  <c:v>0.66438841765404977</c:v>
                </c:pt>
                <c:pt idx="4302">
                  <c:v>0.6683617519394871</c:v>
                </c:pt>
                <c:pt idx="4303">
                  <c:v>0.65570726880448049</c:v>
                </c:pt>
                <c:pt idx="4304">
                  <c:v>0.67010104204389531</c:v>
                </c:pt>
                <c:pt idx="4305">
                  <c:v>0.65294276664439432</c:v>
                </c:pt>
                <c:pt idx="4306">
                  <c:v>0.66011925103413827</c:v>
                </c:pt>
                <c:pt idx="4307">
                  <c:v>0.65145850441453268</c:v>
                </c:pt>
                <c:pt idx="4308">
                  <c:v>0.66325099333357151</c:v>
                </c:pt>
                <c:pt idx="4309">
                  <c:v>0.69643011981209546</c:v>
                </c:pt>
                <c:pt idx="4310">
                  <c:v>0.69369622099695505</c:v>
                </c:pt>
                <c:pt idx="4311">
                  <c:v>0.71563371876546111</c:v>
                </c:pt>
                <c:pt idx="4312">
                  <c:v>0.75036341472122903</c:v>
                </c:pt>
                <c:pt idx="4313">
                  <c:v>0.75730017290889906</c:v>
                </c:pt>
                <c:pt idx="4314">
                  <c:v>0.78564907144350871</c:v>
                </c:pt>
                <c:pt idx="4315">
                  <c:v>0.80125167680827514</c:v>
                </c:pt>
                <c:pt idx="4316">
                  <c:v>0.8033225031495943</c:v>
                </c:pt>
                <c:pt idx="4317">
                  <c:v>0.77170924782078676</c:v>
                </c:pt>
                <c:pt idx="4318">
                  <c:v>0.81243209882840195</c:v>
                </c:pt>
                <c:pt idx="4319">
                  <c:v>0.81803251095344742</c:v>
                </c:pt>
                <c:pt idx="4320">
                  <c:v>0.79707942078069149</c:v>
                </c:pt>
                <c:pt idx="4321">
                  <c:v>0.78778620503220997</c:v>
                </c:pt>
                <c:pt idx="4322">
                  <c:v>0.78605711604278361</c:v>
                </c:pt>
                <c:pt idx="4323">
                  <c:v>0.79559005799333882</c:v>
                </c:pt>
                <c:pt idx="4324">
                  <c:v>0.81009604349755437</c:v>
                </c:pt>
                <c:pt idx="4325">
                  <c:v>0.78166553604308953</c:v>
                </c:pt>
                <c:pt idx="4326">
                  <c:v>0.75449486628888551</c:v>
                </c:pt>
                <c:pt idx="4327">
                  <c:v>0.75942200482512745</c:v>
                </c:pt>
                <c:pt idx="4328">
                  <c:v>0.75942200482512745</c:v>
                </c:pt>
                <c:pt idx="4329">
                  <c:v>0.75132231952952466</c:v>
                </c:pt>
                <c:pt idx="4330">
                  <c:v>0.76890904175826424</c:v>
                </c:pt>
                <c:pt idx="4331">
                  <c:v>0.80837205506561882</c:v>
                </c:pt>
                <c:pt idx="4332">
                  <c:v>0.84105642746752229</c:v>
                </c:pt>
                <c:pt idx="4333">
                  <c:v>0.83263540704999084</c:v>
                </c:pt>
                <c:pt idx="4334">
                  <c:v>0.8349102556909469</c:v>
                </c:pt>
                <c:pt idx="4335">
                  <c:v>0.80650015046644596</c:v>
                </c:pt>
                <c:pt idx="4336">
                  <c:v>0.8065460554838646</c:v>
                </c:pt>
                <c:pt idx="4337">
                  <c:v>0.80454663694741835</c:v>
                </c:pt>
                <c:pt idx="4338">
                  <c:v>0.76687901987687268</c:v>
                </c:pt>
                <c:pt idx="4339">
                  <c:v>0.78289477039840438</c:v>
                </c:pt>
                <c:pt idx="4340">
                  <c:v>0.76973533207179545</c:v>
                </c:pt>
                <c:pt idx="4341">
                  <c:v>0.76973533207179545</c:v>
                </c:pt>
                <c:pt idx="4342">
                  <c:v>0.78923986391712608</c:v>
                </c:pt>
                <c:pt idx="4343">
                  <c:v>0.82231187868834077</c:v>
                </c:pt>
                <c:pt idx="4344">
                  <c:v>0.80910143478682217</c:v>
                </c:pt>
                <c:pt idx="4345">
                  <c:v>0.80036417980485264</c:v>
                </c:pt>
                <c:pt idx="4346">
                  <c:v>0.79460054984009765</c:v>
                </c:pt>
                <c:pt idx="4347">
                  <c:v>0.83585895938426069</c:v>
                </c:pt>
                <c:pt idx="4348">
                  <c:v>0.82203134802633926</c:v>
                </c:pt>
                <c:pt idx="4349">
                  <c:v>0.83063598851354459</c:v>
                </c:pt>
                <c:pt idx="4350">
                  <c:v>0.88251885931132268</c:v>
                </c:pt>
                <c:pt idx="4351">
                  <c:v>0.92285916850711791</c:v>
                </c:pt>
                <c:pt idx="4352">
                  <c:v>0.91107688070306092</c:v>
                </c:pt>
                <c:pt idx="4353">
                  <c:v>0.92936237930805854</c:v>
                </c:pt>
                <c:pt idx="4354">
                  <c:v>0.92095666056299974</c:v>
                </c:pt>
                <c:pt idx="4355">
                  <c:v>0.91929387882095503</c:v>
                </c:pt>
                <c:pt idx="4356">
                  <c:v>0.9061956471842374</c:v>
                </c:pt>
                <c:pt idx="4357">
                  <c:v>0.91005676920487422</c:v>
                </c:pt>
                <c:pt idx="4358">
                  <c:v>0.92390478279275912</c:v>
                </c:pt>
                <c:pt idx="4359">
                  <c:v>0.93112717219992147</c:v>
                </c:pt>
                <c:pt idx="4360">
                  <c:v>0.94230249366255747</c:v>
                </c:pt>
                <c:pt idx="4361">
                  <c:v>0.88136613331837177</c:v>
                </c:pt>
                <c:pt idx="4362">
                  <c:v>0.87033872802297285</c:v>
                </c:pt>
                <c:pt idx="4363">
                  <c:v>0.87351127478233392</c:v>
                </c:pt>
                <c:pt idx="4364">
                  <c:v>0.84260189638727523</c:v>
                </c:pt>
                <c:pt idx="4365">
                  <c:v>0.84260189638727523</c:v>
                </c:pt>
                <c:pt idx="4366">
                  <c:v>0.88226893199426715</c:v>
                </c:pt>
                <c:pt idx="4367">
                  <c:v>0.87227693986952781</c:v>
                </c:pt>
                <c:pt idx="4368">
                  <c:v>0.86058136154281684</c:v>
                </c:pt>
                <c:pt idx="4369">
                  <c:v>0.89307191276006481</c:v>
                </c:pt>
                <c:pt idx="4370">
                  <c:v>0.85564912244908387</c:v>
                </c:pt>
                <c:pt idx="4371">
                  <c:v>0.81338590307920655</c:v>
                </c:pt>
                <c:pt idx="4372">
                  <c:v>0.8108152221037761</c:v>
                </c:pt>
                <c:pt idx="4373">
                  <c:v>0.81129467450792392</c:v>
                </c:pt>
                <c:pt idx="4374">
                  <c:v>0.78310389325553298</c:v>
                </c:pt>
                <c:pt idx="4375">
                  <c:v>0.8349918646108021</c:v>
                </c:pt>
                <c:pt idx="4376">
                  <c:v>0.84783506837297318</c:v>
                </c:pt>
                <c:pt idx="4377">
                  <c:v>0.88655850084414234</c:v>
                </c:pt>
                <c:pt idx="4378">
                  <c:v>0.88160075896295487</c:v>
                </c:pt>
                <c:pt idx="4379">
                  <c:v>0.9468827942894158</c:v>
                </c:pt>
                <c:pt idx="4380">
                  <c:v>0.95824173582172545</c:v>
                </c:pt>
                <c:pt idx="4381">
                  <c:v>0.93450884181641047</c:v>
                </c:pt>
                <c:pt idx="4382">
                  <c:v>0.94348582300045414</c:v>
                </c:pt>
                <c:pt idx="4383">
                  <c:v>0.93963490209479894</c:v>
                </c:pt>
                <c:pt idx="4384">
                  <c:v>0.9247871792386908</c:v>
                </c:pt>
                <c:pt idx="4385">
                  <c:v>0.92827596056248951</c:v>
                </c:pt>
                <c:pt idx="4386">
                  <c:v>0.93917585192061481</c:v>
                </c:pt>
                <c:pt idx="4387">
                  <c:v>0.93919115359308791</c:v>
                </c:pt>
                <c:pt idx="4388">
                  <c:v>0.97245698954895765</c:v>
                </c:pt>
                <c:pt idx="4389">
                  <c:v>1.0099970926822301</c:v>
                </c:pt>
                <c:pt idx="4390">
                  <c:v>0.99534829156826854</c:v>
                </c:pt>
                <c:pt idx="4391">
                  <c:v>0.9975976374217701</c:v>
                </c:pt>
                <c:pt idx="4392">
                  <c:v>0.9882789188858343</c:v>
                </c:pt>
                <c:pt idx="4393">
                  <c:v>0.98806469547121489</c:v>
                </c:pt>
                <c:pt idx="4394">
                  <c:v>0.92923486537078515</c:v>
                </c:pt>
                <c:pt idx="4395">
                  <c:v>0.93527392544005061</c:v>
                </c:pt>
                <c:pt idx="4396">
                  <c:v>0.89397471143595997</c:v>
                </c:pt>
                <c:pt idx="4397">
                  <c:v>0.93250432272247363</c:v>
                </c:pt>
                <c:pt idx="4398">
                  <c:v>0.93608491408110917</c:v>
                </c:pt>
                <c:pt idx="4399">
                  <c:v>0.9215330235594752</c:v>
                </c:pt>
                <c:pt idx="4400">
                  <c:v>0.91082695338600517</c:v>
                </c:pt>
                <c:pt idx="4401">
                  <c:v>0.92128309624241944</c:v>
                </c:pt>
                <c:pt idx="4402">
                  <c:v>0.94487317463798792</c:v>
                </c:pt>
                <c:pt idx="4403">
                  <c:v>0.98717209791030158</c:v>
                </c:pt>
                <c:pt idx="4404">
                  <c:v>0.98715169568033789</c:v>
                </c:pt>
                <c:pt idx="4405">
                  <c:v>0.97130936411349755</c:v>
                </c:pt>
                <c:pt idx="4406">
                  <c:v>0.88322783680256256</c:v>
                </c:pt>
                <c:pt idx="4407">
                  <c:v>0.83594566886160671</c:v>
                </c:pt>
                <c:pt idx="4408">
                  <c:v>0.81992991834007456</c:v>
                </c:pt>
                <c:pt idx="4409">
                  <c:v>0.83602217722397065</c:v>
                </c:pt>
                <c:pt idx="4410">
                  <c:v>0.80054269931703548</c:v>
                </c:pt>
                <c:pt idx="4411">
                  <c:v>0.81406937778299171</c:v>
                </c:pt>
                <c:pt idx="4412">
                  <c:v>0.7974058564601112</c:v>
                </c:pt>
                <c:pt idx="4413">
                  <c:v>0.86256037784929895</c:v>
                </c:pt>
                <c:pt idx="4414">
                  <c:v>0.85171659262357391</c:v>
                </c:pt>
                <c:pt idx="4415">
                  <c:v>0.85416996077671303</c:v>
                </c:pt>
                <c:pt idx="4416">
                  <c:v>0.84028114272890031</c:v>
                </c:pt>
                <c:pt idx="4417">
                  <c:v>0.85608777039330386</c:v>
                </c:pt>
                <c:pt idx="4418">
                  <c:v>0.86209622711762401</c:v>
                </c:pt>
                <c:pt idx="4419">
                  <c:v>0.87710716781344189</c:v>
                </c:pt>
                <c:pt idx="4420">
                  <c:v>0.91228061227092128</c:v>
                </c:pt>
                <c:pt idx="4421">
                  <c:v>0.90381368683597119</c:v>
                </c:pt>
                <c:pt idx="4422">
                  <c:v>0.92664378216539078</c:v>
                </c:pt>
                <c:pt idx="4423">
                  <c:v>0.9653825163090326</c:v>
                </c:pt>
                <c:pt idx="4424">
                  <c:v>0.98875837128998212</c:v>
                </c:pt>
                <c:pt idx="4425">
                  <c:v>0.96185803108279755</c:v>
                </c:pt>
                <c:pt idx="4426">
                  <c:v>0.97068199554211265</c:v>
                </c:pt>
                <c:pt idx="4427">
                  <c:v>0.94917804516033599</c:v>
                </c:pt>
                <c:pt idx="4428">
                  <c:v>0.98832482390325271</c:v>
                </c:pt>
                <c:pt idx="4429">
                  <c:v>0.99352229198651432</c:v>
                </c:pt>
                <c:pt idx="4430">
                  <c:v>0.96282713700607503</c:v>
                </c:pt>
                <c:pt idx="4431">
                  <c:v>0.99411905721295346</c:v>
                </c:pt>
                <c:pt idx="4432">
                  <c:v>0.99989798885018133</c:v>
                </c:pt>
                <c:pt idx="4433">
                  <c:v>1.0078446574210562</c:v>
                </c:pt>
                <c:pt idx="4434">
                  <c:v>1.0078446574210562</c:v>
                </c:pt>
                <c:pt idx="4435">
                  <c:v>1.0305523393706935</c:v>
                </c:pt>
                <c:pt idx="4436">
                  <c:v>1.0425998561642786</c:v>
                </c:pt>
                <c:pt idx="4437">
                  <c:v>1.0217487771413416</c:v>
                </c:pt>
                <c:pt idx="4438">
                  <c:v>1.0328220874541585</c:v>
                </c:pt>
                <c:pt idx="4439">
                  <c:v>1.0604773101700018</c:v>
                </c:pt>
                <c:pt idx="4440">
                  <c:v>1.0499497595087144</c:v>
                </c:pt>
                <c:pt idx="4441">
                  <c:v>1.0526377533064366</c:v>
                </c:pt>
                <c:pt idx="4442">
                  <c:v>1.0311338029246597</c:v>
                </c:pt>
                <c:pt idx="4443">
                  <c:v>1.0666285825040678</c:v>
                </c:pt>
                <c:pt idx="4444">
                  <c:v>1.0605742207623297</c:v>
                </c:pt>
                <c:pt idx="4445">
                  <c:v>1.0354947795794081</c:v>
                </c:pt>
                <c:pt idx="4446">
                  <c:v>1.0254874857821963</c:v>
                </c:pt>
                <c:pt idx="4447">
                  <c:v>1.0207337662006459</c:v>
                </c:pt>
                <c:pt idx="4448">
                  <c:v>1.02173857602636</c:v>
                </c:pt>
                <c:pt idx="4449">
                  <c:v>1.0351785450149702</c:v>
                </c:pt>
                <c:pt idx="4450">
                  <c:v>1.0351785450149702</c:v>
                </c:pt>
                <c:pt idx="4451">
                  <c:v>1.0472260618085558</c:v>
                </c:pt>
                <c:pt idx="4452">
                  <c:v>1.0472260618085558</c:v>
                </c:pt>
                <c:pt idx="4453">
                  <c:v>1.095880279714573</c:v>
                </c:pt>
                <c:pt idx="4454">
                  <c:v>1.0859035892623066</c:v>
                </c:pt>
                <c:pt idx="4455">
                  <c:v>1.0410951917044535</c:v>
                </c:pt>
                <c:pt idx="4456">
                  <c:v>1.0456652912163302</c:v>
                </c:pt>
                <c:pt idx="4457">
                  <c:v>1.0170919681521191</c:v>
                </c:pt>
                <c:pt idx="4458">
                  <c:v>1.0230647209740025</c:v>
                </c:pt>
                <c:pt idx="4459">
                  <c:v>1.0436913754673389</c:v>
                </c:pt>
                <c:pt idx="4460">
                  <c:v>1.019014878326201</c:v>
                </c:pt>
                <c:pt idx="4461">
                  <c:v>1.0040957476652199</c:v>
                </c:pt>
                <c:pt idx="4462">
                  <c:v>0.98651922655146218</c:v>
                </c:pt>
                <c:pt idx="4463">
                  <c:v>1.0074723167242179</c:v>
                </c:pt>
                <c:pt idx="4464">
                  <c:v>1.036826025084542</c:v>
                </c:pt>
                <c:pt idx="4465">
                  <c:v>1.0739886869634852</c:v>
                </c:pt>
                <c:pt idx="4466">
                  <c:v>1.0513881167211578</c:v>
                </c:pt>
                <c:pt idx="4467">
                  <c:v>1.0587380200655931</c:v>
                </c:pt>
                <c:pt idx="4468">
                  <c:v>1.0440280122617405</c:v>
                </c:pt>
                <c:pt idx="4469">
                  <c:v>1.0762329322594959</c:v>
                </c:pt>
                <c:pt idx="4470">
                  <c:v>1.0599468521909445</c:v>
                </c:pt>
                <c:pt idx="4471">
                  <c:v>1.0991599381812436</c:v>
                </c:pt>
                <c:pt idx="4472">
                  <c:v>1.1503491331602542</c:v>
                </c:pt>
                <c:pt idx="4473">
                  <c:v>1.1554751934386429</c:v>
                </c:pt>
                <c:pt idx="4474">
                  <c:v>1.1603411252849938</c:v>
                </c:pt>
                <c:pt idx="4475">
                  <c:v>1.1108963209678819</c:v>
                </c:pt>
                <c:pt idx="4476">
                  <c:v>1.1108963209678819</c:v>
                </c:pt>
                <c:pt idx="4477">
                  <c:v>1.0977317820837817</c:v>
                </c:pt>
                <c:pt idx="4478">
                  <c:v>1.1179146880754067</c:v>
                </c:pt>
                <c:pt idx="4479">
                  <c:v>1.0929270569273224</c:v>
                </c:pt>
                <c:pt idx="4480">
                  <c:v>1.1223827764374645</c:v>
                </c:pt>
                <c:pt idx="4481">
                  <c:v>1.1543479702331467</c:v>
                </c:pt>
                <c:pt idx="4482">
                  <c:v>1.1951014245857072</c:v>
                </c:pt>
                <c:pt idx="4483">
                  <c:v>1.1839567064680172</c:v>
                </c:pt>
                <c:pt idx="4484">
                  <c:v>1.179488618105959</c:v>
                </c:pt>
                <c:pt idx="4485">
                  <c:v>1.145610715251177</c:v>
                </c:pt>
                <c:pt idx="4486">
                  <c:v>1.1501910158780357</c:v>
                </c:pt>
                <c:pt idx="4487">
                  <c:v>1.1812279082103672</c:v>
                </c:pt>
                <c:pt idx="4488">
                  <c:v>1.1800598805449436</c:v>
                </c:pt>
                <c:pt idx="4489">
                  <c:v>1.2136623532952151</c:v>
                </c:pt>
                <c:pt idx="4490">
                  <c:v>1.1695425309986383</c:v>
                </c:pt>
                <c:pt idx="4491">
                  <c:v>1.2097298234697051</c:v>
                </c:pt>
                <c:pt idx="4492">
                  <c:v>1.1922502129482755</c:v>
                </c:pt>
                <c:pt idx="4493">
                  <c:v>1.1870833482099594</c:v>
                </c:pt>
                <c:pt idx="4494">
                  <c:v>1.2287906068133245</c:v>
                </c:pt>
                <c:pt idx="4495">
                  <c:v>1.2357477672309587</c:v>
                </c:pt>
                <c:pt idx="4496">
                  <c:v>1.2740784567753254</c:v>
                </c:pt>
                <c:pt idx="4497">
                  <c:v>1.2632193698771275</c:v>
                </c:pt>
                <c:pt idx="4498">
                  <c:v>1.2230932840959516</c:v>
                </c:pt>
                <c:pt idx="4499">
                  <c:v>1.2301320534334401</c:v>
                </c:pt>
                <c:pt idx="4500">
                  <c:v>1.2342788066735695</c:v>
                </c:pt>
                <c:pt idx="4501">
                  <c:v>1.2439494636763802</c:v>
                </c:pt>
                <c:pt idx="4502">
                  <c:v>1.2332586951753828</c:v>
                </c:pt>
                <c:pt idx="4503">
                  <c:v>1.2235115298102084</c:v>
                </c:pt>
                <c:pt idx="4504">
                  <c:v>1.2197779217268447</c:v>
                </c:pt>
                <c:pt idx="4505">
                  <c:v>1.259179728344308</c:v>
                </c:pt>
                <c:pt idx="4506">
                  <c:v>1.238165431481661</c:v>
                </c:pt>
                <c:pt idx="4507">
                  <c:v>1.276419612663664</c:v>
                </c:pt>
                <c:pt idx="4508">
                  <c:v>1.2498661103658635</c:v>
                </c:pt>
                <c:pt idx="4509">
                  <c:v>1.2451174913418037</c:v>
                </c:pt>
                <c:pt idx="4510">
                  <c:v>1.1820133940639712</c:v>
                </c:pt>
                <c:pt idx="4511">
                  <c:v>1.1656712078630194</c:v>
                </c:pt>
                <c:pt idx="4512">
                  <c:v>1.1585151257032393</c:v>
                </c:pt>
                <c:pt idx="4513">
                  <c:v>1.1878892362935272</c:v>
                </c:pt>
                <c:pt idx="4514">
                  <c:v>1.1501298091881442</c:v>
                </c:pt>
                <c:pt idx="4515">
                  <c:v>1.1532921548325232</c:v>
                </c:pt>
                <c:pt idx="4516">
                  <c:v>1.1229030333015402</c:v>
                </c:pt>
                <c:pt idx="4517">
                  <c:v>1.1004503792264493</c:v>
                </c:pt>
                <c:pt idx="4518">
                  <c:v>1.124769837343222</c:v>
                </c:pt>
                <c:pt idx="4519">
                  <c:v>1.1237242230575801</c:v>
                </c:pt>
                <c:pt idx="4520">
                  <c:v>1.0881529351158079</c:v>
                </c:pt>
                <c:pt idx="4521">
                  <c:v>1.0271655691967134</c:v>
                </c:pt>
                <c:pt idx="4522">
                  <c:v>1.0840367852206247</c:v>
                </c:pt>
                <c:pt idx="4523">
                  <c:v>1.0608445503093487</c:v>
                </c:pt>
                <c:pt idx="4524">
                  <c:v>1.0608445503093487</c:v>
                </c:pt>
                <c:pt idx="4525">
                  <c:v>0.95044808397557845</c:v>
                </c:pt>
                <c:pt idx="4526">
                  <c:v>0.98162779191765659</c:v>
                </c:pt>
                <c:pt idx="4527">
                  <c:v>0.98695277393819159</c:v>
                </c:pt>
                <c:pt idx="4528">
                  <c:v>0.96946806285927067</c:v>
                </c:pt>
                <c:pt idx="4529">
                  <c:v>1.0592327741422136</c:v>
                </c:pt>
                <c:pt idx="4530">
                  <c:v>1.072693145360788</c:v>
                </c:pt>
                <c:pt idx="4531">
                  <c:v>1.1097997011073311</c:v>
                </c:pt>
                <c:pt idx="4532">
                  <c:v>1.0893770689136324</c:v>
                </c:pt>
                <c:pt idx="4533">
                  <c:v>1.0580137409018806</c:v>
                </c:pt>
                <c:pt idx="4534">
                  <c:v>1.0924578056381562</c:v>
                </c:pt>
                <c:pt idx="4535">
                  <c:v>1.0483736872440157</c:v>
                </c:pt>
                <c:pt idx="4536">
                  <c:v>1.10957527657773</c:v>
                </c:pt>
                <c:pt idx="4537">
                  <c:v>1.1333744778304271</c:v>
                </c:pt>
                <c:pt idx="4538">
                  <c:v>1.0899585324675991</c:v>
                </c:pt>
                <c:pt idx="4539">
                  <c:v>1.0725095252911143</c:v>
                </c:pt>
                <c:pt idx="4540">
                  <c:v>1.0533824347001128</c:v>
                </c:pt>
                <c:pt idx="4541">
                  <c:v>1.0162707783960787</c:v>
                </c:pt>
                <c:pt idx="4542">
                  <c:v>1.0328067857816858</c:v>
                </c:pt>
                <c:pt idx="4543">
                  <c:v>1.0903206720494554</c:v>
                </c:pt>
                <c:pt idx="4544">
                  <c:v>1.1292736296077162</c:v>
                </c:pt>
                <c:pt idx="4545">
                  <c:v>1.116170297413507</c:v>
                </c:pt>
                <c:pt idx="4546">
                  <c:v>1.1176188557409326</c:v>
                </c:pt>
                <c:pt idx="4547">
                  <c:v>1.1429227214534552</c:v>
                </c:pt>
                <c:pt idx="4548">
                  <c:v>1.2269391044441158</c:v>
                </c:pt>
                <c:pt idx="4549">
                  <c:v>1.2280510259771393</c:v>
                </c:pt>
                <c:pt idx="4550">
                  <c:v>1.2113160968493855</c:v>
                </c:pt>
                <c:pt idx="4551">
                  <c:v>1.1746175857021171</c:v>
                </c:pt>
                <c:pt idx="4552">
                  <c:v>1.1576837348322173</c:v>
                </c:pt>
                <c:pt idx="4553">
                  <c:v>1.1647990125320695</c:v>
                </c:pt>
                <c:pt idx="4554">
                  <c:v>1.1530830319753953</c:v>
                </c:pt>
                <c:pt idx="4555">
                  <c:v>1.1283708309318206</c:v>
                </c:pt>
                <c:pt idx="4556">
                  <c:v>1.1419842188751232</c:v>
                </c:pt>
                <c:pt idx="4557">
                  <c:v>1.1919492800563103</c:v>
                </c:pt>
                <c:pt idx="4558">
                  <c:v>1.1759845351096878</c:v>
                </c:pt>
                <c:pt idx="4559">
                  <c:v>1.1753520659808121</c:v>
                </c:pt>
                <c:pt idx="4560">
                  <c:v>1.1897917442376453</c:v>
                </c:pt>
                <c:pt idx="4561">
                  <c:v>1.1938313857704648</c:v>
                </c:pt>
                <c:pt idx="4562">
                  <c:v>1.2589757060446707</c:v>
                </c:pt>
                <c:pt idx="4563">
                  <c:v>1.2447349495299838</c:v>
                </c:pt>
                <c:pt idx="4564">
                  <c:v>1.2902472240215856</c:v>
                </c:pt>
                <c:pt idx="4565">
                  <c:v>1.272206552176153</c:v>
                </c:pt>
                <c:pt idx="4566">
                  <c:v>1.2872889006768444</c:v>
                </c:pt>
                <c:pt idx="4567">
                  <c:v>1.2443014021432544</c:v>
                </c:pt>
                <c:pt idx="4568">
                  <c:v>1.2564152261842216</c:v>
                </c:pt>
                <c:pt idx="4569">
                  <c:v>1.2126932473719378</c:v>
                </c:pt>
                <c:pt idx="4570">
                  <c:v>1.2338758626317858</c:v>
                </c:pt>
                <c:pt idx="4571">
                  <c:v>1.2248988814477419</c:v>
                </c:pt>
                <c:pt idx="4572">
                  <c:v>1.283075840189333</c:v>
                </c:pt>
                <c:pt idx="4573">
                  <c:v>1.2663511121765612</c:v>
                </c:pt>
                <c:pt idx="4574">
                  <c:v>1.2793014276460415</c:v>
                </c:pt>
                <c:pt idx="4575">
                  <c:v>1.2759605624894803</c:v>
                </c:pt>
                <c:pt idx="4576">
                  <c:v>1.2948581279933897</c:v>
                </c:pt>
                <c:pt idx="4577">
                  <c:v>1.2790515003289857</c:v>
                </c:pt>
                <c:pt idx="4578">
                  <c:v>1.2712833512702941</c:v>
                </c:pt>
                <c:pt idx="4579">
                  <c:v>1.2712833512702941</c:v>
                </c:pt>
                <c:pt idx="4580">
                  <c:v>1.233166885140546</c:v>
                </c:pt>
                <c:pt idx="4581">
                  <c:v>1.2235829376150811</c:v>
                </c:pt>
                <c:pt idx="4582">
                  <c:v>1.2238481666046099</c:v>
                </c:pt>
                <c:pt idx="4583">
                  <c:v>1.1834007457015052</c:v>
                </c:pt>
                <c:pt idx="4584">
                  <c:v>1.1540011323237631</c:v>
                </c:pt>
                <c:pt idx="4585">
                  <c:v>1.1125438010374533</c:v>
                </c:pt>
                <c:pt idx="4586">
                  <c:v>1.0757279770678938</c:v>
                </c:pt>
                <c:pt idx="4587">
                  <c:v>1.1180728053576257</c:v>
                </c:pt>
                <c:pt idx="4588">
                  <c:v>1.084404025359972</c:v>
                </c:pt>
                <c:pt idx="4589">
                  <c:v>1.0479503409722684</c:v>
                </c:pt>
                <c:pt idx="4590">
                  <c:v>1.0467568105193896</c:v>
                </c:pt>
                <c:pt idx="4591">
                  <c:v>1.0580902492642448</c:v>
                </c:pt>
                <c:pt idx="4592">
                  <c:v>1.0834145172067307</c:v>
                </c:pt>
                <c:pt idx="4593">
                  <c:v>1.0651800241766427</c:v>
                </c:pt>
                <c:pt idx="4594">
                  <c:v>1.0865360583911823</c:v>
                </c:pt>
                <c:pt idx="4595">
                  <c:v>1.0533059263377487</c:v>
                </c:pt>
                <c:pt idx="4596">
                  <c:v>1.0199074758871145</c:v>
                </c:pt>
                <c:pt idx="4597">
                  <c:v>1.0672355488454888</c:v>
                </c:pt>
                <c:pt idx="4598">
                  <c:v>1.0716220282876918</c:v>
                </c:pt>
                <c:pt idx="4599">
                  <c:v>1.0768807030608447</c:v>
                </c:pt>
                <c:pt idx="4600">
                  <c:v>1.0594827014592698</c:v>
                </c:pt>
                <c:pt idx="4601">
                  <c:v>1.067929224664256</c:v>
                </c:pt>
                <c:pt idx="4602">
                  <c:v>1.1459524526030695</c:v>
                </c:pt>
                <c:pt idx="4603">
                  <c:v>1.1448150282825917</c:v>
                </c:pt>
                <c:pt idx="4604">
                  <c:v>1.1605196447971764</c:v>
                </c:pt>
                <c:pt idx="4605">
                  <c:v>1.1722662286987968</c:v>
                </c:pt>
                <c:pt idx="4606">
                  <c:v>1.1590506842397876</c:v>
                </c:pt>
                <c:pt idx="4607">
                  <c:v>1.1765659986636541</c:v>
                </c:pt>
                <c:pt idx="4608">
                  <c:v>1.1361083766455673</c:v>
                </c:pt>
                <c:pt idx="4609">
                  <c:v>1.0857505725375787</c:v>
                </c:pt>
                <c:pt idx="4610">
                  <c:v>1.0233860560959314</c:v>
                </c:pt>
                <c:pt idx="4611">
                  <c:v>1.0058962444595192</c:v>
                </c:pt>
                <c:pt idx="4612">
                  <c:v>1.0038509209056552</c:v>
                </c:pt>
                <c:pt idx="4613">
                  <c:v>1.0187343476641999</c:v>
                </c:pt>
                <c:pt idx="4614">
                  <c:v>1.0399220634815385</c:v>
                </c:pt>
                <c:pt idx="4615">
                  <c:v>1.0399220634815385</c:v>
                </c:pt>
                <c:pt idx="4616">
                  <c:v>1.0399220634815385</c:v>
                </c:pt>
                <c:pt idx="4617">
                  <c:v>1.0676078895423271</c:v>
                </c:pt>
                <c:pt idx="4618">
                  <c:v>1.024350061461718</c:v>
                </c:pt>
                <c:pt idx="4619">
                  <c:v>1.024350061461718</c:v>
                </c:pt>
                <c:pt idx="4620">
                  <c:v>1.0039682337279467</c:v>
                </c:pt>
                <c:pt idx="4621">
                  <c:v>1.010099103832049</c:v>
                </c:pt>
                <c:pt idx="4622">
                  <c:v>0.98993149951289694</c:v>
                </c:pt>
                <c:pt idx="4623">
                  <c:v>0.95934345623976691</c:v>
                </c:pt>
                <c:pt idx="4624">
                  <c:v>0.97777687101200184</c:v>
                </c:pt>
                <c:pt idx="4625">
                  <c:v>0.94078762808775007</c:v>
                </c:pt>
                <c:pt idx="4626">
                  <c:v>0.90749628934442561</c:v>
                </c:pt>
                <c:pt idx="4627">
                  <c:v>0.88060104969473185</c:v>
                </c:pt>
                <c:pt idx="4628">
                  <c:v>0.86442718189098078</c:v>
                </c:pt>
                <c:pt idx="4629">
                  <c:v>0.7836088484471353</c:v>
                </c:pt>
                <c:pt idx="4630">
                  <c:v>0.7192041090091148</c:v>
                </c:pt>
                <c:pt idx="4631">
                  <c:v>0.73392941848544035</c:v>
                </c:pt>
                <c:pt idx="4632">
                  <c:v>0.75755520078344563</c:v>
                </c:pt>
                <c:pt idx="4633">
                  <c:v>0.66883610378614389</c:v>
                </c:pt>
                <c:pt idx="4634">
                  <c:v>0.6713761814166288</c:v>
                </c:pt>
                <c:pt idx="4635">
                  <c:v>0.7337866028756943</c:v>
                </c:pt>
                <c:pt idx="4636">
                  <c:v>0.73727538419949323</c:v>
                </c:pt>
                <c:pt idx="4637">
                  <c:v>0.69701158336606195</c:v>
                </c:pt>
                <c:pt idx="4638">
                  <c:v>0.74842010231718348</c:v>
                </c:pt>
                <c:pt idx="4639">
                  <c:v>0.76587931060864967</c:v>
                </c:pt>
                <c:pt idx="4640">
                  <c:v>0.72916039723141735</c:v>
                </c:pt>
                <c:pt idx="4641">
                  <c:v>0.78361904956211714</c:v>
                </c:pt>
                <c:pt idx="4642">
                  <c:v>0.79899212983979173</c:v>
                </c:pt>
                <c:pt idx="4643">
                  <c:v>0.72831370468792245</c:v>
                </c:pt>
                <c:pt idx="4644">
                  <c:v>0.73161376538455647</c:v>
                </c:pt>
                <c:pt idx="4645">
                  <c:v>0.70335157632729262</c:v>
                </c:pt>
                <c:pt idx="4646">
                  <c:v>0.71487883625680282</c:v>
                </c:pt>
                <c:pt idx="4647">
                  <c:v>0.72998668754494878</c:v>
                </c:pt>
                <c:pt idx="4648">
                  <c:v>0.7964316499793429</c:v>
                </c:pt>
                <c:pt idx="4649">
                  <c:v>0.80662766440371936</c:v>
                </c:pt>
                <c:pt idx="4650">
                  <c:v>0.82057258858393234</c:v>
                </c:pt>
                <c:pt idx="4651">
                  <c:v>0.78364455234957187</c:v>
                </c:pt>
                <c:pt idx="4652">
                  <c:v>0.82892220119659088</c:v>
                </c:pt>
                <c:pt idx="4653">
                  <c:v>0.81893020907185154</c:v>
                </c:pt>
                <c:pt idx="4654">
                  <c:v>0.81080502098879426</c:v>
                </c:pt>
                <c:pt idx="4655">
                  <c:v>0.7929428686555442</c:v>
                </c:pt>
                <c:pt idx="4656">
                  <c:v>0.79739565534512935</c:v>
                </c:pt>
                <c:pt idx="4657">
                  <c:v>0.77354544851752305</c:v>
                </c:pt>
                <c:pt idx="4658">
                  <c:v>0.77070953855256374</c:v>
                </c:pt>
                <c:pt idx="4659">
                  <c:v>0.75556598336198144</c:v>
                </c:pt>
                <c:pt idx="4660">
                  <c:v>0.71499104852160356</c:v>
                </c:pt>
                <c:pt idx="4661">
                  <c:v>0.69125305395879777</c:v>
                </c:pt>
                <c:pt idx="4662">
                  <c:v>0.65440662664429228</c:v>
                </c:pt>
                <c:pt idx="4663">
                  <c:v>0.70313225235518262</c:v>
                </c:pt>
                <c:pt idx="4664">
                  <c:v>0.67837414629419013</c:v>
                </c:pt>
                <c:pt idx="4665">
                  <c:v>0.65345792295097849</c:v>
                </c:pt>
                <c:pt idx="4666">
                  <c:v>0.68296974859352133</c:v>
                </c:pt>
                <c:pt idx="4667">
                  <c:v>0.72759962663919175</c:v>
                </c:pt>
                <c:pt idx="4668">
                  <c:v>0.735194356743192</c:v>
                </c:pt>
                <c:pt idx="4669">
                  <c:v>0.68044497263550907</c:v>
                </c:pt>
                <c:pt idx="4670">
                  <c:v>0.6650055851104526</c:v>
                </c:pt>
                <c:pt idx="4671">
                  <c:v>0.60594112936543976</c:v>
                </c:pt>
                <c:pt idx="4672">
                  <c:v>0.68268921793152004</c:v>
                </c:pt>
                <c:pt idx="4673">
                  <c:v>0.69432869012583076</c:v>
                </c:pt>
                <c:pt idx="4674">
                  <c:v>0.65255512427508333</c:v>
                </c:pt>
                <c:pt idx="4675">
                  <c:v>0.65255512427508333</c:v>
                </c:pt>
                <c:pt idx="4676">
                  <c:v>0.71991818705784549</c:v>
                </c:pt>
                <c:pt idx="4677">
                  <c:v>0.72374360517604575</c:v>
                </c:pt>
                <c:pt idx="4678">
                  <c:v>0.74934840378053313</c:v>
                </c:pt>
                <c:pt idx="4679">
                  <c:v>0.7442274440596357</c:v>
                </c:pt>
                <c:pt idx="4680">
                  <c:v>0.74613505256124513</c:v>
                </c:pt>
                <c:pt idx="4681">
                  <c:v>0.7741218115139985</c:v>
                </c:pt>
                <c:pt idx="4682">
                  <c:v>0.76514483032995506</c:v>
                </c:pt>
                <c:pt idx="4683">
                  <c:v>0.74897096252620421</c:v>
                </c:pt>
                <c:pt idx="4684">
                  <c:v>0.77243862754199033</c:v>
                </c:pt>
                <c:pt idx="4685">
                  <c:v>0.7867966968789688</c:v>
                </c:pt>
                <c:pt idx="4686">
                  <c:v>0.75817236823984868</c:v>
                </c:pt>
                <c:pt idx="4687">
                  <c:v>0.77123489597412997</c:v>
                </c:pt>
                <c:pt idx="4688">
                  <c:v>0.75061844259577581</c:v>
                </c:pt>
                <c:pt idx="4689">
                  <c:v>0.69432869012583076</c:v>
                </c:pt>
                <c:pt idx="4690">
                  <c:v>0.68292384357610292</c:v>
                </c:pt>
                <c:pt idx="4691">
                  <c:v>0.70578454225046805</c:v>
                </c:pt>
                <c:pt idx="4692">
                  <c:v>0.7154551992532785</c:v>
                </c:pt>
                <c:pt idx="4693">
                  <c:v>0.71194601569951588</c:v>
                </c:pt>
                <c:pt idx="4694">
                  <c:v>0.74060604824107279</c:v>
                </c:pt>
                <c:pt idx="4695">
                  <c:v>0.72227464461865676</c:v>
                </c:pt>
                <c:pt idx="4696">
                  <c:v>0.69985259388851206</c:v>
                </c:pt>
                <c:pt idx="4697">
                  <c:v>0.66205746288069278</c:v>
                </c:pt>
                <c:pt idx="4698">
                  <c:v>0.68999321625853716</c:v>
                </c:pt>
                <c:pt idx="4699">
                  <c:v>0.69701158336606195</c:v>
                </c:pt>
                <c:pt idx="4700">
                  <c:v>0.72129023702290662</c:v>
                </c:pt>
                <c:pt idx="4701">
                  <c:v>0.68961577500420801</c:v>
                </c:pt>
                <c:pt idx="4702">
                  <c:v>0.7129253227377752</c:v>
                </c:pt>
                <c:pt idx="4703">
                  <c:v>0.7129253227377752</c:v>
                </c:pt>
                <c:pt idx="4704">
                  <c:v>0.7129253227377752</c:v>
                </c:pt>
                <c:pt idx="4705">
                  <c:v>0.74603814196891727</c:v>
                </c:pt>
                <c:pt idx="4706">
                  <c:v>0.74911887869344129</c:v>
                </c:pt>
                <c:pt idx="4707">
                  <c:v>0.78380266963179079</c:v>
                </c:pt>
                <c:pt idx="4708">
                  <c:v>0.7619008757657213</c:v>
                </c:pt>
                <c:pt idx="4709">
                  <c:v>0.75746849130609983</c:v>
                </c:pt>
                <c:pt idx="4710">
                  <c:v>0.77760549228030618</c:v>
                </c:pt>
                <c:pt idx="4711">
                  <c:v>0.78502170287212381</c:v>
                </c:pt>
                <c:pt idx="4712">
                  <c:v>0.80419979903803496</c:v>
                </c:pt>
                <c:pt idx="4713">
                  <c:v>0.78082394405708544</c:v>
                </c:pt>
                <c:pt idx="4714">
                  <c:v>0.79025487485782198</c:v>
                </c:pt>
                <c:pt idx="4715">
                  <c:v>0.78030878775050128</c:v>
                </c:pt>
                <c:pt idx="4716">
                  <c:v>0.75002167736933645</c:v>
                </c:pt>
                <c:pt idx="4717">
                  <c:v>0.75175076635876303</c:v>
                </c:pt>
                <c:pt idx="4718">
                  <c:v>0.75175076635876303</c:v>
                </c:pt>
                <c:pt idx="4719">
                  <c:v>0.72864524092483318</c:v>
                </c:pt>
                <c:pt idx="4720">
                  <c:v>0.73020601151705899</c:v>
                </c:pt>
                <c:pt idx="4721">
                  <c:v>0.74438556134185463</c:v>
                </c:pt>
                <c:pt idx="4722">
                  <c:v>0.72822189465308562</c:v>
                </c:pt>
                <c:pt idx="4723">
                  <c:v>0.72772204001897411</c:v>
                </c:pt>
                <c:pt idx="4724">
                  <c:v>0.71995899151777287</c:v>
                </c:pt>
                <c:pt idx="4725">
                  <c:v>0.7373620936768388</c:v>
                </c:pt>
                <c:pt idx="4726">
                  <c:v>0.70214274420194145</c:v>
                </c:pt>
                <c:pt idx="4727">
                  <c:v>0.71803098078619998</c:v>
                </c:pt>
                <c:pt idx="4728">
                  <c:v>0.70351479416700258</c:v>
                </c:pt>
                <c:pt idx="4729">
                  <c:v>0.67274313082419934</c:v>
                </c:pt>
                <c:pt idx="4730">
                  <c:v>0.62551706901564352</c:v>
                </c:pt>
                <c:pt idx="4731">
                  <c:v>0.58937961919237791</c:v>
                </c:pt>
                <c:pt idx="4732">
                  <c:v>0.61639727222185381</c:v>
                </c:pt>
                <c:pt idx="4733">
                  <c:v>0.62307900253497706</c:v>
                </c:pt>
                <c:pt idx="4734">
                  <c:v>0.60418143703106764</c:v>
                </c:pt>
                <c:pt idx="4735">
                  <c:v>0.61520884232646633</c:v>
                </c:pt>
                <c:pt idx="4736">
                  <c:v>0.59075676971492985</c:v>
                </c:pt>
                <c:pt idx="4737">
                  <c:v>0.6142499375181707</c:v>
                </c:pt>
                <c:pt idx="4738">
                  <c:v>0.59822908643914796</c:v>
                </c:pt>
                <c:pt idx="4739">
                  <c:v>0.56681475285248673</c:v>
                </c:pt>
                <c:pt idx="4740">
                  <c:v>0.5687580652565325</c:v>
                </c:pt>
                <c:pt idx="4741">
                  <c:v>0.57407794671957668</c:v>
                </c:pt>
                <c:pt idx="4742">
                  <c:v>0.58401893326940635</c:v>
                </c:pt>
                <c:pt idx="4743">
                  <c:v>0.5459024671396584</c:v>
                </c:pt>
                <c:pt idx="4744">
                  <c:v>0.54131196539781801</c:v>
                </c:pt>
                <c:pt idx="4745">
                  <c:v>0.52191454525979708</c:v>
                </c:pt>
                <c:pt idx="4746">
                  <c:v>0.52393946658369761</c:v>
                </c:pt>
                <c:pt idx="4747">
                  <c:v>0.51884911020774571</c:v>
                </c:pt>
                <c:pt idx="4748">
                  <c:v>0.50736775529565392</c:v>
                </c:pt>
                <c:pt idx="4749">
                  <c:v>0.51682928944133599</c:v>
                </c:pt>
                <c:pt idx="4750">
                  <c:v>0.53979709982301083</c:v>
                </c:pt>
                <c:pt idx="4751">
                  <c:v>0.52177683020754184</c:v>
                </c:pt>
                <c:pt idx="4752">
                  <c:v>0.49777360665520742</c:v>
                </c:pt>
                <c:pt idx="4753">
                  <c:v>0.49977812574914449</c:v>
                </c:pt>
                <c:pt idx="4754">
                  <c:v>0.45480651035158148</c:v>
                </c:pt>
                <c:pt idx="4755">
                  <c:v>0.45204200819149531</c:v>
                </c:pt>
                <c:pt idx="4756">
                  <c:v>0.50456244867564037</c:v>
                </c:pt>
                <c:pt idx="4757">
                  <c:v>0.51004554797839408</c:v>
                </c:pt>
                <c:pt idx="4758">
                  <c:v>0.55172730379430468</c:v>
                </c:pt>
                <c:pt idx="4759">
                  <c:v>0.55129885696506631</c:v>
                </c:pt>
                <c:pt idx="4760">
                  <c:v>0.58478401689304649</c:v>
                </c:pt>
                <c:pt idx="4761">
                  <c:v>0.57026272971635805</c:v>
                </c:pt>
                <c:pt idx="4762">
                  <c:v>0.58708436832145772</c:v>
                </c:pt>
                <c:pt idx="4763">
                  <c:v>0.59619906455775618</c:v>
                </c:pt>
                <c:pt idx="4764">
                  <c:v>0.59690804204899606</c:v>
                </c:pt>
                <c:pt idx="4765">
                  <c:v>0.66955018183487458</c:v>
                </c:pt>
                <c:pt idx="4766">
                  <c:v>0.66839235528443264</c:v>
                </c:pt>
                <c:pt idx="4767">
                  <c:v>0.64666398037305495</c:v>
                </c:pt>
                <c:pt idx="4768">
                  <c:v>0.62708294016536015</c:v>
                </c:pt>
                <c:pt idx="4769">
                  <c:v>0.65476876622614855</c:v>
                </c:pt>
                <c:pt idx="4770">
                  <c:v>0.61812126065378958</c:v>
                </c:pt>
                <c:pt idx="4771">
                  <c:v>0.59576551717102699</c:v>
                </c:pt>
                <c:pt idx="4772">
                  <c:v>0.58139214616157542</c:v>
                </c:pt>
                <c:pt idx="4773">
                  <c:v>0.59489332184007715</c:v>
                </c:pt>
                <c:pt idx="4774">
                  <c:v>0.62179876260475275</c:v>
                </c:pt>
                <c:pt idx="4775">
                  <c:v>0.59506164023727792</c:v>
                </c:pt>
                <c:pt idx="4776">
                  <c:v>0.58841051326910043</c:v>
                </c:pt>
                <c:pt idx="4777">
                  <c:v>0.58841051326910043</c:v>
                </c:pt>
                <c:pt idx="4778">
                  <c:v>0.58473301131813704</c:v>
                </c:pt>
                <c:pt idx="4779">
                  <c:v>0.54353070790637403</c:v>
                </c:pt>
                <c:pt idx="4780">
                  <c:v>0.54815691355065121</c:v>
                </c:pt>
                <c:pt idx="4781">
                  <c:v>0.54853435480498036</c:v>
                </c:pt>
                <c:pt idx="4782">
                  <c:v>0.5714613607267276</c:v>
                </c:pt>
                <c:pt idx="4783">
                  <c:v>0.56368301055305348</c:v>
                </c:pt>
                <c:pt idx="4784">
                  <c:v>0.5422198646312042</c:v>
                </c:pt>
                <c:pt idx="4785">
                  <c:v>0.52332739968478559</c:v>
                </c:pt>
                <c:pt idx="4786">
                  <c:v>0.56164278755668007</c:v>
                </c:pt>
                <c:pt idx="4787">
                  <c:v>0.57415955563943144</c:v>
                </c:pt>
                <c:pt idx="4788">
                  <c:v>0.60492611842474386</c:v>
                </c:pt>
                <c:pt idx="4789">
                  <c:v>0.58468710630071863</c:v>
                </c:pt>
                <c:pt idx="4790">
                  <c:v>0.58285600616147359</c:v>
                </c:pt>
                <c:pt idx="4791">
                  <c:v>0.51740055188032041</c:v>
                </c:pt>
                <c:pt idx="4792">
                  <c:v>0.55251278964790851</c:v>
                </c:pt>
                <c:pt idx="4793">
                  <c:v>0.53304906226250548</c:v>
                </c:pt>
                <c:pt idx="4794">
                  <c:v>0.50619972763023013</c:v>
                </c:pt>
                <c:pt idx="4795">
                  <c:v>0.48284937543673534</c:v>
                </c:pt>
                <c:pt idx="4796">
                  <c:v>0.48949030128993098</c:v>
                </c:pt>
                <c:pt idx="4797">
                  <c:v>0.43273129753081996</c:v>
                </c:pt>
                <c:pt idx="4798">
                  <c:v>0.38149619753439046</c:v>
                </c:pt>
                <c:pt idx="4799">
                  <c:v>0.38105754959017024</c:v>
                </c:pt>
                <c:pt idx="4800">
                  <c:v>0.3962980153730804</c:v>
                </c:pt>
                <c:pt idx="4801">
                  <c:v>0.47526994700520775</c:v>
                </c:pt>
                <c:pt idx="4802">
                  <c:v>0.47381118756280083</c:v>
                </c:pt>
                <c:pt idx="4803">
                  <c:v>0.43206312449950768</c:v>
                </c:pt>
                <c:pt idx="4804">
                  <c:v>0.43643940282672888</c:v>
                </c:pt>
                <c:pt idx="4805">
                  <c:v>0.48324211836353714</c:v>
                </c:pt>
                <c:pt idx="4806">
                  <c:v>0.48974022860698674</c:v>
                </c:pt>
                <c:pt idx="4807">
                  <c:v>0.41485894408258828</c:v>
                </c:pt>
                <c:pt idx="4808">
                  <c:v>0.44517155725120761</c:v>
                </c:pt>
                <c:pt idx="4809">
                  <c:v>0.46313062017678552</c:v>
                </c:pt>
                <c:pt idx="4810">
                  <c:v>0.43595995042258129</c:v>
                </c:pt>
                <c:pt idx="4811">
                  <c:v>0.42574353376824092</c:v>
                </c:pt>
                <c:pt idx="4812">
                  <c:v>0.34459366408748493</c:v>
                </c:pt>
                <c:pt idx="4813">
                  <c:v>0.32557368520379293</c:v>
                </c:pt>
                <c:pt idx="4814">
                  <c:v>0.30844091259174622</c:v>
                </c:pt>
                <c:pt idx="4815">
                  <c:v>0.31355167119766203</c:v>
                </c:pt>
                <c:pt idx="4816">
                  <c:v>0.20720504751169311</c:v>
                </c:pt>
                <c:pt idx="4817">
                  <c:v>0.22161412242358081</c:v>
                </c:pt>
                <c:pt idx="4818">
                  <c:v>0.27186481482426039</c:v>
                </c:pt>
                <c:pt idx="4819">
                  <c:v>0.1919288778263466</c:v>
                </c:pt>
                <c:pt idx="4820">
                  <c:v>0.15147635636575085</c:v>
                </c:pt>
                <c:pt idx="4821">
                  <c:v>7.8380266963179013E-2</c:v>
                </c:pt>
                <c:pt idx="4822">
                  <c:v>7.8222149680960085E-2</c:v>
                </c:pt>
                <c:pt idx="4823">
                  <c:v>0.10444411574185075</c:v>
                </c:pt>
                <c:pt idx="4824">
                  <c:v>2.0534844458499402E-2</c:v>
                </c:pt>
                <c:pt idx="4825">
                  <c:v>-1.9683051357513359E-2</c:v>
                </c:pt>
                <c:pt idx="4826">
                  <c:v>-5.7039534421112204E-2</c:v>
                </c:pt>
                <c:pt idx="4827">
                  <c:v>-4.8297178881651637E-2</c:v>
                </c:pt>
                <c:pt idx="4828">
                  <c:v>-1.4863024528580904E-2</c:v>
                </c:pt>
                <c:pt idx="4829">
                  <c:v>6.1267896581096437E-2</c:v>
                </c:pt>
                <c:pt idx="4830">
                  <c:v>8.8657890307410669E-2</c:v>
                </c:pt>
                <c:pt idx="4831">
                  <c:v>0.10671896438280726</c:v>
                </c:pt>
                <c:pt idx="4832">
                  <c:v>0.10223557434827635</c:v>
                </c:pt>
                <c:pt idx="4833">
                  <c:v>0.1537206016617616</c:v>
                </c:pt>
                <c:pt idx="4834">
                  <c:v>0.1262694012455563</c:v>
                </c:pt>
                <c:pt idx="4835">
                  <c:v>7.7181635952809691E-2</c:v>
                </c:pt>
                <c:pt idx="4836">
                  <c:v>0.10272522786740579</c:v>
                </c:pt>
                <c:pt idx="4837">
                  <c:v>0.12050067072331028</c:v>
                </c:pt>
                <c:pt idx="4838">
                  <c:v>0.12050067072331028</c:v>
                </c:pt>
                <c:pt idx="4839">
                  <c:v>6.5287135883952185E-2</c:v>
                </c:pt>
                <c:pt idx="4840">
                  <c:v>1.9545336305258232E-2</c:v>
                </c:pt>
                <c:pt idx="4841">
                  <c:v>3.4933718255405255E-2</c:v>
                </c:pt>
                <c:pt idx="4842">
                  <c:v>1.4776315051235223E-2</c:v>
                </c:pt>
                <c:pt idx="4843">
                  <c:v>-2.4385765364154266E-2</c:v>
                </c:pt>
                <c:pt idx="4844">
                  <c:v>-4.6160045292950036E-3</c:v>
                </c:pt>
                <c:pt idx="4845">
                  <c:v>-6.2206399159428161E-2</c:v>
                </c:pt>
                <c:pt idx="4846">
                  <c:v>-3.8274583411966878E-2</c:v>
                </c:pt>
                <c:pt idx="4847">
                  <c:v>4.3441448150282946E-2</c:v>
                </c:pt>
                <c:pt idx="4848">
                  <c:v>5.8273869333918205E-2</c:v>
                </c:pt>
                <c:pt idx="4849">
                  <c:v>6.0548717974874711E-2</c:v>
                </c:pt>
                <c:pt idx="4850">
                  <c:v>5.5942914560561441E-2</c:v>
                </c:pt>
                <c:pt idx="4851">
                  <c:v>3.4214539649183751E-2</c:v>
                </c:pt>
                <c:pt idx="4852">
                  <c:v>5.3198814630439184E-2</c:v>
                </c:pt>
                <c:pt idx="4853">
                  <c:v>3.0531937140729548E-2</c:v>
                </c:pt>
                <c:pt idx="4854">
                  <c:v>6.9541000831390809E-2</c:v>
                </c:pt>
                <c:pt idx="4855">
                  <c:v>5.0286396303115932E-2</c:v>
                </c:pt>
                <c:pt idx="4856">
                  <c:v>9.9848513442519327E-2</c:v>
                </c:pt>
                <c:pt idx="4857">
                  <c:v>0.12126575434695019</c:v>
                </c:pt>
                <c:pt idx="4858">
                  <c:v>0.11412497385964304</c:v>
                </c:pt>
                <c:pt idx="4859">
                  <c:v>0.10775437755346662</c:v>
                </c:pt>
                <c:pt idx="4860">
                  <c:v>6.8077140831492855E-2</c:v>
                </c:pt>
                <c:pt idx="4861">
                  <c:v>9.2595520690411659E-2</c:v>
                </c:pt>
                <c:pt idx="4862">
                  <c:v>0.1212912571344047</c:v>
                </c:pt>
                <c:pt idx="4863">
                  <c:v>7.7110228147936555E-2</c:v>
                </c:pt>
                <c:pt idx="4864">
                  <c:v>8.5286421805903512E-2</c:v>
                </c:pt>
                <c:pt idx="4865">
                  <c:v>7.7655987799466697E-2</c:v>
                </c:pt>
                <c:pt idx="4866">
                  <c:v>5.7503685152787254E-2</c:v>
                </c:pt>
                <c:pt idx="4867">
                  <c:v>5.9426595326869114E-2</c:v>
                </c:pt>
                <c:pt idx="4868">
                  <c:v>5.9426595326869114E-2</c:v>
                </c:pt>
                <c:pt idx="4869">
                  <c:v>5.9426595326869114E-2</c:v>
                </c:pt>
                <c:pt idx="4870">
                  <c:v>7.6095217207240884E-2</c:v>
                </c:pt>
                <c:pt idx="4871">
                  <c:v>9.4574536996893777E-2</c:v>
                </c:pt>
                <c:pt idx="4872">
                  <c:v>8.4827371631719384E-2</c:v>
                </c:pt>
                <c:pt idx="4873">
                  <c:v>8.4827371631719384E-2</c:v>
                </c:pt>
                <c:pt idx="4874">
                  <c:v>0.13799558291721281</c:v>
                </c:pt>
                <c:pt idx="4875">
                  <c:v>0.16405433113839352</c:v>
                </c:pt>
                <c:pt idx="4876">
                  <c:v>0.14429987197600713</c:v>
                </c:pt>
                <c:pt idx="4877">
                  <c:v>0.1293909424300077</c:v>
                </c:pt>
                <c:pt idx="4878">
                  <c:v>0.10158270298943672</c:v>
                </c:pt>
                <c:pt idx="4879">
                  <c:v>8.6031103199579739E-2</c:v>
                </c:pt>
                <c:pt idx="4880">
                  <c:v>7.0515207312159323E-2</c:v>
                </c:pt>
                <c:pt idx="4881">
                  <c:v>3.118480849956895E-2</c:v>
                </c:pt>
                <c:pt idx="4882">
                  <c:v>2.0958190730246962E-2</c:v>
                </c:pt>
                <c:pt idx="4883">
                  <c:v>3.3607573307762539E-2</c:v>
                </c:pt>
                <c:pt idx="4884">
                  <c:v>-4.2436638324568898E-3</c:v>
                </c:pt>
                <c:pt idx="4885">
                  <c:v>1.7571420556266926E-2</c:v>
                </c:pt>
                <c:pt idx="4886">
                  <c:v>-1.8096777977832934E-2</c:v>
                </c:pt>
                <c:pt idx="4887">
                  <c:v>-2.3217737698730478E-2</c:v>
                </c:pt>
                <c:pt idx="4888">
                  <c:v>8.854567804261082E-3</c:v>
                </c:pt>
                <c:pt idx="4889">
                  <c:v>-2.5064139510448391E-2</c:v>
                </c:pt>
                <c:pt idx="4890">
                  <c:v>-1.3271650591409667E-2</c:v>
                </c:pt>
                <c:pt idx="4891">
                  <c:v>-2.3375854980949407E-2</c:v>
                </c:pt>
                <c:pt idx="4892">
                  <c:v>-3.3250534283397082E-2</c:v>
                </c:pt>
                <c:pt idx="4893">
                  <c:v>-7.1060966963689132E-2</c:v>
                </c:pt>
                <c:pt idx="4894">
                  <c:v>-0.11543071657732185</c:v>
                </c:pt>
                <c:pt idx="4895">
                  <c:v>-0.10299555741442534</c:v>
                </c:pt>
                <c:pt idx="4896">
                  <c:v>-9.8491765149930854E-2</c:v>
                </c:pt>
                <c:pt idx="4897">
                  <c:v>-7.1555721040309717E-2</c:v>
                </c:pt>
                <c:pt idx="4898">
                  <c:v>-4.3283330868063796E-2</c:v>
                </c:pt>
                <c:pt idx="4899">
                  <c:v>-3.9784348429283356E-2</c:v>
                </c:pt>
                <c:pt idx="4900">
                  <c:v>-6.4374136093074963E-2</c:v>
                </c:pt>
                <c:pt idx="4901">
                  <c:v>-9.4176693512600829E-2</c:v>
                </c:pt>
                <c:pt idx="4902">
                  <c:v>-9.5513039575225611E-2</c:v>
                </c:pt>
                <c:pt idx="4903">
                  <c:v>-0.19526464242541708</c:v>
                </c:pt>
                <c:pt idx="4904">
                  <c:v>-0.18911337009135099</c:v>
                </c:pt>
                <c:pt idx="4905">
                  <c:v>-0.1478039549722785</c:v>
                </c:pt>
                <c:pt idx="4906">
                  <c:v>-0.16164686800267258</c:v>
                </c:pt>
                <c:pt idx="4907">
                  <c:v>-0.1725212565733435</c:v>
                </c:pt>
                <c:pt idx="4908">
                  <c:v>-0.17499502695644631</c:v>
                </c:pt>
                <c:pt idx="4909">
                  <c:v>-0.18465038228678399</c:v>
                </c:pt>
                <c:pt idx="4910">
                  <c:v>-0.15579142800308066</c:v>
                </c:pt>
                <c:pt idx="4911">
                  <c:v>-0.16808887211372203</c:v>
                </c:pt>
                <c:pt idx="4912">
                  <c:v>-0.16338105754959009</c:v>
                </c:pt>
                <c:pt idx="4913">
                  <c:v>-0.15024202145294474</c:v>
                </c:pt>
                <c:pt idx="4914">
                  <c:v>-0.11429329225684359</c:v>
                </c:pt>
                <c:pt idx="4915">
                  <c:v>-0.12420367546172795</c:v>
                </c:pt>
                <c:pt idx="4916">
                  <c:v>-0.10505618264076266</c:v>
                </c:pt>
                <c:pt idx="4917">
                  <c:v>-0.11765966020085983</c:v>
                </c:pt>
                <c:pt idx="4918">
                  <c:v>-0.10205195427860259</c:v>
                </c:pt>
                <c:pt idx="4919">
                  <c:v>-9.0208459784654416E-2</c:v>
                </c:pt>
                <c:pt idx="4920">
                  <c:v>-9.4314408564856067E-2</c:v>
                </c:pt>
                <c:pt idx="4921">
                  <c:v>-9.7578765359053743E-2</c:v>
                </c:pt>
                <c:pt idx="4922">
                  <c:v>-8.2486215743380775E-2</c:v>
                </c:pt>
                <c:pt idx="4923">
                  <c:v>-0.10193464145631115</c:v>
                </c:pt>
                <c:pt idx="4924">
                  <c:v>-0.11939384974777745</c:v>
                </c:pt>
                <c:pt idx="4925">
                  <c:v>-9.8241837832875101E-2</c:v>
                </c:pt>
                <c:pt idx="4926">
                  <c:v>-8.6852292955620025E-2</c:v>
                </c:pt>
                <c:pt idx="4927">
                  <c:v>-6.0217181737963976E-2</c:v>
                </c:pt>
                <c:pt idx="4928">
                  <c:v>-5.8840031215411814E-2</c:v>
                </c:pt>
                <c:pt idx="4929">
                  <c:v>-9.991992124739224E-3</c:v>
                </c:pt>
                <c:pt idx="4930">
                  <c:v>-1.5679113727130378E-2</c:v>
                </c:pt>
                <c:pt idx="4931">
                  <c:v>-4.5445967244219787E-2</c:v>
                </c:pt>
                <c:pt idx="4932">
                  <c:v>-8.0211367102424269E-2</c:v>
                </c:pt>
                <c:pt idx="4933">
                  <c:v>-8.3603237833895228E-2</c:v>
                </c:pt>
                <c:pt idx="4934">
                  <c:v>-7.6360446196769294E-2</c:v>
                </c:pt>
                <c:pt idx="4935">
                  <c:v>-1.2139326828422337E-2</c:v>
                </c:pt>
                <c:pt idx="4936">
                  <c:v>1.1103913657762865E-2</c:v>
                </c:pt>
                <c:pt idx="4937">
                  <c:v>2.0922486827810172E-2</c:v>
                </c:pt>
                <c:pt idx="4938">
                  <c:v>2.3309547733567637E-3</c:v>
                </c:pt>
                <c:pt idx="4939">
                  <c:v>5.5188032051903368E-2</c:v>
                </c:pt>
                <c:pt idx="4940">
                  <c:v>8.1925154419378199E-2</c:v>
                </c:pt>
                <c:pt idx="4941">
                  <c:v>8.1925154419378199E-2</c:v>
                </c:pt>
                <c:pt idx="4942">
                  <c:v>7.3111391075044496E-2</c:v>
                </c:pt>
                <c:pt idx="4943">
                  <c:v>8.1690528774795101E-2</c:v>
                </c:pt>
                <c:pt idx="4944">
                  <c:v>6.8867727242587717E-2</c:v>
                </c:pt>
                <c:pt idx="4945">
                  <c:v>2.9414915050214985E-2</c:v>
                </c:pt>
                <c:pt idx="4946">
                  <c:v>4.5496972819130121E-3</c:v>
                </c:pt>
                <c:pt idx="4947">
                  <c:v>6.7480375605053489E-3</c:v>
                </c:pt>
                <c:pt idx="4948">
                  <c:v>2.7599116583442607E-2</c:v>
                </c:pt>
                <c:pt idx="4949">
                  <c:v>3.8106265014766105E-2</c:v>
                </c:pt>
                <c:pt idx="4950">
                  <c:v>7.1315994838235808E-2</c:v>
                </c:pt>
                <c:pt idx="4951">
                  <c:v>5.4560663480518468E-2</c:v>
                </c:pt>
                <c:pt idx="4952">
                  <c:v>2.2279235120398644E-2</c:v>
                </c:pt>
                <c:pt idx="4953">
                  <c:v>6.0635427452220503E-2</c:v>
                </c:pt>
                <c:pt idx="4954">
                  <c:v>9.0147253094763347E-2</c:v>
                </c:pt>
                <c:pt idx="4955">
                  <c:v>9.0147253094763347E-2</c:v>
                </c:pt>
                <c:pt idx="4956">
                  <c:v>0.13623079002534966</c:v>
                </c:pt>
                <c:pt idx="4957">
                  <c:v>0.12637141239537475</c:v>
                </c:pt>
                <c:pt idx="4958">
                  <c:v>0.12396904981714507</c:v>
                </c:pt>
                <c:pt idx="4959">
                  <c:v>0.11610399016612516</c:v>
                </c:pt>
                <c:pt idx="4960">
                  <c:v>0.11957746981745121</c:v>
                </c:pt>
                <c:pt idx="4961">
                  <c:v>0.10593347852920343</c:v>
                </c:pt>
                <c:pt idx="4962">
                  <c:v>0.13055897009543149</c:v>
                </c:pt>
                <c:pt idx="4963">
                  <c:v>0.10001173128222929</c:v>
                </c:pt>
                <c:pt idx="4964">
                  <c:v>9.55130395752255E-2</c:v>
                </c:pt>
                <c:pt idx="4965">
                  <c:v>9.7160519644797105E-2</c:v>
                </c:pt>
                <c:pt idx="4966">
                  <c:v>0.11953666535752361</c:v>
                </c:pt>
                <c:pt idx="4967">
                  <c:v>0.14138235309119307</c:v>
                </c:pt>
                <c:pt idx="4968">
                  <c:v>0.13914830891016394</c:v>
                </c:pt>
                <c:pt idx="4969">
                  <c:v>0.10949876821536608</c:v>
                </c:pt>
                <c:pt idx="4970">
                  <c:v>9.9914820689901429E-2</c:v>
                </c:pt>
                <c:pt idx="4971">
                  <c:v>9.6318927658793019E-2</c:v>
                </c:pt>
                <c:pt idx="4972">
                  <c:v>0.1186695705840648</c:v>
                </c:pt>
                <c:pt idx="4973">
                  <c:v>0.100644200411105</c:v>
                </c:pt>
                <c:pt idx="4974">
                  <c:v>9.3416710446451834E-2</c:v>
                </c:pt>
                <c:pt idx="4975">
                  <c:v>0.16425325288053982</c:v>
                </c:pt>
                <c:pt idx="4976">
                  <c:v>0.19581040207694689</c:v>
                </c:pt>
                <c:pt idx="4977">
                  <c:v>0.17708625552772927</c:v>
                </c:pt>
                <c:pt idx="4978">
                  <c:v>0.19598382103163869</c:v>
                </c:pt>
                <c:pt idx="4979">
                  <c:v>0.19196968228627398</c:v>
                </c:pt>
                <c:pt idx="4980">
                  <c:v>0.16743600075488252</c:v>
                </c:pt>
                <c:pt idx="4981">
                  <c:v>0.19150043099710801</c:v>
                </c:pt>
                <c:pt idx="4982">
                  <c:v>0.21763058702316163</c:v>
                </c:pt>
                <c:pt idx="4983">
                  <c:v>0.21763058702316163</c:v>
                </c:pt>
                <c:pt idx="4984">
                  <c:v>0.24102684423407483</c:v>
                </c:pt>
                <c:pt idx="4985">
                  <c:v>0.2192729665352422</c:v>
                </c:pt>
                <c:pt idx="4986">
                  <c:v>0.21382557113492506</c:v>
                </c:pt>
                <c:pt idx="4987">
                  <c:v>0.18168185782706048</c:v>
                </c:pt>
                <c:pt idx="4988">
                  <c:v>0.18243674033571877</c:v>
                </c:pt>
                <c:pt idx="4989">
                  <c:v>0.20564427691946729</c:v>
                </c:pt>
                <c:pt idx="4990">
                  <c:v>0.13081399796997806</c:v>
                </c:pt>
                <c:pt idx="4991">
                  <c:v>0.12740172500854352</c:v>
                </c:pt>
                <c:pt idx="4992">
                  <c:v>0.14383572124433219</c:v>
                </c:pt>
                <c:pt idx="4993">
                  <c:v>0.13674594633193426</c:v>
                </c:pt>
                <c:pt idx="4994">
                  <c:v>0.14004090647107748</c:v>
                </c:pt>
                <c:pt idx="4995">
                  <c:v>0.15216493162702682</c:v>
                </c:pt>
                <c:pt idx="4996">
                  <c:v>0.14256568242908951</c:v>
                </c:pt>
                <c:pt idx="4997">
                  <c:v>0.15532727727140583</c:v>
                </c:pt>
                <c:pt idx="4998">
                  <c:v>0.12948785302233534</c:v>
                </c:pt>
                <c:pt idx="4999">
                  <c:v>0.11103913657762798</c:v>
                </c:pt>
                <c:pt idx="5000">
                  <c:v>0.11067699699577171</c:v>
                </c:pt>
                <c:pt idx="5001">
                  <c:v>0.10884079629903565</c:v>
                </c:pt>
                <c:pt idx="5002">
                  <c:v>0.11631311302325353</c:v>
                </c:pt>
                <c:pt idx="5003">
                  <c:v>9.8445860132512442E-2</c:v>
                </c:pt>
                <c:pt idx="5004">
                  <c:v>0.11237038208276173</c:v>
                </c:pt>
                <c:pt idx="5005">
                  <c:v>0.16864993343772472</c:v>
                </c:pt>
                <c:pt idx="5006">
                  <c:v>0.19702433475978931</c:v>
                </c:pt>
                <c:pt idx="5007">
                  <c:v>0.19778941838342923</c:v>
                </c:pt>
                <c:pt idx="5008">
                  <c:v>0.18743528667683385</c:v>
                </c:pt>
                <c:pt idx="5009">
                  <c:v>0.25069240067939447</c:v>
                </c:pt>
                <c:pt idx="5010">
                  <c:v>0.27191582039916962</c:v>
                </c:pt>
                <c:pt idx="5011">
                  <c:v>0.2485144626307656</c:v>
                </c:pt>
                <c:pt idx="5012">
                  <c:v>0.28438158290701177</c:v>
                </c:pt>
                <c:pt idx="5013">
                  <c:v>0.30423295266172601</c:v>
                </c:pt>
                <c:pt idx="5014">
                  <c:v>0.2988365628363181</c:v>
                </c:pt>
                <c:pt idx="5015">
                  <c:v>0.27294103245484735</c:v>
                </c:pt>
                <c:pt idx="5016">
                  <c:v>0.27708268513748546</c:v>
                </c:pt>
                <c:pt idx="5017">
                  <c:v>0.33939109544673229</c:v>
                </c:pt>
                <c:pt idx="5018">
                  <c:v>0.3377895203945791</c:v>
                </c:pt>
                <c:pt idx="5019">
                  <c:v>0.35091835537624272</c:v>
                </c:pt>
                <c:pt idx="5020">
                  <c:v>0.33447925858296323</c:v>
                </c:pt>
                <c:pt idx="5021">
                  <c:v>0.29045124632122299</c:v>
                </c:pt>
                <c:pt idx="5022">
                  <c:v>0.29895387565860965</c:v>
                </c:pt>
                <c:pt idx="5023">
                  <c:v>0.32432914917600497</c:v>
                </c:pt>
                <c:pt idx="5024">
                  <c:v>0.33495871098711105</c:v>
                </c:pt>
                <c:pt idx="5025">
                  <c:v>0.3001168027665424</c:v>
                </c:pt>
                <c:pt idx="5026">
                  <c:v>0.29504684862055441</c:v>
                </c:pt>
                <c:pt idx="5027">
                  <c:v>0.32667030506434358</c:v>
                </c:pt>
                <c:pt idx="5028">
                  <c:v>0.3125060569120206</c:v>
                </c:pt>
                <c:pt idx="5029">
                  <c:v>0.27091101057345579</c:v>
                </c:pt>
                <c:pt idx="5030">
                  <c:v>0.28565672227974526</c:v>
                </c:pt>
                <c:pt idx="5031">
                  <c:v>0.30272828820190067</c:v>
                </c:pt>
                <c:pt idx="5032">
                  <c:v>0.34359905537675273</c:v>
                </c:pt>
                <c:pt idx="5033">
                  <c:v>0.39853716011160012</c:v>
                </c:pt>
                <c:pt idx="5034">
                  <c:v>0.4344246826178102</c:v>
                </c:pt>
                <c:pt idx="5035">
                  <c:v>0.4517359747420393</c:v>
                </c:pt>
                <c:pt idx="5036">
                  <c:v>0.40941154868227092</c:v>
                </c:pt>
                <c:pt idx="5037">
                  <c:v>0.3876525704259477</c:v>
                </c:pt>
                <c:pt idx="5038">
                  <c:v>0.4009548243623029</c:v>
                </c:pt>
                <c:pt idx="5039">
                  <c:v>0.38642843662812343</c:v>
                </c:pt>
                <c:pt idx="5040">
                  <c:v>0.37820633795273828</c:v>
                </c:pt>
                <c:pt idx="5041">
                  <c:v>0.32467598708538836</c:v>
                </c:pt>
                <c:pt idx="5042">
                  <c:v>0.32915937711991927</c:v>
                </c:pt>
                <c:pt idx="5043">
                  <c:v>0.32650708722463362</c:v>
                </c:pt>
                <c:pt idx="5044">
                  <c:v>0.37653335509571195</c:v>
                </c:pt>
                <c:pt idx="5045">
                  <c:v>0.3908659216452357</c:v>
                </c:pt>
                <c:pt idx="5046">
                  <c:v>0.36919365286625827</c:v>
                </c:pt>
                <c:pt idx="5047">
                  <c:v>0.34635335642185683</c:v>
                </c:pt>
                <c:pt idx="5048">
                  <c:v>0.31738218987335332</c:v>
                </c:pt>
                <c:pt idx="5049">
                  <c:v>0.31528076018708839</c:v>
                </c:pt>
                <c:pt idx="5050">
                  <c:v>0.34446615015021154</c:v>
                </c:pt>
                <c:pt idx="5051">
                  <c:v>0.3564167563514693</c:v>
                </c:pt>
                <c:pt idx="5052">
                  <c:v>0.34542505495850717</c:v>
                </c:pt>
                <c:pt idx="5053">
                  <c:v>0.33948800603905993</c:v>
                </c:pt>
                <c:pt idx="5054">
                  <c:v>0.41424687718367625</c:v>
                </c:pt>
                <c:pt idx="5055">
                  <c:v>0.42930372289691276</c:v>
                </c:pt>
                <c:pt idx="5056">
                  <c:v>0.42017372498814121</c:v>
                </c:pt>
                <c:pt idx="5057">
                  <c:v>0.41317065955308907</c:v>
                </c:pt>
                <c:pt idx="5058">
                  <c:v>0.42283111544091767</c:v>
                </c:pt>
                <c:pt idx="5059">
                  <c:v>0.38604079425881244</c:v>
                </c:pt>
                <c:pt idx="5060">
                  <c:v>0.37987932080976461</c:v>
                </c:pt>
                <c:pt idx="5061">
                  <c:v>0.41972487592893892</c:v>
                </c:pt>
                <c:pt idx="5062">
                  <c:v>0.36348612903390354</c:v>
                </c:pt>
                <c:pt idx="5063">
                  <c:v>0.36759717837159611</c:v>
                </c:pt>
                <c:pt idx="5064">
                  <c:v>0.4131757601105801</c:v>
                </c:pt>
                <c:pt idx="5065">
                  <c:v>0.3883054417847871</c:v>
                </c:pt>
                <c:pt idx="5066">
                  <c:v>0.40246458937961926</c:v>
                </c:pt>
                <c:pt idx="5067">
                  <c:v>0.40617269467552819</c:v>
                </c:pt>
                <c:pt idx="5068">
                  <c:v>0.42350438902972098</c:v>
                </c:pt>
                <c:pt idx="5069">
                  <c:v>0.41647582080721413</c:v>
                </c:pt>
                <c:pt idx="5070">
                  <c:v>0.46421703892235411</c:v>
                </c:pt>
                <c:pt idx="5071">
                  <c:v>0.44741070198972754</c:v>
                </c:pt>
                <c:pt idx="5072">
                  <c:v>0.44503894275644318</c:v>
                </c:pt>
                <c:pt idx="5073">
                  <c:v>0.47670320366015995</c:v>
                </c:pt>
                <c:pt idx="5074">
                  <c:v>0.4935452444952233</c:v>
                </c:pt>
                <c:pt idx="5075">
                  <c:v>0.50753607369285469</c:v>
                </c:pt>
                <c:pt idx="5076">
                  <c:v>0.50591919696822862</c:v>
                </c:pt>
                <c:pt idx="5077">
                  <c:v>0.5339467603809096</c:v>
                </c:pt>
                <c:pt idx="5078">
                  <c:v>0.51416169787357768</c:v>
                </c:pt>
                <c:pt idx="5079">
                  <c:v>0.48211999571553177</c:v>
                </c:pt>
                <c:pt idx="5080">
                  <c:v>0.44596214366230225</c:v>
                </c:pt>
                <c:pt idx="5081">
                  <c:v>0.46702744609985869</c:v>
                </c:pt>
                <c:pt idx="5082">
                  <c:v>0.44652830554379608</c:v>
                </c:pt>
                <c:pt idx="5083">
                  <c:v>0.43975986575332682</c:v>
                </c:pt>
                <c:pt idx="5084">
                  <c:v>0.39511978659267455</c:v>
                </c:pt>
                <c:pt idx="5085">
                  <c:v>0.4302218232452808</c:v>
                </c:pt>
                <c:pt idx="5086">
                  <c:v>0.46632356916610984</c:v>
                </c:pt>
                <c:pt idx="5087">
                  <c:v>0.44781874658900223</c:v>
                </c:pt>
                <c:pt idx="5088">
                  <c:v>0.50002295250870921</c:v>
                </c:pt>
                <c:pt idx="5089">
                  <c:v>0.50921925766486265</c:v>
                </c:pt>
                <c:pt idx="5090">
                  <c:v>0.50921925766486265</c:v>
                </c:pt>
                <c:pt idx="5091">
                  <c:v>0.52212366811692523</c:v>
                </c:pt>
                <c:pt idx="5092">
                  <c:v>0.49858969585375701</c:v>
                </c:pt>
                <c:pt idx="5093">
                  <c:v>0.54490275787143538</c:v>
                </c:pt>
                <c:pt idx="5094">
                  <c:v>0.54335728895168245</c:v>
                </c:pt>
                <c:pt idx="5095">
                  <c:v>0.50716373299601658</c:v>
                </c:pt>
                <c:pt idx="5096">
                  <c:v>0.48069183961807038</c:v>
                </c:pt>
                <c:pt idx="5097">
                  <c:v>0.49292297648132943</c:v>
                </c:pt>
                <c:pt idx="5098">
                  <c:v>0.53364072693145359</c:v>
                </c:pt>
                <c:pt idx="5099">
                  <c:v>0.50473586763033196</c:v>
                </c:pt>
                <c:pt idx="5100">
                  <c:v>0.50422581188123861</c:v>
                </c:pt>
                <c:pt idx="5101">
                  <c:v>0.47339804240603489</c:v>
                </c:pt>
                <c:pt idx="5102">
                  <c:v>0.49612612658563604</c:v>
                </c:pt>
                <c:pt idx="5103">
                  <c:v>0.51247851390156951</c:v>
                </c:pt>
                <c:pt idx="5104">
                  <c:v>0.52170542240266848</c:v>
                </c:pt>
                <c:pt idx="5105">
                  <c:v>0.51923165201956567</c:v>
                </c:pt>
                <c:pt idx="5106">
                  <c:v>0.5568839674176389</c:v>
                </c:pt>
                <c:pt idx="5107">
                  <c:v>0.5460758860943502</c:v>
                </c:pt>
                <c:pt idx="5108">
                  <c:v>0.51010675466828537</c:v>
                </c:pt>
                <c:pt idx="5109">
                  <c:v>0.47540256149997195</c:v>
                </c:pt>
                <c:pt idx="5110">
                  <c:v>0.47168935564657222</c:v>
                </c:pt>
                <c:pt idx="5111">
                  <c:v>0.48421122428681462</c:v>
                </c:pt>
                <c:pt idx="5112">
                  <c:v>0.49568237808392457</c:v>
                </c:pt>
                <c:pt idx="5113">
                  <c:v>0.49534064073203199</c:v>
                </c:pt>
                <c:pt idx="5114">
                  <c:v>0.50068602498253045</c:v>
                </c:pt>
                <c:pt idx="5115">
                  <c:v>0.48214549850298627</c:v>
                </c:pt>
                <c:pt idx="5116">
                  <c:v>0.47700413655212515</c:v>
                </c:pt>
                <c:pt idx="5117">
                  <c:v>0.4892505750878573</c:v>
                </c:pt>
                <c:pt idx="5118">
                  <c:v>0.50387897397185522</c:v>
                </c:pt>
                <c:pt idx="5119">
                  <c:v>0.50780640323987414</c:v>
                </c:pt>
                <c:pt idx="5120">
                  <c:v>0.50780640323987414</c:v>
                </c:pt>
                <c:pt idx="5121">
                  <c:v>0.52940216365648762</c:v>
                </c:pt>
                <c:pt idx="5122">
                  <c:v>0.53564014546789962</c:v>
                </c:pt>
                <c:pt idx="5123">
                  <c:v>0.5239343660262068</c:v>
                </c:pt>
                <c:pt idx="5124">
                  <c:v>0.51902762971992833</c:v>
                </c:pt>
                <c:pt idx="5125">
                  <c:v>0.55454791208679133</c:v>
                </c:pt>
                <c:pt idx="5126">
                  <c:v>0.56581504358426371</c:v>
                </c:pt>
                <c:pt idx="5127">
                  <c:v>0.57251207556985984</c:v>
                </c:pt>
                <c:pt idx="5128">
                  <c:v>0.54934024288854788</c:v>
                </c:pt>
                <c:pt idx="5129">
                  <c:v>0.55190072274899649</c:v>
                </c:pt>
                <c:pt idx="5130">
                  <c:v>0.5729354218416074</c:v>
                </c:pt>
                <c:pt idx="5131">
                  <c:v>0.55716959863713122</c:v>
                </c:pt>
                <c:pt idx="5132">
                  <c:v>0.56311174811406906</c:v>
                </c:pt>
                <c:pt idx="5133">
                  <c:v>0.55925062609343201</c:v>
                </c:pt>
                <c:pt idx="5134">
                  <c:v>0.55315035933427525</c:v>
                </c:pt>
                <c:pt idx="5135">
                  <c:v>0.58306002846111071</c:v>
                </c:pt>
                <c:pt idx="5136">
                  <c:v>0.5830804306910744</c:v>
                </c:pt>
                <c:pt idx="5137">
                  <c:v>0.57103801445498004</c:v>
                </c:pt>
                <c:pt idx="5138">
                  <c:v>0.53114655431838709</c:v>
                </c:pt>
                <c:pt idx="5139">
                  <c:v>0.5375630556419817</c:v>
                </c:pt>
                <c:pt idx="5140">
                  <c:v>0.51897662414501911</c:v>
                </c:pt>
                <c:pt idx="5141">
                  <c:v>0.50928556491224497</c:v>
                </c:pt>
                <c:pt idx="5142">
                  <c:v>0.50262423682908541</c:v>
                </c:pt>
                <c:pt idx="5143">
                  <c:v>0.51515630658430989</c:v>
                </c:pt>
                <c:pt idx="5144">
                  <c:v>0.50278235411130434</c:v>
                </c:pt>
                <c:pt idx="5145">
                  <c:v>0.50988743069617493</c:v>
                </c:pt>
                <c:pt idx="5146">
                  <c:v>0.51599279801282294</c:v>
                </c:pt>
                <c:pt idx="5147">
                  <c:v>0.45366398547361242</c:v>
                </c:pt>
                <c:pt idx="5148">
                  <c:v>0.39625211035566177</c:v>
                </c:pt>
                <c:pt idx="5149">
                  <c:v>0.39224307216778809</c:v>
                </c:pt>
                <c:pt idx="5150">
                  <c:v>0.40236767878729163</c:v>
                </c:pt>
                <c:pt idx="5151">
                  <c:v>0.40865156561612204</c:v>
                </c:pt>
                <c:pt idx="5152">
                  <c:v>0.38200625328348381</c:v>
                </c:pt>
                <c:pt idx="5153">
                  <c:v>0.40964617432685402</c:v>
                </c:pt>
                <c:pt idx="5154">
                  <c:v>0.42415726038856039</c:v>
                </c:pt>
                <c:pt idx="5155">
                  <c:v>0.45111370672814544</c:v>
                </c:pt>
                <c:pt idx="5156">
                  <c:v>0.43129804087586776</c:v>
                </c:pt>
                <c:pt idx="5157">
                  <c:v>0.4304819516773184</c:v>
                </c:pt>
                <c:pt idx="5158">
                  <c:v>0.44181028986468229</c:v>
                </c:pt>
                <c:pt idx="5159">
                  <c:v>0.42462651167772636</c:v>
                </c:pt>
                <c:pt idx="5160">
                  <c:v>0.42005131160835885</c:v>
                </c:pt>
                <c:pt idx="5161">
                  <c:v>0.39797099823010673</c:v>
                </c:pt>
                <c:pt idx="5162">
                  <c:v>0.44035663097976618</c:v>
                </c:pt>
                <c:pt idx="5163">
                  <c:v>0.45551548784282114</c:v>
                </c:pt>
                <c:pt idx="5164">
                  <c:v>0.49286176979143836</c:v>
                </c:pt>
                <c:pt idx="5165">
                  <c:v>0.499196662195178</c:v>
                </c:pt>
                <c:pt idx="5166">
                  <c:v>0.50179284595806317</c:v>
                </c:pt>
                <c:pt idx="5167">
                  <c:v>0.51944077487669404</c:v>
                </c:pt>
                <c:pt idx="5168">
                  <c:v>0.53036616902227407</c:v>
                </c:pt>
                <c:pt idx="5169">
                  <c:v>0.52230728818659888</c:v>
                </c:pt>
                <c:pt idx="5170">
                  <c:v>0.53394165982341879</c:v>
                </c:pt>
                <c:pt idx="5171">
                  <c:v>0.5281372253987362</c:v>
                </c:pt>
                <c:pt idx="5172">
                  <c:v>0.53625731292430268</c:v>
                </c:pt>
                <c:pt idx="5173">
                  <c:v>0.52160851181034085</c:v>
                </c:pt>
                <c:pt idx="5174">
                  <c:v>0.55503246504842974</c:v>
                </c:pt>
                <c:pt idx="5175">
                  <c:v>0.56816130003009313</c:v>
                </c:pt>
                <c:pt idx="5176">
                  <c:v>0.55506816895086653</c:v>
                </c:pt>
                <c:pt idx="5177">
                  <c:v>0.55251789020539954</c:v>
                </c:pt>
                <c:pt idx="5178">
                  <c:v>0.55010022595469676</c:v>
                </c:pt>
                <c:pt idx="5179">
                  <c:v>0.56195902212111792</c:v>
                </c:pt>
                <c:pt idx="5180">
                  <c:v>0.55501716337595686</c:v>
                </c:pt>
                <c:pt idx="5181">
                  <c:v>0.58669162539465569</c:v>
                </c:pt>
                <c:pt idx="5182">
                  <c:v>0.5870231616315662</c:v>
                </c:pt>
                <c:pt idx="5183">
                  <c:v>0.58046894525571635</c:v>
                </c:pt>
                <c:pt idx="5184">
                  <c:v>0.59376099807708971</c:v>
                </c:pt>
                <c:pt idx="5185">
                  <c:v>0.58699255828662067</c:v>
                </c:pt>
                <c:pt idx="5186">
                  <c:v>0.62317591312730491</c:v>
                </c:pt>
                <c:pt idx="5187">
                  <c:v>0.62317591312730491</c:v>
                </c:pt>
                <c:pt idx="5188">
                  <c:v>0.63771760253395704</c:v>
                </c:pt>
                <c:pt idx="5189">
                  <c:v>0.62889873863213253</c:v>
                </c:pt>
                <c:pt idx="5190">
                  <c:v>0.60400801807637583</c:v>
                </c:pt>
                <c:pt idx="5191">
                  <c:v>0.62386448838858088</c:v>
                </c:pt>
                <c:pt idx="5192">
                  <c:v>0.63981393166273071</c:v>
                </c:pt>
                <c:pt idx="5193">
                  <c:v>0.6455520588400312</c:v>
                </c:pt>
                <c:pt idx="5194">
                  <c:v>0.65640604518073831</c:v>
                </c:pt>
                <c:pt idx="5195">
                  <c:v>0.6540240848324721</c:v>
                </c:pt>
                <c:pt idx="5196">
                  <c:v>0.6500966555644534</c:v>
                </c:pt>
                <c:pt idx="5197">
                  <c:v>0.61165375375528552</c:v>
                </c:pt>
                <c:pt idx="5198">
                  <c:v>0.63392788831819313</c:v>
                </c:pt>
                <c:pt idx="5199">
                  <c:v>0.61903426044466658</c:v>
                </c:pt>
                <c:pt idx="5200">
                  <c:v>0.5794131298550933</c:v>
                </c:pt>
                <c:pt idx="5201">
                  <c:v>0.59909618121260655</c:v>
                </c:pt>
                <c:pt idx="5202">
                  <c:v>0.63892133410181717</c:v>
                </c:pt>
                <c:pt idx="5203">
                  <c:v>0.6124749435113257</c:v>
                </c:pt>
                <c:pt idx="5204">
                  <c:v>0.58122382776437465</c:v>
                </c:pt>
                <c:pt idx="5205">
                  <c:v>0.61166905542775818</c:v>
                </c:pt>
                <c:pt idx="5206">
                  <c:v>0.62000846692543488</c:v>
                </c:pt>
                <c:pt idx="5207">
                  <c:v>0.62000846692543488</c:v>
                </c:pt>
                <c:pt idx="5208">
                  <c:v>0.55970967626761614</c:v>
                </c:pt>
                <c:pt idx="5209">
                  <c:v>0.53664495529361345</c:v>
                </c:pt>
                <c:pt idx="5210">
                  <c:v>0.52591338233268892</c:v>
                </c:pt>
                <c:pt idx="5211">
                  <c:v>0.48733786602875706</c:v>
                </c:pt>
                <c:pt idx="5212">
                  <c:v>0.56480003264356804</c:v>
                </c:pt>
                <c:pt idx="5213">
                  <c:v>0.55535890072784944</c:v>
                </c:pt>
                <c:pt idx="5214">
                  <c:v>0.57161437745145571</c:v>
                </c:pt>
                <c:pt idx="5215">
                  <c:v>0.5687580652565325</c:v>
                </c:pt>
                <c:pt idx="5216">
                  <c:v>0.52233279097405338</c:v>
                </c:pt>
                <c:pt idx="5217">
                  <c:v>0.53737943557230805</c:v>
                </c:pt>
                <c:pt idx="5218">
                  <c:v>0.54895770107672792</c:v>
                </c:pt>
                <c:pt idx="5219">
                  <c:v>0.50124708630653347</c:v>
                </c:pt>
                <c:pt idx="5220">
                  <c:v>0.45700995118766485</c:v>
                </c:pt>
                <c:pt idx="5221">
                  <c:v>0.47092937258042311</c:v>
                </c:pt>
                <c:pt idx="5222">
                  <c:v>0.48230871634269645</c:v>
                </c:pt>
                <c:pt idx="5223">
                  <c:v>0.44621717153684903</c:v>
                </c:pt>
                <c:pt idx="5224">
                  <c:v>0.5106576148773061</c:v>
                </c:pt>
                <c:pt idx="5225">
                  <c:v>0.52532171766374081</c:v>
                </c:pt>
                <c:pt idx="5226">
                  <c:v>0.54682056748802643</c:v>
                </c:pt>
                <c:pt idx="5227">
                  <c:v>0.523541623099405</c:v>
                </c:pt>
                <c:pt idx="5228">
                  <c:v>0.53289604553777736</c:v>
                </c:pt>
                <c:pt idx="5229">
                  <c:v>0.53289604553777736</c:v>
                </c:pt>
                <c:pt idx="5230">
                  <c:v>0.5007778350173675</c:v>
                </c:pt>
                <c:pt idx="5231">
                  <c:v>0.48550166533202077</c:v>
                </c:pt>
                <c:pt idx="5232">
                  <c:v>0.48258924700469752</c:v>
                </c:pt>
                <c:pt idx="5233">
                  <c:v>0.49266284804929183</c:v>
                </c:pt>
                <c:pt idx="5234">
                  <c:v>0.51695680337860939</c:v>
                </c:pt>
                <c:pt idx="5235">
                  <c:v>0.51578367515569457</c:v>
                </c:pt>
                <c:pt idx="5236">
                  <c:v>0.53203405132180936</c:v>
                </c:pt>
                <c:pt idx="5237">
                  <c:v>0.53721621773259831</c:v>
                </c:pt>
                <c:pt idx="5238">
                  <c:v>0.53651234079884946</c:v>
                </c:pt>
                <c:pt idx="5239">
                  <c:v>0.51586528407554955</c:v>
                </c:pt>
                <c:pt idx="5240">
                  <c:v>0.52227668484165335</c:v>
                </c:pt>
                <c:pt idx="5241">
                  <c:v>0.54430089208750521</c:v>
                </c:pt>
                <c:pt idx="5242">
                  <c:v>0.53408447543316484</c:v>
                </c:pt>
                <c:pt idx="5243">
                  <c:v>0.50323630372799744</c:v>
                </c:pt>
                <c:pt idx="5244">
                  <c:v>0.50083904170725857</c:v>
                </c:pt>
                <c:pt idx="5245">
                  <c:v>0.50845927459871376</c:v>
                </c:pt>
                <c:pt idx="5246">
                  <c:v>0.50790841438969281</c:v>
                </c:pt>
                <c:pt idx="5247">
                  <c:v>0.46835869160499266</c:v>
                </c:pt>
                <c:pt idx="5248">
                  <c:v>0.46526265320799576</c:v>
                </c:pt>
                <c:pt idx="5249">
                  <c:v>0.46493621752857606</c:v>
                </c:pt>
                <c:pt idx="5250">
                  <c:v>0.48438464324150621</c:v>
                </c:pt>
                <c:pt idx="5251">
                  <c:v>0.50735755418067208</c:v>
                </c:pt>
                <c:pt idx="5252">
                  <c:v>0.50419520853629307</c:v>
                </c:pt>
                <c:pt idx="5253">
                  <c:v>0.50276195188134065</c:v>
                </c:pt>
                <c:pt idx="5254">
                  <c:v>0.50563866630622734</c:v>
                </c:pt>
                <c:pt idx="5255">
                  <c:v>0.52276123780329198</c:v>
                </c:pt>
                <c:pt idx="5256">
                  <c:v>0.53575235773270014</c:v>
                </c:pt>
                <c:pt idx="5257">
                  <c:v>0.54103143473581672</c:v>
                </c:pt>
                <c:pt idx="5258">
                  <c:v>0.54551992532783844</c:v>
                </c:pt>
                <c:pt idx="5259">
                  <c:v>0.53310516839490574</c:v>
                </c:pt>
                <c:pt idx="5260">
                  <c:v>0.53742024003223543</c:v>
                </c:pt>
                <c:pt idx="5261">
                  <c:v>0.52385275710635182</c:v>
                </c:pt>
                <c:pt idx="5262">
                  <c:v>0.5586589614244839</c:v>
                </c:pt>
                <c:pt idx="5263">
                  <c:v>0.58478401689304649</c:v>
                </c:pt>
                <c:pt idx="5264">
                  <c:v>0.58938982030735976</c:v>
                </c:pt>
                <c:pt idx="5265">
                  <c:v>0.61133751919084744</c:v>
                </c:pt>
                <c:pt idx="5266">
                  <c:v>0.60304401271058938</c:v>
                </c:pt>
                <c:pt idx="5267">
                  <c:v>0.59532686922680655</c:v>
                </c:pt>
                <c:pt idx="5268">
                  <c:v>0.60385500135164771</c:v>
                </c:pt>
                <c:pt idx="5269">
                  <c:v>0.59823928755412981</c:v>
                </c:pt>
                <c:pt idx="5270">
                  <c:v>0.64208878030368721</c:v>
                </c:pt>
                <c:pt idx="5271">
                  <c:v>0.64404739438020586</c:v>
                </c:pt>
                <c:pt idx="5272">
                  <c:v>0.64985182880488845</c:v>
                </c:pt>
                <c:pt idx="5273">
                  <c:v>0.6448787852512281</c:v>
                </c:pt>
                <c:pt idx="5274">
                  <c:v>0.64600600845672451</c:v>
                </c:pt>
                <c:pt idx="5275">
                  <c:v>0.63295368183742484</c:v>
                </c:pt>
                <c:pt idx="5276">
                  <c:v>0.60799665403428604</c:v>
                </c:pt>
                <c:pt idx="5277">
                  <c:v>0.58579902783374238</c:v>
                </c:pt>
                <c:pt idx="5278">
                  <c:v>0.59307752337330477</c:v>
                </c:pt>
                <c:pt idx="5279">
                  <c:v>0.58363129090009558</c:v>
                </c:pt>
                <c:pt idx="5280">
                  <c:v>0.6035489679021917</c:v>
                </c:pt>
                <c:pt idx="5281">
                  <c:v>0.6101133853930234</c:v>
                </c:pt>
                <c:pt idx="5282">
                  <c:v>0.60145263877341804</c:v>
                </c:pt>
                <c:pt idx="5283">
                  <c:v>0.59124132267656848</c:v>
                </c:pt>
                <c:pt idx="5284">
                  <c:v>0.57917340365301939</c:v>
                </c:pt>
                <c:pt idx="5285">
                  <c:v>0.59763742177019963</c:v>
                </c:pt>
                <c:pt idx="5286">
                  <c:v>0.56176010037897139</c:v>
                </c:pt>
                <c:pt idx="5287">
                  <c:v>0.55077860010099111</c:v>
                </c:pt>
                <c:pt idx="5288">
                  <c:v>0.55534869961286759</c:v>
                </c:pt>
                <c:pt idx="5289">
                  <c:v>0.57482262811325291</c:v>
                </c:pt>
                <c:pt idx="5290">
                  <c:v>0.56439198804429314</c:v>
                </c:pt>
                <c:pt idx="5291">
                  <c:v>0.57554180671947441</c:v>
                </c:pt>
                <c:pt idx="5292">
                  <c:v>0.59000698776376281</c:v>
                </c:pt>
                <c:pt idx="5293">
                  <c:v>0.59468929954043981</c:v>
                </c:pt>
                <c:pt idx="5294">
                  <c:v>0.60475269947005206</c:v>
                </c:pt>
                <c:pt idx="5295">
                  <c:v>0.60641548121209632</c:v>
                </c:pt>
                <c:pt idx="5296">
                  <c:v>0.64003325563484093</c:v>
                </c:pt>
                <c:pt idx="5297">
                  <c:v>0.64341492525133015</c:v>
                </c:pt>
                <c:pt idx="5298">
                  <c:v>0.63604972023442174</c:v>
                </c:pt>
                <c:pt idx="5299">
                  <c:v>0.65899712838613267</c:v>
                </c:pt>
                <c:pt idx="5300">
                  <c:v>0.65445253166171069</c:v>
                </c:pt>
                <c:pt idx="5301">
                  <c:v>0.65786480462314545</c:v>
                </c:pt>
                <c:pt idx="5302">
                  <c:v>0.65028537619161786</c:v>
                </c:pt>
                <c:pt idx="5303">
                  <c:v>0.64573057835221404</c:v>
                </c:pt>
                <c:pt idx="5304">
                  <c:v>0.65826264810743806</c:v>
                </c:pt>
                <c:pt idx="5305">
                  <c:v>0.68082751444732925</c:v>
                </c:pt>
                <c:pt idx="5306">
                  <c:v>0.68184252538802492</c:v>
                </c:pt>
                <c:pt idx="5307">
                  <c:v>0.66890241103352599</c:v>
                </c:pt>
                <c:pt idx="5308">
                  <c:v>0.69189062364516452</c:v>
                </c:pt>
                <c:pt idx="5309">
                  <c:v>0.68887619416802259</c:v>
                </c:pt>
                <c:pt idx="5310">
                  <c:v>0.66952467904741986</c:v>
                </c:pt>
                <c:pt idx="5311">
                  <c:v>0.67803240894229755</c:v>
                </c:pt>
                <c:pt idx="5312">
                  <c:v>0.69736862239042741</c:v>
                </c:pt>
                <c:pt idx="5313">
                  <c:v>0.69482344420245146</c:v>
                </c:pt>
                <c:pt idx="5314">
                  <c:v>0.7095181503338317</c:v>
                </c:pt>
                <c:pt idx="5315">
                  <c:v>0.73106800573302677</c:v>
                </c:pt>
                <c:pt idx="5316">
                  <c:v>0.72909408998403546</c:v>
                </c:pt>
                <c:pt idx="5317">
                  <c:v>0.7046471179299898</c:v>
                </c:pt>
                <c:pt idx="5318">
                  <c:v>0.69343099200742664</c:v>
                </c:pt>
                <c:pt idx="5319">
                  <c:v>0.70433598392304275</c:v>
                </c:pt>
                <c:pt idx="5320">
                  <c:v>0.70559072106581255</c:v>
                </c:pt>
                <c:pt idx="5321">
                  <c:v>0.74790494601059887</c:v>
                </c:pt>
                <c:pt idx="5322">
                  <c:v>0.73747940649913035</c:v>
                </c:pt>
                <c:pt idx="5323">
                  <c:v>0.7227795998102593</c:v>
                </c:pt>
                <c:pt idx="5324">
                  <c:v>0.72874725207465185</c:v>
                </c:pt>
                <c:pt idx="5325">
                  <c:v>0.70469302294740821</c:v>
                </c:pt>
                <c:pt idx="5326">
                  <c:v>0.70898769235477443</c:v>
                </c:pt>
                <c:pt idx="5327">
                  <c:v>0.73389881514049482</c:v>
                </c:pt>
                <c:pt idx="5328">
                  <c:v>0.72583993430481963</c:v>
                </c:pt>
                <c:pt idx="5329">
                  <c:v>0.72596744824209303</c:v>
                </c:pt>
                <c:pt idx="5330">
                  <c:v>0.71783205904405345</c:v>
                </c:pt>
                <c:pt idx="5331">
                  <c:v>0.72599295102954753</c:v>
                </c:pt>
                <c:pt idx="5332">
                  <c:v>0.72411594587288386</c:v>
                </c:pt>
                <c:pt idx="5333">
                  <c:v>0.73214932392110454</c:v>
                </c:pt>
                <c:pt idx="5334">
                  <c:v>0.73214932392110454</c:v>
                </c:pt>
                <c:pt idx="5335">
                  <c:v>0.75041442029613847</c:v>
                </c:pt>
                <c:pt idx="5336">
                  <c:v>0.74333484649872239</c:v>
                </c:pt>
                <c:pt idx="5337">
                  <c:v>0.77799313464961739</c:v>
                </c:pt>
                <c:pt idx="5338">
                  <c:v>0.78579188705325498</c:v>
                </c:pt>
                <c:pt idx="5339">
                  <c:v>0.78460855771535831</c:v>
                </c:pt>
                <c:pt idx="5340">
                  <c:v>0.80923914983907741</c:v>
                </c:pt>
                <c:pt idx="5341">
                  <c:v>0.7812880947887606</c:v>
                </c:pt>
                <c:pt idx="5342">
                  <c:v>0.7812880947887606</c:v>
                </c:pt>
                <c:pt idx="5343">
                  <c:v>0.78979582468363807</c:v>
                </c:pt>
                <c:pt idx="5344">
                  <c:v>0.77649867130477368</c:v>
                </c:pt>
                <c:pt idx="5345">
                  <c:v>0.75276577729945893</c:v>
                </c:pt>
                <c:pt idx="5346">
                  <c:v>0.75129681674206994</c:v>
                </c:pt>
                <c:pt idx="5347">
                  <c:v>0.7563565697730763</c:v>
                </c:pt>
                <c:pt idx="5348">
                  <c:v>0.73513825061079197</c:v>
                </c:pt>
                <c:pt idx="5349">
                  <c:v>0.72854833033250532</c:v>
                </c:pt>
                <c:pt idx="5350">
                  <c:v>0.72345287339906239</c:v>
                </c:pt>
                <c:pt idx="5351">
                  <c:v>0.73937171332826668</c:v>
                </c:pt>
                <c:pt idx="5352">
                  <c:v>0.72597254879958384</c:v>
                </c:pt>
                <c:pt idx="5353">
                  <c:v>0.70922741855684834</c:v>
                </c:pt>
                <c:pt idx="5354">
                  <c:v>0.70623849186716114</c:v>
                </c:pt>
                <c:pt idx="5355">
                  <c:v>0.74270237736984668</c:v>
                </c:pt>
                <c:pt idx="5356">
                  <c:v>0.75226592266534742</c:v>
                </c:pt>
                <c:pt idx="5357">
                  <c:v>0.77188776733296938</c:v>
                </c:pt>
                <c:pt idx="5358">
                  <c:v>0.7948759799446079</c:v>
                </c:pt>
                <c:pt idx="5359">
                  <c:v>0.80670417276608353</c:v>
                </c:pt>
                <c:pt idx="5360">
                  <c:v>0.80578097186022446</c:v>
                </c:pt>
                <c:pt idx="5361">
                  <c:v>0.80127717959573008</c:v>
                </c:pt>
                <c:pt idx="5362">
                  <c:v>0.80532192168604033</c:v>
                </c:pt>
                <c:pt idx="5363">
                  <c:v>0.8096522949958429</c:v>
                </c:pt>
                <c:pt idx="5364">
                  <c:v>0.81273813227785796</c:v>
                </c:pt>
                <c:pt idx="5365">
                  <c:v>0.82088882314837019</c:v>
                </c:pt>
                <c:pt idx="5366">
                  <c:v>0.80016015750521552</c:v>
                </c:pt>
                <c:pt idx="5367">
                  <c:v>0.80287875464788305</c:v>
                </c:pt>
                <c:pt idx="5368">
                  <c:v>0.7909740534640437</c:v>
                </c:pt>
                <c:pt idx="5369">
                  <c:v>0.81104984774835898</c:v>
                </c:pt>
                <c:pt idx="5370">
                  <c:v>0.80940236767878737</c:v>
                </c:pt>
                <c:pt idx="5371">
                  <c:v>0.80885150746976664</c:v>
                </c:pt>
                <c:pt idx="5372">
                  <c:v>0.80221568217406158</c:v>
                </c:pt>
                <c:pt idx="5373">
                  <c:v>0.79177994154761122</c:v>
                </c:pt>
                <c:pt idx="5374">
                  <c:v>0.8135695231488802</c:v>
                </c:pt>
                <c:pt idx="5375">
                  <c:v>0.8011547662159475</c:v>
                </c:pt>
                <c:pt idx="5376">
                  <c:v>0.79285105862070737</c:v>
                </c:pt>
                <c:pt idx="5377">
                  <c:v>0.8177723825214096</c:v>
                </c:pt>
                <c:pt idx="5378">
                  <c:v>0.79009675757560305</c:v>
                </c:pt>
                <c:pt idx="5379">
                  <c:v>0.76748598621829389</c:v>
                </c:pt>
                <c:pt idx="5380">
                  <c:v>0.76748598621829389</c:v>
                </c:pt>
                <c:pt idx="5381">
                  <c:v>0.75223021876291085</c:v>
                </c:pt>
                <c:pt idx="5382">
                  <c:v>0.73676022789290863</c:v>
                </c:pt>
                <c:pt idx="5383">
                  <c:v>0.74529346057524082</c:v>
                </c:pt>
                <c:pt idx="5384">
                  <c:v>0.77662618524204685</c:v>
                </c:pt>
                <c:pt idx="5385">
                  <c:v>0.78064032398741201</c:v>
                </c:pt>
                <c:pt idx="5386">
                  <c:v>0.76717995276883766</c:v>
                </c:pt>
                <c:pt idx="5387">
                  <c:v>0.8257853583396666</c:v>
                </c:pt>
                <c:pt idx="5388">
                  <c:v>0.80143019632045776</c:v>
                </c:pt>
                <c:pt idx="5389">
                  <c:v>0.78114017862152352</c:v>
                </c:pt>
                <c:pt idx="5390">
                  <c:v>0.78575618315081841</c:v>
                </c:pt>
                <c:pt idx="5391">
                  <c:v>0.77863070433598414</c:v>
                </c:pt>
                <c:pt idx="5392">
                  <c:v>0.7613398144417185</c:v>
                </c:pt>
                <c:pt idx="5393">
                  <c:v>0.77425442600876293</c:v>
                </c:pt>
                <c:pt idx="5394">
                  <c:v>0.78028838552053759</c:v>
                </c:pt>
                <c:pt idx="5395">
                  <c:v>0.76720545555629238</c:v>
                </c:pt>
                <c:pt idx="5396">
                  <c:v>0.767164651096365</c:v>
                </c:pt>
                <c:pt idx="5397">
                  <c:v>0.78226230126952889</c:v>
                </c:pt>
                <c:pt idx="5398">
                  <c:v>0.7802934860780284</c:v>
                </c:pt>
                <c:pt idx="5399">
                  <c:v>0.78602651269783808</c:v>
                </c:pt>
                <c:pt idx="5400">
                  <c:v>0.79165242761033783</c:v>
                </c:pt>
                <c:pt idx="5401">
                  <c:v>0.79089754510167953</c:v>
                </c:pt>
                <c:pt idx="5402">
                  <c:v>0.78858699255828668</c:v>
                </c:pt>
                <c:pt idx="5403">
                  <c:v>0.79146370698317337</c:v>
                </c:pt>
                <c:pt idx="5404">
                  <c:v>0.76791443304753204</c:v>
                </c:pt>
                <c:pt idx="5405">
                  <c:v>0.78167063660058056</c:v>
                </c:pt>
                <c:pt idx="5406">
                  <c:v>0.77467777228051027</c:v>
                </c:pt>
                <c:pt idx="5407">
                  <c:v>0.76570079109646705</c:v>
                </c:pt>
                <c:pt idx="5408">
                  <c:v>0.75579040789158247</c:v>
                </c:pt>
                <c:pt idx="5409">
                  <c:v>0.72598785047205672</c:v>
                </c:pt>
                <c:pt idx="5410">
                  <c:v>0.74016229973936154</c:v>
                </c:pt>
                <c:pt idx="5411">
                  <c:v>0.73361828447849353</c:v>
                </c:pt>
                <c:pt idx="5412">
                  <c:v>0.74691033729986689</c:v>
                </c:pt>
                <c:pt idx="5413">
                  <c:v>0.73389881514049482</c:v>
                </c:pt>
                <c:pt idx="5414">
                  <c:v>0.74669101332775689</c:v>
                </c:pt>
                <c:pt idx="5415">
                  <c:v>0.77562647597382384</c:v>
                </c:pt>
                <c:pt idx="5416">
                  <c:v>0.7589527535359617</c:v>
                </c:pt>
                <c:pt idx="5417">
                  <c:v>0.76957211423208549</c:v>
                </c:pt>
                <c:pt idx="5418">
                  <c:v>0.80507709492647561</c:v>
                </c:pt>
                <c:pt idx="5419">
                  <c:v>0.8182926393854848</c:v>
                </c:pt>
                <c:pt idx="5420">
                  <c:v>0.82163350454204642</c:v>
                </c:pt>
                <c:pt idx="5421">
                  <c:v>0.82587716837450342</c:v>
                </c:pt>
                <c:pt idx="5422">
                  <c:v>0.81643603645878504</c:v>
                </c:pt>
                <c:pt idx="5423">
                  <c:v>0.80335310649453984</c:v>
                </c:pt>
                <c:pt idx="5424">
                  <c:v>0.79620212489225084</c:v>
                </c:pt>
                <c:pt idx="5425">
                  <c:v>0.80172602865493192</c:v>
                </c:pt>
                <c:pt idx="5426">
                  <c:v>0.79570737081563037</c:v>
                </c:pt>
                <c:pt idx="5427">
                  <c:v>0.77325981729803073</c:v>
                </c:pt>
                <c:pt idx="5428">
                  <c:v>0.80158321304518587</c:v>
                </c:pt>
                <c:pt idx="5429">
                  <c:v>0.81605349464696508</c:v>
                </c:pt>
                <c:pt idx="5430">
                  <c:v>0.82446941450700573</c:v>
                </c:pt>
                <c:pt idx="5431">
                  <c:v>0.80848936788791015</c:v>
                </c:pt>
                <c:pt idx="5432">
                  <c:v>0.80904532865442214</c:v>
                </c:pt>
                <c:pt idx="5433">
                  <c:v>0.8175530585492996</c:v>
                </c:pt>
                <c:pt idx="5434">
                  <c:v>0.83839903701474583</c:v>
                </c:pt>
                <c:pt idx="5435">
                  <c:v>0.84789117450537344</c:v>
                </c:pt>
                <c:pt idx="5436">
                  <c:v>0.83982209255471618</c:v>
                </c:pt>
                <c:pt idx="5437">
                  <c:v>0.83352290405341312</c:v>
                </c:pt>
                <c:pt idx="5438">
                  <c:v>0.84040355610868267</c:v>
                </c:pt>
                <c:pt idx="5439">
                  <c:v>0.87978496049618227</c:v>
                </c:pt>
                <c:pt idx="5440">
                  <c:v>0.88377359645409248</c:v>
                </c:pt>
                <c:pt idx="5441">
                  <c:v>0.88446727227285948</c:v>
                </c:pt>
                <c:pt idx="5442">
                  <c:v>0.91307629923950673</c:v>
                </c:pt>
                <c:pt idx="5443">
                  <c:v>0.91357105331612765</c:v>
                </c:pt>
                <c:pt idx="5444">
                  <c:v>0.89696363812564717</c:v>
                </c:pt>
                <c:pt idx="5445">
                  <c:v>0.90013108432751721</c:v>
                </c:pt>
                <c:pt idx="5446">
                  <c:v>0.88865993053040704</c:v>
                </c:pt>
                <c:pt idx="5447">
                  <c:v>0.9102046853721113</c:v>
                </c:pt>
                <c:pt idx="5448">
                  <c:v>0.89919258174918526</c:v>
                </c:pt>
                <c:pt idx="5449">
                  <c:v>0.90596612209714533</c:v>
                </c:pt>
                <c:pt idx="5450">
                  <c:v>0.87688784384133189</c:v>
                </c:pt>
                <c:pt idx="5451">
                  <c:v>0.88693594209847126</c:v>
                </c:pt>
                <c:pt idx="5452">
                  <c:v>0.91159203700964508</c:v>
                </c:pt>
                <c:pt idx="5453">
                  <c:v>0.8999576653728254</c:v>
                </c:pt>
                <c:pt idx="5454">
                  <c:v>0.8999576653728254</c:v>
                </c:pt>
                <c:pt idx="5455">
                  <c:v>0.91238262342073995</c:v>
                </c:pt>
                <c:pt idx="5456">
                  <c:v>0.90604773101700031</c:v>
                </c:pt>
                <c:pt idx="5457">
                  <c:v>0.9160295220267578</c:v>
                </c:pt>
                <c:pt idx="5458">
                  <c:v>0.90329853052938702</c:v>
                </c:pt>
                <c:pt idx="5459">
                  <c:v>0.90766460774162638</c:v>
                </c:pt>
                <c:pt idx="5460">
                  <c:v>0.90766460774162638</c:v>
                </c:pt>
                <c:pt idx="5461">
                  <c:v>0.8806367535971682</c:v>
                </c:pt>
                <c:pt idx="5462">
                  <c:v>0.86787515875485188</c:v>
                </c:pt>
                <c:pt idx="5463">
                  <c:v>0.87328174969524164</c:v>
                </c:pt>
                <c:pt idx="5464">
                  <c:v>0.85257348628205065</c:v>
                </c:pt>
                <c:pt idx="5465">
                  <c:v>0.87467420189026668</c:v>
                </c:pt>
                <c:pt idx="5466">
                  <c:v>0.86664592439953703</c:v>
                </c:pt>
                <c:pt idx="5467">
                  <c:v>0.84887558210112357</c:v>
                </c:pt>
                <c:pt idx="5468">
                  <c:v>0.84543780635223453</c:v>
                </c:pt>
                <c:pt idx="5469">
                  <c:v>0.86071907659507207</c:v>
                </c:pt>
                <c:pt idx="5470">
                  <c:v>0.8343899988268717</c:v>
                </c:pt>
                <c:pt idx="5471">
                  <c:v>0.84652422509780312</c:v>
                </c:pt>
                <c:pt idx="5472">
                  <c:v>0.85237456453990434</c:v>
                </c:pt>
                <c:pt idx="5473">
                  <c:v>0.85760263596811148</c:v>
                </c:pt>
                <c:pt idx="5474">
                  <c:v>0.84925302335545294</c:v>
                </c:pt>
                <c:pt idx="5475">
                  <c:v>0.85404754739693045</c:v>
                </c:pt>
                <c:pt idx="5476">
                  <c:v>0.87354187812727946</c:v>
                </c:pt>
                <c:pt idx="5477">
                  <c:v>0.8749853358972135</c:v>
                </c:pt>
                <c:pt idx="5478">
                  <c:v>0.88203430634968405</c:v>
                </c:pt>
                <c:pt idx="5479">
                  <c:v>0.90630785944903769</c:v>
                </c:pt>
                <c:pt idx="5480">
                  <c:v>0.90499191561637682</c:v>
                </c:pt>
                <c:pt idx="5481">
                  <c:v>0.90134501701035918</c:v>
                </c:pt>
                <c:pt idx="5482">
                  <c:v>0.89497952126167379</c:v>
                </c:pt>
                <c:pt idx="5483">
                  <c:v>0.88522215478151778</c:v>
                </c:pt>
                <c:pt idx="5484">
                  <c:v>0.90289558648760337</c:v>
                </c:pt>
                <c:pt idx="5485">
                  <c:v>0.89520394579127505</c:v>
                </c:pt>
                <c:pt idx="5486">
                  <c:v>0.88700734990334462</c:v>
                </c:pt>
                <c:pt idx="5487">
                  <c:v>0.87416924669866436</c:v>
                </c:pt>
                <c:pt idx="5488">
                  <c:v>0.87833130161126616</c:v>
                </c:pt>
                <c:pt idx="5489">
                  <c:v>0.89383699638370473</c:v>
                </c:pt>
                <c:pt idx="5490">
                  <c:v>0.88564550105326512</c:v>
                </c:pt>
                <c:pt idx="5491">
                  <c:v>0.88379399868405617</c:v>
                </c:pt>
                <c:pt idx="5492">
                  <c:v>0.89453577275996277</c:v>
                </c:pt>
                <c:pt idx="5493">
                  <c:v>0.86976236502649762</c:v>
                </c:pt>
                <c:pt idx="5494">
                  <c:v>0.87576062063583549</c:v>
                </c:pt>
                <c:pt idx="5495">
                  <c:v>0.85628669213545061</c:v>
                </c:pt>
                <c:pt idx="5496">
                  <c:v>0.85628669213545061</c:v>
                </c:pt>
                <c:pt idx="5497">
                  <c:v>0.85222664837266726</c:v>
                </c:pt>
                <c:pt idx="5498">
                  <c:v>0.84336187945342433</c:v>
                </c:pt>
                <c:pt idx="5499">
                  <c:v>0.84145427095181513</c:v>
                </c:pt>
                <c:pt idx="5500">
                  <c:v>0.86079048439994499</c:v>
                </c:pt>
                <c:pt idx="5501">
                  <c:v>0.85414445798925831</c:v>
                </c:pt>
                <c:pt idx="5502">
                  <c:v>0.86164737805842173</c:v>
                </c:pt>
                <c:pt idx="5503">
                  <c:v>0.86180039478314985</c:v>
                </c:pt>
                <c:pt idx="5504">
                  <c:v>0.84776876112559107</c:v>
                </c:pt>
                <c:pt idx="5505">
                  <c:v>0.8877877351994572</c:v>
                </c:pt>
                <c:pt idx="5506">
                  <c:v>0.87007859959093548</c:v>
                </c:pt>
                <c:pt idx="5507">
                  <c:v>0.83648632795564559</c:v>
                </c:pt>
                <c:pt idx="5508">
                  <c:v>0.83070739631841772</c:v>
                </c:pt>
                <c:pt idx="5509">
                  <c:v>0.84932953171781667</c:v>
                </c:pt>
                <c:pt idx="5510">
                  <c:v>0.83573654600447833</c:v>
                </c:pt>
                <c:pt idx="5511">
                  <c:v>0.83927123234569545</c:v>
                </c:pt>
                <c:pt idx="5512">
                  <c:v>0.79312648872521785</c:v>
                </c:pt>
                <c:pt idx="5513">
                  <c:v>0.79651325889919766</c:v>
                </c:pt>
                <c:pt idx="5514">
                  <c:v>0.80485777095436539</c:v>
                </c:pt>
                <c:pt idx="5515">
                  <c:v>0.82918232962862826</c:v>
                </c:pt>
                <c:pt idx="5516">
                  <c:v>0.83855715429696476</c:v>
                </c:pt>
                <c:pt idx="5517">
                  <c:v>0.83249259144024457</c:v>
                </c:pt>
                <c:pt idx="5518">
                  <c:v>0.82319937569176327</c:v>
                </c:pt>
                <c:pt idx="5519">
                  <c:v>0.80265433011828202</c:v>
                </c:pt>
                <c:pt idx="5520">
                  <c:v>0.82378593980322057</c:v>
                </c:pt>
                <c:pt idx="5521">
                  <c:v>0.82752464844407481</c:v>
                </c:pt>
                <c:pt idx="5522">
                  <c:v>0.81138138398526971</c:v>
                </c:pt>
                <c:pt idx="5523">
                  <c:v>0.78708232809846113</c:v>
                </c:pt>
                <c:pt idx="5524">
                  <c:v>0.72887986656941606</c:v>
                </c:pt>
                <c:pt idx="5525">
                  <c:v>0.66755076329842855</c:v>
                </c:pt>
                <c:pt idx="5526">
                  <c:v>0.64043109911913376</c:v>
                </c:pt>
                <c:pt idx="5527">
                  <c:v>0.60209020845978478</c:v>
                </c:pt>
                <c:pt idx="5528">
                  <c:v>0.55078880121597296</c:v>
                </c:pt>
                <c:pt idx="5529">
                  <c:v>0.47074575251074946</c:v>
                </c:pt>
                <c:pt idx="5530">
                  <c:v>0.53731822888241698</c:v>
                </c:pt>
                <c:pt idx="5531">
                  <c:v>0.56289242414195861</c:v>
                </c:pt>
                <c:pt idx="5532">
                  <c:v>0.56289242414195861</c:v>
                </c:pt>
                <c:pt idx="5533">
                  <c:v>0.60040192393028557</c:v>
                </c:pt>
                <c:pt idx="5534">
                  <c:v>0.60027440999301218</c:v>
                </c:pt>
                <c:pt idx="5535">
                  <c:v>0.50724024135838053</c:v>
                </c:pt>
                <c:pt idx="5536">
                  <c:v>0.50985172679373858</c:v>
                </c:pt>
                <c:pt idx="5537">
                  <c:v>0.54483135006656225</c:v>
                </c:pt>
                <c:pt idx="5538">
                  <c:v>0.54112834532814436</c:v>
                </c:pt>
                <c:pt idx="5539">
                  <c:v>0.54287783654753463</c:v>
                </c:pt>
                <c:pt idx="5540">
                  <c:v>0.55136516421244841</c:v>
                </c:pt>
                <c:pt idx="5541">
                  <c:v>0.55067148839368141</c:v>
                </c:pt>
                <c:pt idx="5542">
                  <c:v>0.58964994873939713</c:v>
                </c:pt>
                <c:pt idx="5543">
                  <c:v>0.6158311103403602</c:v>
                </c:pt>
                <c:pt idx="5544">
                  <c:v>0.65624282734102835</c:v>
                </c:pt>
                <c:pt idx="5545">
                  <c:v>0.63170914580963711</c:v>
                </c:pt>
                <c:pt idx="5546">
                  <c:v>0.59461279117807586</c:v>
                </c:pt>
                <c:pt idx="5547">
                  <c:v>0.54753464553675735</c:v>
                </c:pt>
                <c:pt idx="5548">
                  <c:v>0.60137102985356305</c:v>
                </c:pt>
                <c:pt idx="5549">
                  <c:v>0.59879524832064157</c:v>
                </c:pt>
                <c:pt idx="5550">
                  <c:v>0.51959889215891319</c:v>
                </c:pt>
                <c:pt idx="5551">
                  <c:v>0.4744181539042216</c:v>
                </c:pt>
                <c:pt idx="5552">
                  <c:v>0.48789892735275986</c:v>
                </c:pt>
                <c:pt idx="5553">
                  <c:v>0.49757978547055215</c:v>
                </c:pt>
                <c:pt idx="5554">
                  <c:v>0.54759585222664842</c:v>
                </c:pt>
                <c:pt idx="5555">
                  <c:v>0.5575980454663696</c:v>
                </c:pt>
                <c:pt idx="5556">
                  <c:v>0.53401816818578274</c:v>
                </c:pt>
                <c:pt idx="5557">
                  <c:v>0.5483966397527249</c:v>
                </c:pt>
                <c:pt idx="5558">
                  <c:v>0.55104382909051952</c:v>
                </c:pt>
                <c:pt idx="5559">
                  <c:v>0.43835211188582912</c:v>
                </c:pt>
                <c:pt idx="5560">
                  <c:v>0.42390733307150485</c:v>
                </c:pt>
                <c:pt idx="5561">
                  <c:v>0.43338926944715084</c:v>
                </c:pt>
                <c:pt idx="5562">
                  <c:v>0.49307599320605755</c:v>
                </c:pt>
                <c:pt idx="5563">
                  <c:v>0.49370336177744245</c:v>
                </c:pt>
                <c:pt idx="5564">
                  <c:v>0.49859479641124782</c:v>
                </c:pt>
                <c:pt idx="5565">
                  <c:v>0.49858969585375701</c:v>
                </c:pt>
                <c:pt idx="5566">
                  <c:v>0.46971543989758091</c:v>
                </c:pt>
                <c:pt idx="5567">
                  <c:v>0.43087979516161123</c:v>
                </c:pt>
                <c:pt idx="5568">
                  <c:v>0.46856271390462978</c:v>
                </c:pt>
                <c:pt idx="5569">
                  <c:v>0.48801113961756015</c:v>
                </c:pt>
                <c:pt idx="5570">
                  <c:v>0.49970671794427135</c:v>
                </c:pt>
                <c:pt idx="5571">
                  <c:v>0.55121724804521133</c:v>
                </c:pt>
                <c:pt idx="5572">
                  <c:v>0.5486720698572356</c:v>
                </c:pt>
                <c:pt idx="5573">
                  <c:v>0.58617646908807131</c:v>
                </c:pt>
                <c:pt idx="5574">
                  <c:v>0.55589445926439773</c:v>
                </c:pt>
                <c:pt idx="5575">
                  <c:v>0.57522557215503678</c:v>
                </c:pt>
                <c:pt idx="5576">
                  <c:v>0.56513156888047877</c:v>
                </c:pt>
                <c:pt idx="5577">
                  <c:v>0.5668555573124141</c:v>
                </c:pt>
                <c:pt idx="5578">
                  <c:v>0.57150216518665498</c:v>
                </c:pt>
                <c:pt idx="5579">
                  <c:v>0.52143509285564926</c:v>
                </c:pt>
                <c:pt idx="5580">
                  <c:v>0.5784848283917432</c:v>
                </c:pt>
                <c:pt idx="5581">
                  <c:v>0.62317591312730491</c:v>
                </c:pt>
                <c:pt idx="5582">
                  <c:v>0.60881274323283541</c:v>
                </c:pt>
                <c:pt idx="5583">
                  <c:v>0.60235033689182238</c:v>
                </c:pt>
                <c:pt idx="5584">
                  <c:v>0.65325900120883218</c:v>
                </c:pt>
                <c:pt idx="5585">
                  <c:v>0.64961210260281455</c:v>
                </c:pt>
                <c:pt idx="5586">
                  <c:v>0.6237828794687259</c:v>
                </c:pt>
                <c:pt idx="5587">
                  <c:v>0.6237828794687259</c:v>
                </c:pt>
                <c:pt idx="5588">
                  <c:v>0.61290339034056429</c:v>
                </c:pt>
                <c:pt idx="5589">
                  <c:v>0.64143080838735678</c:v>
                </c:pt>
                <c:pt idx="5590">
                  <c:v>0.61771831661200571</c:v>
                </c:pt>
                <c:pt idx="5591">
                  <c:v>0.63069413486894121</c:v>
                </c:pt>
                <c:pt idx="5592">
                  <c:v>0.64137470225495652</c:v>
                </c:pt>
                <c:pt idx="5593">
                  <c:v>0.58550829605675903</c:v>
                </c:pt>
                <c:pt idx="5594">
                  <c:v>0.56686065786990536</c:v>
                </c:pt>
                <c:pt idx="5595">
                  <c:v>0.56686065786990536</c:v>
                </c:pt>
                <c:pt idx="5596">
                  <c:v>0.58460039682337284</c:v>
                </c:pt>
                <c:pt idx="5597">
                  <c:v>0.57632729257307824</c:v>
                </c:pt>
                <c:pt idx="5598">
                  <c:v>0.59634188016750223</c:v>
                </c:pt>
                <c:pt idx="5599">
                  <c:v>0.57022702581392148</c:v>
                </c:pt>
                <c:pt idx="5600">
                  <c:v>0.53361522414399909</c:v>
                </c:pt>
                <c:pt idx="5601">
                  <c:v>0.49408080303177138</c:v>
                </c:pt>
                <c:pt idx="5602">
                  <c:v>0.49523862958221332</c:v>
                </c:pt>
                <c:pt idx="5603">
                  <c:v>0.4694349092355794</c:v>
                </c:pt>
                <c:pt idx="5604">
                  <c:v>0.48152323048909262</c:v>
                </c:pt>
                <c:pt idx="5605">
                  <c:v>0.51447283188052451</c:v>
                </c:pt>
                <c:pt idx="5606">
                  <c:v>0.49435113257879104</c:v>
                </c:pt>
                <c:pt idx="5607">
                  <c:v>0.56661073055284938</c:v>
                </c:pt>
                <c:pt idx="5608">
                  <c:v>0.55083470623339137</c:v>
                </c:pt>
                <c:pt idx="5609">
                  <c:v>0.54594837215707681</c:v>
                </c:pt>
                <c:pt idx="5610">
                  <c:v>0.5693854338279174</c:v>
                </c:pt>
                <c:pt idx="5611">
                  <c:v>0.53514539139127915</c:v>
                </c:pt>
                <c:pt idx="5612">
                  <c:v>0.54299004881233515</c:v>
                </c:pt>
                <c:pt idx="5613">
                  <c:v>0.5144065246331424</c:v>
                </c:pt>
                <c:pt idx="5614">
                  <c:v>0.52471475132231959</c:v>
                </c:pt>
                <c:pt idx="5615">
                  <c:v>0.4890414522307287</c:v>
                </c:pt>
                <c:pt idx="5616">
                  <c:v>0.49781441111513502</c:v>
                </c:pt>
                <c:pt idx="5617">
                  <c:v>0.48847018979174428</c:v>
                </c:pt>
                <c:pt idx="5618">
                  <c:v>0.47982984540210238</c:v>
                </c:pt>
                <c:pt idx="5619">
                  <c:v>0.44881335529973421</c:v>
                </c:pt>
                <c:pt idx="5620">
                  <c:v>0.44211122275664749</c:v>
                </c:pt>
                <c:pt idx="5621">
                  <c:v>0.46313572073427633</c:v>
                </c:pt>
                <c:pt idx="5622">
                  <c:v>0.47647877913055892</c:v>
                </c:pt>
                <c:pt idx="5623">
                  <c:v>0.47098547871282315</c:v>
                </c:pt>
                <c:pt idx="5624">
                  <c:v>0.48496610679547292</c:v>
                </c:pt>
                <c:pt idx="5625">
                  <c:v>0.48805704463497879</c:v>
                </c:pt>
                <c:pt idx="5626">
                  <c:v>0.47072535028078577</c:v>
                </c:pt>
                <c:pt idx="5627">
                  <c:v>0.48071734240552511</c:v>
                </c:pt>
                <c:pt idx="5628">
                  <c:v>0.46829748491510115</c:v>
                </c:pt>
                <c:pt idx="5629">
                  <c:v>0.50923455933733575</c:v>
                </c:pt>
                <c:pt idx="5630">
                  <c:v>0.49534064073203199</c:v>
                </c:pt>
                <c:pt idx="5631">
                  <c:v>0.47614214233615737</c:v>
                </c:pt>
                <c:pt idx="5632">
                  <c:v>0.47614214233615737</c:v>
                </c:pt>
                <c:pt idx="5633">
                  <c:v>0.45512274491601934</c:v>
                </c:pt>
                <c:pt idx="5634">
                  <c:v>0.46288579341722058</c:v>
                </c:pt>
                <c:pt idx="5635">
                  <c:v>0.45805556547330628</c:v>
                </c:pt>
                <c:pt idx="5636">
                  <c:v>0.48268615759702538</c:v>
                </c:pt>
                <c:pt idx="5637">
                  <c:v>0.48226791188276885</c:v>
                </c:pt>
                <c:pt idx="5638">
                  <c:v>0.51065251431981507</c:v>
                </c:pt>
                <c:pt idx="5639">
                  <c:v>0.52449032679271834</c:v>
                </c:pt>
                <c:pt idx="5640">
                  <c:v>0.53563504491040859</c:v>
                </c:pt>
                <c:pt idx="5641">
                  <c:v>0.54701948923017296</c:v>
                </c:pt>
                <c:pt idx="5642">
                  <c:v>0.55025324267942488</c:v>
                </c:pt>
                <c:pt idx="5643">
                  <c:v>0.54959017020560341</c:v>
                </c:pt>
                <c:pt idx="5644">
                  <c:v>0.54152618881243719</c:v>
                </c:pt>
                <c:pt idx="5645">
                  <c:v>0.57748511912352019</c:v>
                </c:pt>
                <c:pt idx="5646">
                  <c:v>0.57805128100501402</c:v>
                </c:pt>
                <c:pt idx="5647">
                  <c:v>0.58505944699755674</c:v>
                </c:pt>
                <c:pt idx="5648">
                  <c:v>0.59569920992364467</c:v>
                </c:pt>
                <c:pt idx="5649">
                  <c:v>0.61720826086291236</c:v>
                </c:pt>
                <c:pt idx="5650">
                  <c:v>0.62233432114130061</c:v>
                </c:pt>
                <c:pt idx="5651">
                  <c:v>0.6246448736846939</c:v>
                </c:pt>
                <c:pt idx="5652">
                  <c:v>0.63545295500798238</c:v>
                </c:pt>
                <c:pt idx="5653">
                  <c:v>0.62476218650698523</c:v>
                </c:pt>
                <c:pt idx="5654">
                  <c:v>0.62613423647204658</c:v>
                </c:pt>
                <c:pt idx="5655">
                  <c:v>0.61767751215207833</c:v>
                </c:pt>
                <c:pt idx="5656">
                  <c:v>0.59077207138740273</c:v>
                </c:pt>
                <c:pt idx="5657">
                  <c:v>0.60262576699633263</c:v>
                </c:pt>
                <c:pt idx="5658">
                  <c:v>0.59375079696210786</c:v>
                </c:pt>
                <c:pt idx="5659">
                  <c:v>0.59792305298969195</c:v>
                </c:pt>
                <c:pt idx="5660">
                  <c:v>0.58692115048174776</c:v>
                </c:pt>
                <c:pt idx="5661">
                  <c:v>0.61466818323242745</c:v>
                </c:pt>
                <c:pt idx="5662">
                  <c:v>0.60936360344185614</c:v>
                </c:pt>
                <c:pt idx="5663">
                  <c:v>0.59309282504577743</c:v>
                </c:pt>
                <c:pt idx="5664">
                  <c:v>0.57195101424585726</c:v>
                </c:pt>
                <c:pt idx="5665">
                  <c:v>0.58182059299081401</c:v>
                </c:pt>
                <c:pt idx="5666">
                  <c:v>0.58277439724161839</c:v>
                </c:pt>
                <c:pt idx="5667">
                  <c:v>0.58689564769429303</c:v>
                </c:pt>
                <c:pt idx="5668">
                  <c:v>0.58539608379195851</c:v>
                </c:pt>
                <c:pt idx="5669">
                  <c:v>0.58798716699735287</c:v>
                </c:pt>
                <c:pt idx="5670">
                  <c:v>0.59097609368703985</c:v>
                </c:pt>
                <c:pt idx="5671">
                  <c:v>0.56296383194683197</c:v>
                </c:pt>
                <c:pt idx="5672">
                  <c:v>0.53917993236660777</c:v>
                </c:pt>
                <c:pt idx="5673">
                  <c:v>0.55016143264458806</c:v>
                </c:pt>
                <c:pt idx="5674">
                  <c:v>0.57135934957690893</c:v>
                </c:pt>
                <c:pt idx="5675">
                  <c:v>0.56412675905476473</c:v>
                </c:pt>
                <c:pt idx="5676">
                  <c:v>0.56829901508234859</c:v>
                </c:pt>
                <c:pt idx="5677">
                  <c:v>0.5725477794722964</c:v>
                </c:pt>
                <c:pt idx="5678">
                  <c:v>0.59932060574220758</c:v>
                </c:pt>
                <c:pt idx="5679">
                  <c:v>0.603916208041539</c:v>
                </c:pt>
                <c:pt idx="5680">
                  <c:v>0.59963684030664544</c:v>
                </c:pt>
                <c:pt idx="5681">
                  <c:v>0.59031812177070941</c:v>
                </c:pt>
                <c:pt idx="5682">
                  <c:v>0.57352708651055573</c:v>
                </c:pt>
                <c:pt idx="5683">
                  <c:v>0.57260898616218769</c:v>
                </c:pt>
                <c:pt idx="5684">
                  <c:v>0.54759075166915738</c:v>
                </c:pt>
                <c:pt idx="5685">
                  <c:v>0.56297403306181382</c:v>
                </c:pt>
                <c:pt idx="5686">
                  <c:v>0.57719438734653683</c:v>
                </c:pt>
                <c:pt idx="5687">
                  <c:v>0.58985907159652573</c:v>
                </c:pt>
                <c:pt idx="5688">
                  <c:v>0.57883676685861785</c:v>
                </c:pt>
                <c:pt idx="5689">
                  <c:v>0.55409906302758904</c:v>
                </c:pt>
                <c:pt idx="5690">
                  <c:v>0.56447359696414834</c:v>
                </c:pt>
                <c:pt idx="5691">
                  <c:v>0.57435337682408694</c:v>
                </c:pt>
                <c:pt idx="5692">
                  <c:v>0.57279770678935216</c:v>
                </c:pt>
                <c:pt idx="5693">
                  <c:v>0.54430599264499602</c:v>
                </c:pt>
                <c:pt idx="5694">
                  <c:v>0.54861596372483512</c:v>
                </c:pt>
                <c:pt idx="5695">
                  <c:v>0.54861596372483512</c:v>
                </c:pt>
                <c:pt idx="5696">
                  <c:v>0.52571446059054261</c:v>
                </c:pt>
                <c:pt idx="5697">
                  <c:v>0.54334198727920957</c:v>
                </c:pt>
                <c:pt idx="5698">
                  <c:v>0.56179070372391715</c:v>
                </c:pt>
                <c:pt idx="5699">
                  <c:v>0.54215355738382209</c:v>
                </c:pt>
                <c:pt idx="5700">
                  <c:v>0.54314306553706326</c:v>
                </c:pt>
                <c:pt idx="5701">
                  <c:v>0.55672585013541998</c:v>
                </c:pt>
                <c:pt idx="5702">
                  <c:v>0.53971039034566481</c:v>
                </c:pt>
                <c:pt idx="5703">
                  <c:v>0.52998872776794514</c:v>
                </c:pt>
                <c:pt idx="5704">
                  <c:v>0.52294485787296563</c:v>
                </c:pt>
                <c:pt idx="5705">
                  <c:v>0.4853996541822021</c:v>
                </c:pt>
                <c:pt idx="5706">
                  <c:v>0.4944582442861003</c:v>
                </c:pt>
                <c:pt idx="5707">
                  <c:v>0.49825815961684627</c:v>
                </c:pt>
                <c:pt idx="5708">
                  <c:v>0.5145340385704158</c:v>
                </c:pt>
                <c:pt idx="5709">
                  <c:v>0.53829243536318527</c:v>
                </c:pt>
                <c:pt idx="5710">
                  <c:v>0.53573195550273645</c:v>
                </c:pt>
                <c:pt idx="5711">
                  <c:v>0.53573195550273645</c:v>
                </c:pt>
                <c:pt idx="5712">
                  <c:v>0.52571956114803364</c:v>
                </c:pt>
                <c:pt idx="5713">
                  <c:v>0.52571956114803364</c:v>
                </c:pt>
                <c:pt idx="5714">
                  <c:v>0.514834971462381</c:v>
                </c:pt>
                <c:pt idx="5715">
                  <c:v>0.51985902059095057</c:v>
                </c:pt>
                <c:pt idx="5716">
                  <c:v>0.48623104505322434</c:v>
                </c:pt>
                <c:pt idx="5717">
                  <c:v>0.48633305620304301</c:v>
                </c:pt>
                <c:pt idx="5718">
                  <c:v>0.49939048337983349</c:v>
                </c:pt>
                <c:pt idx="5719">
                  <c:v>0.49338202665551356</c:v>
                </c:pt>
                <c:pt idx="5720">
                  <c:v>0.46482910582126635</c:v>
                </c:pt>
                <c:pt idx="5721">
                  <c:v>0.44859403132762421</c:v>
                </c:pt>
                <c:pt idx="5722">
                  <c:v>0.45589292909715051</c:v>
                </c:pt>
                <c:pt idx="5723">
                  <c:v>0.41289522944857882</c:v>
                </c:pt>
                <c:pt idx="5724">
                  <c:v>0.41555261990135528</c:v>
                </c:pt>
                <c:pt idx="5725">
                  <c:v>0.43983637411569099</c:v>
                </c:pt>
                <c:pt idx="5726">
                  <c:v>0.44217753000402937</c:v>
                </c:pt>
                <c:pt idx="5727">
                  <c:v>0.39985310394426121</c:v>
                </c:pt>
                <c:pt idx="5728">
                  <c:v>0.39825662944959883</c:v>
                </c:pt>
                <c:pt idx="5729">
                  <c:v>0.39919513202793055</c:v>
                </c:pt>
                <c:pt idx="5730">
                  <c:v>0.43598545321003579</c:v>
                </c:pt>
                <c:pt idx="5731">
                  <c:v>0.42317285279281025</c:v>
                </c:pt>
                <c:pt idx="5732">
                  <c:v>0.44006079864529202</c:v>
                </c:pt>
                <c:pt idx="5733">
                  <c:v>0.42301473551059132</c:v>
                </c:pt>
                <c:pt idx="5734">
                  <c:v>0.42729410324548467</c:v>
                </c:pt>
                <c:pt idx="5735">
                  <c:v>0.40115884666194024</c:v>
                </c:pt>
                <c:pt idx="5736">
                  <c:v>0.45005789132752216</c:v>
                </c:pt>
                <c:pt idx="5737">
                  <c:v>0.45005789132752216</c:v>
                </c:pt>
                <c:pt idx="5738">
                  <c:v>0.48783262010537753</c:v>
                </c:pt>
                <c:pt idx="5739">
                  <c:v>0.4953202385020683</c:v>
                </c:pt>
                <c:pt idx="5740">
                  <c:v>0.5288972084648853</c:v>
                </c:pt>
                <c:pt idx="5741">
                  <c:v>0.52599499125254412</c:v>
                </c:pt>
                <c:pt idx="5742">
                  <c:v>0.52512789647908509</c:v>
                </c:pt>
                <c:pt idx="5743">
                  <c:v>0.54889649438683641</c:v>
                </c:pt>
                <c:pt idx="5744">
                  <c:v>0.54541791417801977</c:v>
                </c:pt>
                <c:pt idx="5745">
                  <c:v>0.58440147508122631</c:v>
                </c:pt>
                <c:pt idx="5746">
                  <c:v>0.57730659961133757</c:v>
                </c:pt>
                <c:pt idx="5747">
                  <c:v>0.56671274170266828</c:v>
                </c:pt>
                <c:pt idx="5748">
                  <c:v>0.56431547968192919</c:v>
                </c:pt>
                <c:pt idx="5749">
                  <c:v>0.54074070295883336</c:v>
                </c:pt>
                <c:pt idx="5750">
                  <c:v>0.57135424901941789</c:v>
                </c:pt>
                <c:pt idx="5751">
                  <c:v>0.58806367535971704</c:v>
                </c:pt>
                <c:pt idx="5752">
                  <c:v>0.5649224460233504</c:v>
                </c:pt>
                <c:pt idx="5753">
                  <c:v>0.59087918309471243</c:v>
                </c:pt>
                <c:pt idx="5754">
                  <c:v>0.57658232044762503</c:v>
                </c:pt>
                <c:pt idx="5755">
                  <c:v>0.58851252441891888</c:v>
                </c:pt>
                <c:pt idx="5756">
                  <c:v>0.60253395696149603</c:v>
                </c:pt>
                <c:pt idx="5757">
                  <c:v>0.59259297041166592</c:v>
                </c:pt>
                <c:pt idx="5758">
                  <c:v>0.57036984142366776</c:v>
                </c:pt>
                <c:pt idx="5759">
                  <c:v>0.57420036009935882</c:v>
                </c:pt>
                <c:pt idx="5760">
                  <c:v>0.55607297877658035</c:v>
                </c:pt>
                <c:pt idx="5761">
                  <c:v>0.54982989640767754</c:v>
                </c:pt>
                <c:pt idx="5762">
                  <c:v>0.57682204664969872</c:v>
                </c:pt>
                <c:pt idx="5763">
                  <c:v>0.57503175097038106</c:v>
                </c:pt>
                <c:pt idx="5764">
                  <c:v>0.57645480651035164</c:v>
                </c:pt>
                <c:pt idx="5765">
                  <c:v>0.57208872929811228</c:v>
                </c:pt>
                <c:pt idx="5766">
                  <c:v>0.58222863759008869</c:v>
                </c:pt>
                <c:pt idx="5767">
                  <c:v>0.5632545637238151</c:v>
                </c:pt>
                <c:pt idx="5768">
                  <c:v>0.51184094421520276</c:v>
                </c:pt>
                <c:pt idx="5769">
                  <c:v>0.5214911989880493</c:v>
                </c:pt>
                <c:pt idx="5770">
                  <c:v>0.52452603069515513</c:v>
                </c:pt>
                <c:pt idx="5771">
                  <c:v>0.52163401459779557</c:v>
                </c:pt>
                <c:pt idx="5772">
                  <c:v>0.55612398435148958</c:v>
                </c:pt>
                <c:pt idx="5773">
                  <c:v>0.57629668922813271</c:v>
                </c:pt>
                <c:pt idx="5774">
                  <c:v>0.57269059508204245</c:v>
                </c:pt>
                <c:pt idx="5775">
                  <c:v>0.57481752755576188</c:v>
                </c:pt>
                <c:pt idx="5776">
                  <c:v>0.5621018377308642</c:v>
                </c:pt>
                <c:pt idx="5777">
                  <c:v>0.59929510295475308</c:v>
                </c:pt>
                <c:pt idx="5778">
                  <c:v>0.62759299591445372</c:v>
                </c:pt>
                <c:pt idx="5779">
                  <c:v>0.63087265438112383</c:v>
                </c:pt>
                <c:pt idx="5780">
                  <c:v>0.63288737459004274</c:v>
                </c:pt>
                <c:pt idx="5781">
                  <c:v>0.66892791382098071</c:v>
                </c:pt>
                <c:pt idx="5782">
                  <c:v>0.66437821653906792</c:v>
                </c:pt>
                <c:pt idx="5783">
                  <c:v>0.66348051842066336</c:v>
                </c:pt>
                <c:pt idx="5784">
                  <c:v>0.66769867946566563</c:v>
                </c:pt>
                <c:pt idx="5785">
                  <c:v>0.66769867946566563</c:v>
                </c:pt>
                <c:pt idx="5786">
                  <c:v>0.68657584273961159</c:v>
                </c:pt>
                <c:pt idx="5787">
                  <c:v>0.66480666336830607</c:v>
                </c:pt>
                <c:pt idx="5788">
                  <c:v>0.65582968218426263</c:v>
                </c:pt>
                <c:pt idx="5789">
                  <c:v>0.66852496977919706</c:v>
                </c:pt>
                <c:pt idx="5790">
                  <c:v>0.65386086699276258</c:v>
                </c:pt>
                <c:pt idx="5791">
                  <c:v>0.65308558225414037</c:v>
                </c:pt>
                <c:pt idx="5792">
                  <c:v>0.65671717918768535</c:v>
                </c:pt>
                <c:pt idx="5793">
                  <c:v>0.65225929194060916</c:v>
                </c:pt>
                <c:pt idx="5794">
                  <c:v>0.63507551375365323</c:v>
                </c:pt>
                <c:pt idx="5795">
                  <c:v>0.62220680720402743</c:v>
                </c:pt>
                <c:pt idx="5796">
                  <c:v>0.61607593709992492</c:v>
                </c:pt>
                <c:pt idx="5797">
                  <c:v>0.63872241235967087</c:v>
                </c:pt>
                <c:pt idx="5798">
                  <c:v>0.63160713465981844</c:v>
                </c:pt>
                <c:pt idx="5799">
                  <c:v>0.64059431695884372</c:v>
                </c:pt>
                <c:pt idx="5800">
                  <c:v>0.66672957354238815</c:v>
                </c:pt>
                <c:pt idx="5801">
                  <c:v>0.68148038580616865</c:v>
                </c:pt>
                <c:pt idx="5802">
                  <c:v>0.69460412023034124</c:v>
                </c:pt>
                <c:pt idx="5803">
                  <c:v>0.70736061451516652</c:v>
                </c:pt>
                <c:pt idx="5804">
                  <c:v>0.70325976629245579</c:v>
                </c:pt>
                <c:pt idx="5805">
                  <c:v>0.70781966468935065</c:v>
                </c:pt>
                <c:pt idx="5806">
                  <c:v>0.75412252559204718</c:v>
                </c:pt>
                <c:pt idx="5807">
                  <c:v>0.743901008380216</c:v>
                </c:pt>
                <c:pt idx="5808">
                  <c:v>0.7454821812024055</c:v>
                </c:pt>
                <c:pt idx="5809">
                  <c:v>0.7536277715154267</c:v>
                </c:pt>
                <c:pt idx="5810">
                  <c:v>0.73245025681306974</c:v>
                </c:pt>
                <c:pt idx="5811">
                  <c:v>0.72727829151726286</c:v>
                </c:pt>
                <c:pt idx="5812">
                  <c:v>0.71791366796390865</c:v>
                </c:pt>
                <c:pt idx="5813">
                  <c:v>0.7285228275450506</c:v>
                </c:pt>
                <c:pt idx="5814">
                  <c:v>0.71060456907940051</c:v>
                </c:pt>
                <c:pt idx="5815">
                  <c:v>0.72411084531539283</c:v>
                </c:pt>
                <c:pt idx="5816">
                  <c:v>0.72082098573374065</c:v>
                </c:pt>
                <c:pt idx="5817">
                  <c:v>0.7414068357671495</c:v>
                </c:pt>
                <c:pt idx="5818">
                  <c:v>0.74104469618529323</c:v>
                </c:pt>
                <c:pt idx="5819">
                  <c:v>0.733419362736347</c:v>
                </c:pt>
                <c:pt idx="5820">
                  <c:v>0.71991308650035468</c:v>
                </c:pt>
                <c:pt idx="5821">
                  <c:v>0.74958812998260727</c:v>
                </c:pt>
                <c:pt idx="5822">
                  <c:v>0.74227393054060808</c:v>
                </c:pt>
                <c:pt idx="5823">
                  <c:v>0.72431486761503039</c:v>
                </c:pt>
                <c:pt idx="5824">
                  <c:v>0.7359900437117779</c:v>
                </c:pt>
                <c:pt idx="5825">
                  <c:v>0.73735699311934799</c:v>
                </c:pt>
                <c:pt idx="5826">
                  <c:v>0.72407514141295648</c:v>
                </c:pt>
                <c:pt idx="5827">
                  <c:v>0.72502894566376108</c:v>
                </c:pt>
                <c:pt idx="5828">
                  <c:v>0.74009089193448863</c:v>
                </c:pt>
                <c:pt idx="5829">
                  <c:v>0.73543918350275672</c:v>
                </c:pt>
                <c:pt idx="5830">
                  <c:v>0.74005518803205206</c:v>
                </c:pt>
                <c:pt idx="5831">
                  <c:v>0.70545810657104835</c:v>
                </c:pt>
                <c:pt idx="5832">
                  <c:v>0.70571313444559491</c:v>
                </c:pt>
                <c:pt idx="5833">
                  <c:v>0.67643593444763517</c:v>
                </c:pt>
                <c:pt idx="5834">
                  <c:v>0.68461212810560212</c:v>
                </c:pt>
                <c:pt idx="5835">
                  <c:v>0.68974838949897221</c:v>
                </c:pt>
                <c:pt idx="5836">
                  <c:v>0.68356141326246944</c:v>
                </c:pt>
                <c:pt idx="5837">
                  <c:v>0.68173541368071522</c:v>
                </c:pt>
                <c:pt idx="5838">
                  <c:v>0.68173541368071522</c:v>
                </c:pt>
                <c:pt idx="5839">
                  <c:v>0.70236206817405145</c:v>
                </c:pt>
                <c:pt idx="5840">
                  <c:v>0.70085230315673508</c:v>
                </c:pt>
                <c:pt idx="5841">
                  <c:v>0.70004131451567675</c:v>
                </c:pt>
                <c:pt idx="5842">
                  <c:v>0.68723891521343283</c:v>
                </c:pt>
                <c:pt idx="5843">
                  <c:v>0.69661373988176911</c:v>
                </c:pt>
                <c:pt idx="5844">
                  <c:v>0.68639222266993793</c:v>
                </c:pt>
                <c:pt idx="5845">
                  <c:v>0.69440519848819471</c:v>
                </c:pt>
                <c:pt idx="5846">
                  <c:v>0.70840112824331714</c:v>
                </c:pt>
                <c:pt idx="5847">
                  <c:v>0.71744951723223349</c:v>
                </c:pt>
                <c:pt idx="5848">
                  <c:v>0.72107091305079662</c:v>
                </c:pt>
                <c:pt idx="5849">
                  <c:v>0.71814829360849153</c:v>
                </c:pt>
                <c:pt idx="5850">
                  <c:v>0.7447221981362564</c:v>
                </c:pt>
                <c:pt idx="5851">
                  <c:v>0.77106147701943817</c:v>
                </c:pt>
                <c:pt idx="5852">
                  <c:v>0.75712165339671644</c:v>
                </c:pt>
                <c:pt idx="5853">
                  <c:v>0.76627715409294228</c:v>
                </c:pt>
                <c:pt idx="5854">
                  <c:v>0.77175515283820539</c:v>
                </c:pt>
                <c:pt idx="5855">
                  <c:v>0.77266815262908239</c:v>
                </c:pt>
                <c:pt idx="5856">
                  <c:v>0.7685979077513172</c:v>
                </c:pt>
                <c:pt idx="5857">
                  <c:v>0.77541225255920487</c:v>
                </c:pt>
                <c:pt idx="5858">
                  <c:v>0.78333341834262482</c:v>
                </c:pt>
                <c:pt idx="5859">
                  <c:v>0.79882381144259074</c:v>
                </c:pt>
                <c:pt idx="5860">
                  <c:v>0.80982571395053493</c:v>
                </c:pt>
                <c:pt idx="5861">
                  <c:v>0.81817022600570244</c:v>
                </c:pt>
                <c:pt idx="5862">
                  <c:v>0.83038606119648883</c:v>
                </c:pt>
                <c:pt idx="5863">
                  <c:v>0.80483226816691067</c:v>
                </c:pt>
                <c:pt idx="5864">
                  <c:v>0.82382164370565714</c:v>
                </c:pt>
                <c:pt idx="5865">
                  <c:v>0.85042105102087673</c:v>
                </c:pt>
                <c:pt idx="5866">
                  <c:v>0.8598162779191767</c:v>
                </c:pt>
                <c:pt idx="5867">
                  <c:v>0.85495544663031664</c:v>
                </c:pt>
                <c:pt idx="5868">
                  <c:v>0.86821179554925365</c:v>
                </c:pt>
                <c:pt idx="5869">
                  <c:v>0.8790555807749787</c:v>
                </c:pt>
                <c:pt idx="5870">
                  <c:v>0.89693813533819244</c:v>
                </c:pt>
                <c:pt idx="5871">
                  <c:v>0.91660588502323304</c:v>
                </c:pt>
                <c:pt idx="5872">
                  <c:v>0.9101383781247292</c:v>
                </c:pt>
                <c:pt idx="5873">
                  <c:v>0.90227841903120032</c:v>
                </c:pt>
                <c:pt idx="5874">
                  <c:v>0.90227841903120032</c:v>
                </c:pt>
                <c:pt idx="5875">
                  <c:v>0.90227841903120032</c:v>
                </c:pt>
                <c:pt idx="5876">
                  <c:v>0.91524913673064479</c:v>
                </c:pt>
                <c:pt idx="5877">
                  <c:v>0.90222231289879984</c:v>
                </c:pt>
                <c:pt idx="5878">
                  <c:v>0.90222231289879984</c:v>
                </c:pt>
                <c:pt idx="5879">
                  <c:v>0.93405999275720841</c:v>
                </c:pt>
                <c:pt idx="5880">
                  <c:v>0.93564116557939792</c:v>
                </c:pt>
                <c:pt idx="5881">
                  <c:v>0.91602442146926655</c:v>
                </c:pt>
                <c:pt idx="5882">
                  <c:v>0.89891205108718375</c:v>
                </c:pt>
                <c:pt idx="5883">
                  <c:v>0.88723687499043646</c:v>
                </c:pt>
                <c:pt idx="5884">
                  <c:v>0.89088887415394491</c:v>
                </c:pt>
                <c:pt idx="5885">
                  <c:v>0.89533145972854822</c:v>
                </c:pt>
                <c:pt idx="5886">
                  <c:v>0.88377359645409248</c:v>
                </c:pt>
                <c:pt idx="5887">
                  <c:v>0.8854006742937004</c:v>
                </c:pt>
                <c:pt idx="5888">
                  <c:v>0.86498314265749254</c:v>
                </c:pt>
                <c:pt idx="5889">
                  <c:v>0.88909347791713622</c:v>
                </c:pt>
                <c:pt idx="5890">
                  <c:v>0.89057263958950705</c:v>
                </c:pt>
                <c:pt idx="5891">
                  <c:v>0.89423483986799779</c:v>
                </c:pt>
                <c:pt idx="5892">
                  <c:v>0.89015949443274156</c:v>
                </c:pt>
                <c:pt idx="5893">
                  <c:v>0.88411023324849403</c:v>
                </c:pt>
                <c:pt idx="5894">
                  <c:v>0.89165395777758505</c:v>
                </c:pt>
                <c:pt idx="5895">
                  <c:v>0.87227693986952781</c:v>
                </c:pt>
                <c:pt idx="5896">
                  <c:v>0.85694466405178105</c:v>
                </c:pt>
                <c:pt idx="5897">
                  <c:v>0.85905119429553656</c:v>
                </c:pt>
                <c:pt idx="5898">
                  <c:v>0.83827662363496347</c:v>
                </c:pt>
                <c:pt idx="5899">
                  <c:v>0.83577735046440593</c:v>
                </c:pt>
                <c:pt idx="5900">
                  <c:v>0.84051066781599215</c:v>
                </c:pt>
                <c:pt idx="5901">
                  <c:v>0.81881799680705103</c:v>
                </c:pt>
                <c:pt idx="5902">
                  <c:v>0.8302483461442336</c:v>
                </c:pt>
                <c:pt idx="5903">
                  <c:v>0.80832104949070938</c:v>
                </c:pt>
                <c:pt idx="5904">
                  <c:v>0.81713991339253389</c:v>
                </c:pt>
                <c:pt idx="5905">
                  <c:v>0.83774106509841539</c:v>
                </c:pt>
                <c:pt idx="5906">
                  <c:v>0.83954666245020593</c:v>
                </c:pt>
                <c:pt idx="5907">
                  <c:v>0.81937395757356302</c:v>
                </c:pt>
                <c:pt idx="5908">
                  <c:v>0.81990951611011087</c:v>
                </c:pt>
                <c:pt idx="5909">
                  <c:v>0.80897392084954878</c:v>
                </c:pt>
                <c:pt idx="5910">
                  <c:v>0.81727252788729809</c:v>
                </c:pt>
                <c:pt idx="5911">
                  <c:v>0.8243112972247868</c:v>
                </c:pt>
                <c:pt idx="5912">
                  <c:v>0.7992471577143383</c:v>
                </c:pt>
                <c:pt idx="5913">
                  <c:v>0.79432511973558717</c:v>
                </c:pt>
                <c:pt idx="5914">
                  <c:v>0.794891281617081</c:v>
                </c:pt>
                <c:pt idx="5915">
                  <c:v>0.80790790433394388</c:v>
                </c:pt>
                <c:pt idx="5916">
                  <c:v>0.7885053836384317</c:v>
                </c:pt>
                <c:pt idx="5917">
                  <c:v>0.80455683806240019</c:v>
                </c:pt>
                <c:pt idx="5918">
                  <c:v>0.80576567018775158</c:v>
                </c:pt>
                <c:pt idx="5919">
                  <c:v>0.80639303875913648</c:v>
                </c:pt>
                <c:pt idx="5920">
                  <c:v>0.79616132043232324</c:v>
                </c:pt>
                <c:pt idx="5921">
                  <c:v>0.82467343680664307</c:v>
                </c:pt>
                <c:pt idx="5922">
                  <c:v>0.82738183283432898</c:v>
                </c:pt>
                <c:pt idx="5923">
                  <c:v>0.82248019708554154</c:v>
                </c:pt>
                <c:pt idx="5924">
                  <c:v>0.83426248488959831</c:v>
                </c:pt>
                <c:pt idx="5925">
                  <c:v>0.82579045889715763</c:v>
                </c:pt>
                <c:pt idx="5926">
                  <c:v>0.82814181590047786</c:v>
                </c:pt>
                <c:pt idx="5927">
                  <c:v>0.82192423631902978</c:v>
                </c:pt>
                <c:pt idx="5928">
                  <c:v>0.84026074049893662</c:v>
                </c:pt>
                <c:pt idx="5929">
                  <c:v>0.83102363088285558</c:v>
                </c:pt>
                <c:pt idx="5930">
                  <c:v>0.8071581223827764</c:v>
                </c:pt>
                <c:pt idx="5931">
                  <c:v>0.78362415011960818</c:v>
                </c:pt>
                <c:pt idx="5932">
                  <c:v>0.78411890419622865</c:v>
                </c:pt>
                <c:pt idx="5933">
                  <c:v>0.76438994782129699</c:v>
                </c:pt>
                <c:pt idx="5934">
                  <c:v>0.74538527061007764</c:v>
                </c:pt>
                <c:pt idx="5935">
                  <c:v>0.72289691263255085</c:v>
                </c:pt>
                <c:pt idx="5936">
                  <c:v>0.73315923430430963</c:v>
                </c:pt>
                <c:pt idx="5937">
                  <c:v>0.75662179876260471</c:v>
                </c:pt>
                <c:pt idx="5938">
                  <c:v>0.74542097451251421</c:v>
                </c:pt>
                <c:pt idx="5939">
                  <c:v>0.74542097451251421</c:v>
                </c:pt>
                <c:pt idx="5940">
                  <c:v>0.74955242608017048</c:v>
                </c:pt>
                <c:pt idx="5941">
                  <c:v>0.72066286845152172</c:v>
                </c:pt>
                <c:pt idx="5942">
                  <c:v>0.72522276684841658</c:v>
                </c:pt>
                <c:pt idx="5943">
                  <c:v>0.72797196733602987</c:v>
                </c:pt>
                <c:pt idx="5944">
                  <c:v>0.72675293409569686</c:v>
                </c:pt>
                <c:pt idx="5945">
                  <c:v>0.7323992512381603</c:v>
                </c:pt>
                <c:pt idx="5946">
                  <c:v>0.74967994001744387</c:v>
                </c:pt>
                <c:pt idx="5947">
                  <c:v>0.77810534691441768</c:v>
                </c:pt>
                <c:pt idx="5948">
                  <c:v>0.76928648301259339</c:v>
                </c:pt>
                <c:pt idx="5949">
                  <c:v>0.73460269207424367</c:v>
                </c:pt>
                <c:pt idx="5950">
                  <c:v>0.73460269207424367</c:v>
                </c:pt>
                <c:pt idx="5951">
                  <c:v>0.70102572211142689</c:v>
                </c:pt>
                <c:pt idx="5952">
                  <c:v>0.67491596831533696</c:v>
                </c:pt>
                <c:pt idx="5953">
                  <c:v>0.68118455347169449</c:v>
                </c:pt>
                <c:pt idx="5954">
                  <c:v>0.68144978246122312</c:v>
                </c:pt>
                <c:pt idx="5955">
                  <c:v>0.67805791172975205</c:v>
                </c:pt>
                <c:pt idx="5956">
                  <c:v>0.68782547932489013</c:v>
                </c:pt>
                <c:pt idx="5957">
                  <c:v>0.68884559082307706</c:v>
                </c:pt>
                <c:pt idx="5958">
                  <c:v>0.69325247249524358</c:v>
                </c:pt>
                <c:pt idx="5959">
                  <c:v>0.69998520838327627</c:v>
                </c:pt>
                <c:pt idx="5960">
                  <c:v>0.71176749618733326</c:v>
                </c:pt>
                <c:pt idx="5961">
                  <c:v>0.71176749618733326</c:v>
                </c:pt>
                <c:pt idx="5962">
                  <c:v>0.70198972747721333</c:v>
                </c:pt>
                <c:pt idx="5963">
                  <c:v>0.70198972747721333</c:v>
                </c:pt>
                <c:pt idx="5964">
                  <c:v>0.72658461569849608</c:v>
                </c:pt>
                <c:pt idx="5965">
                  <c:v>0.73293480977470837</c:v>
                </c:pt>
                <c:pt idx="5966">
                  <c:v>0.74775702984336179</c:v>
                </c:pt>
                <c:pt idx="5967">
                  <c:v>0.73377130120322143</c:v>
                </c:pt>
                <c:pt idx="5968">
                  <c:v>0.72580423040238307</c:v>
                </c:pt>
                <c:pt idx="5969">
                  <c:v>0.73907588099379273</c:v>
                </c:pt>
                <c:pt idx="5970">
                  <c:v>0.76305360175867243</c:v>
                </c:pt>
                <c:pt idx="5971">
                  <c:v>0.77934478238471483</c:v>
                </c:pt>
                <c:pt idx="5972">
                  <c:v>0.76749618733327574</c:v>
                </c:pt>
                <c:pt idx="5973">
                  <c:v>0.76804704754229647</c:v>
                </c:pt>
                <c:pt idx="5974">
                  <c:v>0.75748379297857271</c:v>
                </c:pt>
                <c:pt idx="5975">
                  <c:v>0.75270457060956786</c:v>
                </c:pt>
                <c:pt idx="5976">
                  <c:v>0.75390830217742799</c:v>
                </c:pt>
                <c:pt idx="5977">
                  <c:v>0.74465079033138348</c:v>
                </c:pt>
                <c:pt idx="5978">
                  <c:v>0.76325252350081874</c:v>
                </c:pt>
                <c:pt idx="5979">
                  <c:v>0.82594857617937656</c:v>
                </c:pt>
                <c:pt idx="5980">
                  <c:v>0.82366862698092902</c:v>
                </c:pt>
                <c:pt idx="5981">
                  <c:v>0.82366862698092902</c:v>
                </c:pt>
                <c:pt idx="5982">
                  <c:v>0.84004651708431743</c:v>
                </c:pt>
                <c:pt idx="5983">
                  <c:v>0.80906573088438583</c:v>
                </c:pt>
                <c:pt idx="5984">
                  <c:v>0.82333199018652747</c:v>
                </c:pt>
                <c:pt idx="5985">
                  <c:v>0.82228637590088582</c:v>
                </c:pt>
                <c:pt idx="5986">
                  <c:v>0.81101924440341344</c:v>
                </c:pt>
                <c:pt idx="5987">
                  <c:v>0.84324966718862382</c:v>
                </c:pt>
                <c:pt idx="5988">
                  <c:v>0.85404244683943964</c:v>
                </c:pt>
                <c:pt idx="5989">
                  <c:v>0.83975068474984327</c:v>
                </c:pt>
                <c:pt idx="5990">
                  <c:v>0.83788898126565248</c:v>
                </c:pt>
                <c:pt idx="5991">
                  <c:v>0.83133476488980262</c:v>
                </c:pt>
                <c:pt idx="5992">
                  <c:v>0.83554272481982284</c:v>
                </c:pt>
                <c:pt idx="5993">
                  <c:v>0.82438780558715075</c:v>
                </c:pt>
                <c:pt idx="5994">
                  <c:v>0.81829773994297583</c:v>
                </c:pt>
                <c:pt idx="5995">
                  <c:v>0.79862488970044421</c:v>
                </c:pt>
                <c:pt idx="5996">
                  <c:v>0.71255808259842812</c:v>
                </c:pt>
                <c:pt idx="5997">
                  <c:v>0.66465874720106899</c:v>
                </c:pt>
                <c:pt idx="5998">
                  <c:v>0.67257991298448938</c:v>
                </c:pt>
                <c:pt idx="5999">
                  <c:v>0.67758355988309527</c:v>
                </c:pt>
                <c:pt idx="6000">
                  <c:v>0.67756315765313158</c:v>
                </c:pt>
                <c:pt idx="6001">
                  <c:v>0.62556297403306194</c:v>
                </c:pt>
                <c:pt idx="6002">
                  <c:v>0.67680317458698225</c:v>
                </c:pt>
                <c:pt idx="6003">
                  <c:v>0.67053968998811575</c:v>
                </c:pt>
                <c:pt idx="6004">
                  <c:v>0.70601406733756011</c:v>
                </c:pt>
                <c:pt idx="6005">
                  <c:v>0.69155398685076275</c:v>
                </c:pt>
                <c:pt idx="6006">
                  <c:v>0.68451011695578323</c:v>
                </c:pt>
                <c:pt idx="6007">
                  <c:v>0.66191974782843777</c:v>
                </c:pt>
                <c:pt idx="6008">
                  <c:v>0.65855337988442142</c:v>
                </c:pt>
                <c:pt idx="6009">
                  <c:v>0.69137036678108932</c:v>
                </c:pt>
                <c:pt idx="6010">
                  <c:v>0.71733220440994194</c:v>
                </c:pt>
                <c:pt idx="6011">
                  <c:v>0.73520965841566488</c:v>
                </c:pt>
                <c:pt idx="6012">
                  <c:v>0.73744880315418482</c:v>
                </c:pt>
                <c:pt idx="6013">
                  <c:v>0.7353881779278475</c:v>
                </c:pt>
                <c:pt idx="6014">
                  <c:v>0.74259016510504594</c:v>
                </c:pt>
                <c:pt idx="6015">
                  <c:v>0.73544938461773857</c:v>
                </c:pt>
                <c:pt idx="6016">
                  <c:v>0.74524245500033159</c:v>
                </c:pt>
                <c:pt idx="6017">
                  <c:v>0.74387040503527047</c:v>
                </c:pt>
                <c:pt idx="6018">
                  <c:v>0.75578530733409166</c:v>
                </c:pt>
                <c:pt idx="6019">
                  <c:v>0.75808565876250267</c:v>
                </c:pt>
                <c:pt idx="6020">
                  <c:v>0.75326563193357043</c:v>
                </c:pt>
                <c:pt idx="6021">
                  <c:v>0.7330674242694728</c:v>
                </c:pt>
                <c:pt idx="6022">
                  <c:v>0.74019290308430707</c:v>
                </c:pt>
                <c:pt idx="6023">
                  <c:v>0.74665020886782929</c:v>
                </c:pt>
                <c:pt idx="6024">
                  <c:v>0.7608858648250254</c:v>
                </c:pt>
                <c:pt idx="6025">
                  <c:v>0.77946209520700638</c:v>
                </c:pt>
                <c:pt idx="6026">
                  <c:v>0.8178386897687917</c:v>
                </c:pt>
                <c:pt idx="6027">
                  <c:v>0.82078171144106049</c:v>
                </c:pt>
                <c:pt idx="6028">
                  <c:v>0.79126988579851787</c:v>
                </c:pt>
                <c:pt idx="6029">
                  <c:v>0.80130778294067562</c:v>
                </c:pt>
                <c:pt idx="6030">
                  <c:v>0.82128666663266303</c:v>
                </c:pt>
                <c:pt idx="6031">
                  <c:v>0.82724921833956455</c:v>
                </c:pt>
                <c:pt idx="6032">
                  <c:v>0.8467537501848954</c:v>
                </c:pt>
                <c:pt idx="6033">
                  <c:v>0.84845733638686727</c:v>
                </c:pt>
                <c:pt idx="6034">
                  <c:v>0.86277970182140917</c:v>
                </c:pt>
                <c:pt idx="6035">
                  <c:v>0.86277970182140917</c:v>
                </c:pt>
                <c:pt idx="6036">
                  <c:v>0.85095660955742458</c:v>
                </c:pt>
                <c:pt idx="6037">
                  <c:v>0.84583054927903634</c:v>
                </c:pt>
                <c:pt idx="6038">
                  <c:v>0.82046547687662263</c:v>
                </c:pt>
                <c:pt idx="6039">
                  <c:v>0.82033796293934946</c:v>
                </c:pt>
                <c:pt idx="6040">
                  <c:v>0.84900309603839696</c:v>
                </c:pt>
                <c:pt idx="6041">
                  <c:v>0.84636100725809338</c:v>
                </c:pt>
                <c:pt idx="6042">
                  <c:v>0.84688636467965939</c:v>
                </c:pt>
                <c:pt idx="6043">
                  <c:v>0.8084791667729283</c:v>
                </c:pt>
                <c:pt idx="6044">
                  <c:v>0.80406718454327053</c:v>
                </c:pt>
                <c:pt idx="6045">
                  <c:v>0.80864238461263804</c:v>
                </c:pt>
                <c:pt idx="6046">
                  <c:v>0.82115405213789883</c:v>
                </c:pt>
                <c:pt idx="6047">
                  <c:v>0.81451312628470296</c:v>
                </c:pt>
                <c:pt idx="6048">
                  <c:v>0.76926098022513867</c:v>
                </c:pt>
                <c:pt idx="6049">
                  <c:v>0.68729502134583309</c:v>
                </c:pt>
                <c:pt idx="6050">
                  <c:v>0.71602646169226292</c:v>
                </c:pt>
                <c:pt idx="6051">
                  <c:v>0.75578530733409166</c:v>
                </c:pt>
                <c:pt idx="6052">
                  <c:v>0.80666846886364674</c:v>
                </c:pt>
                <c:pt idx="6053">
                  <c:v>0.82587206781701239</c:v>
                </c:pt>
                <c:pt idx="6054">
                  <c:v>0.84061777952330186</c:v>
                </c:pt>
                <c:pt idx="6055">
                  <c:v>0.82236798482074103</c:v>
                </c:pt>
                <c:pt idx="6056">
                  <c:v>0.80642874266157305</c:v>
                </c:pt>
                <c:pt idx="6057">
                  <c:v>0.82930474300841084</c:v>
                </c:pt>
                <c:pt idx="6058">
                  <c:v>0.82808570976807783</c:v>
                </c:pt>
                <c:pt idx="6059">
                  <c:v>0.86453939415578129</c:v>
                </c:pt>
                <c:pt idx="6060">
                  <c:v>0.86240736112457106</c:v>
                </c:pt>
                <c:pt idx="6061">
                  <c:v>0.84733011318137086</c:v>
                </c:pt>
                <c:pt idx="6062">
                  <c:v>0.85072708447033274</c:v>
                </c:pt>
                <c:pt idx="6063">
                  <c:v>0.86160147304100354</c:v>
                </c:pt>
                <c:pt idx="6064">
                  <c:v>0.88380930035652905</c:v>
                </c:pt>
                <c:pt idx="6065">
                  <c:v>0.87346026920742448</c:v>
                </c:pt>
                <c:pt idx="6066">
                  <c:v>0.84954885568992711</c:v>
                </c:pt>
                <c:pt idx="6067">
                  <c:v>0.86628378481768054</c:v>
                </c:pt>
                <c:pt idx="6068">
                  <c:v>0.86566151680378689</c:v>
                </c:pt>
                <c:pt idx="6069">
                  <c:v>0.87169547631556132</c:v>
                </c:pt>
                <c:pt idx="6070">
                  <c:v>0.85191551436572022</c:v>
                </c:pt>
                <c:pt idx="6071">
                  <c:v>0.84077079624802997</c:v>
                </c:pt>
                <c:pt idx="6072">
                  <c:v>0.83538970809509472</c:v>
                </c:pt>
                <c:pt idx="6073">
                  <c:v>0.84395354412237245</c:v>
                </c:pt>
                <c:pt idx="6074">
                  <c:v>0.90923047889134279</c:v>
                </c:pt>
                <c:pt idx="6075">
                  <c:v>0.92542474892505755</c:v>
                </c:pt>
                <c:pt idx="6076">
                  <c:v>0.93248392049250994</c:v>
                </c:pt>
                <c:pt idx="6077">
                  <c:v>0.92596540801909644</c:v>
                </c:pt>
                <c:pt idx="6078">
                  <c:v>0.93745696404617029</c:v>
                </c:pt>
                <c:pt idx="6079">
                  <c:v>0.91403520404780236</c:v>
                </c:pt>
                <c:pt idx="6080">
                  <c:v>0.92193086704376781</c:v>
                </c:pt>
                <c:pt idx="6081">
                  <c:v>0.97566524021075507</c:v>
                </c:pt>
                <c:pt idx="6082">
                  <c:v>0.96781548223220804</c:v>
                </c:pt>
                <c:pt idx="6083">
                  <c:v>0.95146819547376515</c:v>
                </c:pt>
                <c:pt idx="6084">
                  <c:v>0.97320677150012513</c:v>
                </c:pt>
                <c:pt idx="6085">
                  <c:v>0.96253130467160064</c:v>
                </c:pt>
                <c:pt idx="6086">
                  <c:v>0.97811350780640338</c:v>
                </c:pt>
                <c:pt idx="6087">
                  <c:v>0.99112502996577523</c:v>
                </c:pt>
                <c:pt idx="6088">
                  <c:v>0.97481854766726017</c:v>
                </c:pt>
                <c:pt idx="6089">
                  <c:v>0.95583937324349555</c:v>
                </c:pt>
                <c:pt idx="6090">
                  <c:v>0.95583937324349555</c:v>
                </c:pt>
                <c:pt idx="6091">
                  <c:v>0.97066669386964</c:v>
                </c:pt>
                <c:pt idx="6092">
                  <c:v>0.94998903380139454</c:v>
                </c:pt>
                <c:pt idx="6093">
                  <c:v>0.96952926954916174</c:v>
                </c:pt>
                <c:pt idx="6094">
                  <c:v>0.96639752724972849</c:v>
                </c:pt>
                <c:pt idx="6095">
                  <c:v>0.95196805010787666</c:v>
                </c:pt>
                <c:pt idx="6096">
                  <c:v>0.95196805010787666</c:v>
                </c:pt>
                <c:pt idx="6097">
                  <c:v>0.94767848125800147</c:v>
                </c:pt>
                <c:pt idx="6098">
                  <c:v>0.92062002376859797</c:v>
                </c:pt>
                <c:pt idx="6099">
                  <c:v>0.94428150996903981</c:v>
                </c:pt>
                <c:pt idx="6100">
                  <c:v>0.981454372962965</c:v>
                </c:pt>
                <c:pt idx="6101">
                  <c:v>1.0399883707289206</c:v>
                </c:pt>
                <c:pt idx="6102">
                  <c:v>1.0231922349112761</c:v>
                </c:pt>
                <c:pt idx="6103">
                  <c:v>1.0187802526816183</c:v>
                </c:pt>
                <c:pt idx="6104">
                  <c:v>1.0086556460621146</c:v>
                </c:pt>
                <c:pt idx="6105">
                  <c:v>1.0152659685703651</c:v>
                </c:pt>
                <c:pt idx="6106">
                  <c:v>1.0345154725411487</c:v>
                </c:pt>
                <c:pt idx="6107">
                  <c:v>1.0020555246688465</c:v>
                </c:pt>
                <c:pt idx="6108">
                  <c:v>1.0151282535181099</c:v>
                </c:pt>
                <c:pt idx="6109">
                  <c:v>1.0107570757483795</c:v>
                </c:pt>
                <c:pt idx="6110">
                  <c:v>0.9726406096186313</c:v>
                </c:pt>
                <c:pt idx="6111">
                  <c:v>0.95103974864452701</c:v>
                </c:pt>
                <c:pt idx="6112">
                  <c:v>0.94313388453357971</c:v>
                </c:pt>
                <c:pt idx="6113">
                  <c:v>0.92784241317576011</c:v>
                </c:pt>
                <c:pt idx="6114">
                  <c:v>0.92866870348929131</c:v>
                </c:pt>
                <c:pt idx="6115">
                  <c:v>0.92836777059732634</c:v>
                </c:pt>
                <c:pt idx="6116">
                  <c:v>0.92513401714807442</c:v>
                </c:pt>
                <c:pt idx="6117">
                  <c:v>0.92169624139918493</c:v>
                </c:pt>
                <c:pt idx="6118">
                  <c:v>0.89867742544260087</c:v>
                </c:pt>
                <c:pt idx="6119">
                  <c:v>0.89016459499023259</c:v>
                </c:pt>
                <c:pt idx="6120">
                  <c:v>0.89312291833497404</c:v>
                </c:pt>
                <c:pt idx="6121">
                  <c:v>0.86106081394696443</c:v>
                </c:pt>
                <c:pt idx="6122">
                  <c:v>0.86591144412084242</c:v>
                </c:pt>
                <c:pt idx="6123">
                  <c:v>0.85014562091636625</c:v>
                </c:pt>
                <c:pt idx="6124">
                  <c:v>0.8739652243990268</c:v>
                </c:pt>
                <c:pt idx="6125">
                  <c:v>0.87812217875413801</c:v>
                </c:pt>
                <c:pt idx="6126">
                  <c:v>0.87812217875413801</c:v>
                </c:pt>
                <c:pt idx="6127">
                  <c:v>0.87812217875413801</c:v>
                </c:pt>
                <c:pt idx="6128">
                  <c:v>0.87047134251773728</c:v>
                </c:pt>
                <c:pt idx="6129">
                  <c:v>0.86784455540990635</c:v>
                </c:pt>
                <c:pt idx="6130">
                  <c:v>0.86784455540990635</c:v>
                </c:pt>
                <c:pt idx="6131">
                  <c:v>0.89098578474627277</c:v>
                </c:pt>
                <c:pt idx="6132">
                  <c:v>0.87114461610654059</c:v>
                </c:pt>
                <c:pt idx="6133">
                  <c:v>0.87114461610654059</c:v>
                </c:pt>
                <c:pt idx="6134">
                  <c:v>0.82787658691094945</c:v>
                </c:pt>
                <c:pt idx="6135">
                  <c:v>0.83859795875689214</c:v>
                </c:pt>
                <c:pt idx="6136">
                  <c:v>0.80915754091922243</c:v>
                </c:pt>
                <c:pt idx="6137">
                  <c:v>0.81098864105846791</c:v>
                </c:pt>
                <c:pt idx="6138">
                  <c:v>0.83899070168369394</c:v>
                </c:pt>
                <c:pt idx="6139">
                  <c:v>0.84961516293730921</c:v>
                </c:pt>
                <c:pt idx="6140">
                  <c:v>0.86450369025334473</c:v>
                </c:pt>
                <c:pt idx="6141">
                  <c:v>0.86853823122867335</c:v>
                </c:pt>
                <c:pt idx="6142">
                  <c:v>0.84863075534155885</c:v>
                </c:pt>
                <c:pt idx="6143">
                  <c:v>0.8758473301131815</c:v>
                </c:pt>
                <c:pt idx="6144">
                  <c:v>0.89258225924093515</c:v>
                </c:pt>
                <c:pt idx="6145">
                  <c:v>0.87204231422494494</c:v>
                </c:pt>
                <c:pt idx="6146">
                  <c:v>0.82619340293894128</c:v>
                </c:pt>
                <c:pt idx="6147">
                  <c:v>0.80333780482206718</c:v>
                </c:pt>
                <c:pt idx="6148">
                  <c:v>0.8156046455877628</c:v>
                </c:pt>
                <c:pt idx="6149">
                  <c:v>0.79967050398608586</c:v>
                </c:pt>
                <c:pt idx="6150">
                  <c:v>0.81721132119740703</c:v>
                </c:pt>
                <c:pt idx="6151">
                  <c:v>0.83277312210224586</c:v>
                </c:pt>
                <c:pt idx="6152">
                  <c:v>0.84340778447084275</c:v>
                </c:pt>
                <c:pt idx="6153">
                  <c:v>0.83114604426263794</c:v>
                </c:pt>
                <c:pt idx="6154">
                  <c:v>0.8351856857954576</c:v>
                </c:pt>
                <c:pt idx="6155">
                  <c:v>0.88223322809183058</c:v>
                </c:pt>
                <c:pt idx="6156">
                  <c:v>0.88337575296979964</c:v>
                </c:pt>
                <c:pt idx="6157">
                  <c:v>0.87591873791805441</c:v>
                </c:pt>
                <c:pt idx="6158">
                  <c:v>0.9010899891358124</c:v>
                </c:pt>
                <c:pt idx="6159">
                  <c:v>0.93133119449955903</c:v>
                </c:pt>
                <c:pt idx="6160">
                  <c:v>0.93683979658976724</c:v>
                </c:pt>
                <c:pt idx="6161">
                  <c:v>0.93145870843683243</c:v>
                </c:pt>
                <c:pt idx="6162">
                  <c:v>0.92222159882075116</c:v>
                </c:pt>
                <c:pt idx="6163">
                  <c:v>0.93409059610215417</c:v>
                </c:pt>
                <c:pt idx="6164">
                  <c:v>0.91596831533686629</c:v>
                </c:pt>
                <c:pt idx="6165">
                  <c:v>0.93533003157245087</c:v>
                </c:pt>
                <c:pt idx="6166">
                  <c:v>0.96580586258078016</c:v>
                </c:pt>
                <c:pt idx="6167">
                  <c:v>0.95037667617070554</c:v>
                </c:pt>
                <c:pt idx="6168">
                  <c:v>0.92806173714787032</c:v>
                </c:pt>
                <c:pt idx="6169">
                  <c:v>0.91991104627735809</c:v>
                </c:pt>
                <c:pt idx="6170">
                  <c:v>0.95929755122234872</c:v>
                </c:pt>
                <c:pt idx="6171">
                  <c:v>0.85922461325022814</c:v>
                </c:pt>
                <c:pt idx="6172">
                  <c:v>0.9004779222369006</c:v>
                </c:pt>
                <c:pt idx="6173">
                  <c:v>0.90241103352596452</c:v>
                </c:pt>
                <c:pt idx="6174">
                  <c:v>0.91378527673074683</c:v>
                </c:pt>
                <c:pt idx="6175">
                  <c:v>0.8944337616101441</c:v>
                </c:pt>
                <c:pt idx="6176">
                  <c:v>0.86472301422545494</c:v>
                </c:pt>
                <c:pt idx="6177">
                  <c:v>0.86788535986983373</c:v>
                </c:pt>
                <c:pt idx="6178">
                  <c:v>0.84335167833844249</c:v>
                </c:pt>
                <c:pt idx="6179">
                  <c:v>0.8199146166676019</c:v>
                </c:pt>
                <c:pt idx="6180">
                  <c:v>0.82194973910648428</c:v>
                </c:pt>
                <c:pt idx="6181">
                  <c:v>0.86306533304090149</c:v>
                </c:pt>
                <c:pt idx="6182">
                  <c:v>0.85109942516717085</c:v>
                </c:pt>
                <c:pt idx="6183">
                  <c:v>0.83656283631800954</c:v>
                </c:pt>
                <c:pt idx="6184">
                  <c:v>0.84714649311169721</c:v>
                </c:pt>
                <c:pt idx="6185">
                  <c:v>0.8406024778508292</c:v>
                </c:pt>
                <c:pt idx="6186">
                  <c:v>0.8373534227291044</c:v>
                </c:pt>
                <c:pt idx="6187">
                  <c:v>0.86833930948652704</c:v>
                </c:pt>
                <c:pt idx="6188">
                  <c:v>0.88621166293475895</c:v>
                </c:pt>
                <c:pt idx="6189">
                  <c:v>0.88403882544362111</c:v>
                </c:pt>
                <c:pt idx="6190">
                  <c:v>0.89333714174959322</c:v>
                </c:pt>
                <c:pt idx="6191">
                  <c:v>0.91568268411737397</c:v>
                </c:pt>
                <c:pt idx="6192">
                  <c:v>0.91591730976195707</c:v>
                </c:pt>
                <c:pt idx="6193">
                  <c:v>0.92422101735719719</c:v>
                </c:pt>
                <c:pt idx="6194">
                  <c:v>0.90558358028532537</c:v>
                </c:pt>
                <c:pt idx="6195">
                  <c:v>0.92270615178238979</c:v>
                </c:pt>
                <c:pt idx="6196">
                  <c:v>0.90858780864748523</c:v>
                </c:pt>
                <c:pt idx="6197">
                  <c:v>0.91806974502313121</c:v>
                </c:pt>
                <c:pt idx="6198">
                  <c:v>0.91513182390835324</c:v>
                </c:pt>
                <c:pt idx="6199">
                  <c:v>0.92217569380333275</c:v>
                </c:pt>
                <c:pt idx="6200">
                  <c:v>0.91697312516258034</c:v>
                </c:pt>
                <c:pt idx="6201">
                  <c:v>0.89871312934503744</c:v>
                </c:pt>
                <c:pt idx="6202">
                  <c:v>0.87278189506113013</c:v>
                </c:pt>
                <c:pt idx="6203">
                  <c:v>0.86362129380741326</c:v>
                </c:pt>
                <c:pt idx="6204">
                  <c:v>0.89346975624435765</c:v>
                </c:pt>
                <c:pt idx="6205">
                  <c:v>0.89346975624435765</c:v>
                </c:pt>
                <c:pt idx="6206">
                  <c:v>0.91321401429176197</c:v>
                </c:pt>
                <c:pt idx="6207">
                  <c:v>0.91022508760207499</c:v>
                </c:pt>
                <c:pt idx="6208">
                  <c:v>0.90544586523307014</c:v>
                </c:pt>
                <c:pt idx="6209">
                  <c:v>0.89178657227234948</c:v>
                </c:pt>
                <c:pt idx="6210">
                  <c:v>0.89835098976318117</c:v>
                </c:pt>
                <c:pt idx="6211">
                  <c:v>0.91163284146957269</c:v>
                </c:pt>
                <c:pt idx="6212">
                  <c:v>0.90428293812513716</c:v>
                </c:pt>
                <c:pt idx="6213">
                  <c:v>0.90428293812513716</c:v>
                </c:pt>
                <c:pt idx="6214">
                  <c:v>0.89878963770740139</c:v>
                </c:pt>
                <c:pt idx="6215">
                  <c:v>0.87834660328373904</c:v>
                </c:pt>
                <c:pt idx="6216">
                  <c:v>0.86541158948673091</c:v>
                </c:pt>
                <c:pt idx="6217">
                  <c:v>0.86551360063654958</c:v>
                </c:pt>
                <c:pt idx="6218">
                  <c:v>0.87679603380649529</c:v>
                </c:pt>
                <c:pt idx="6219">
                  <c:v>0.86424356182130713</c:v>
                </c:pt>
                <c:pt idx="6220">
                  <c:v>0.88368178641925565</c:v>
                </c:pt>
                <c:pt idx="6221">
                  <c:v>0.88408473046103953</c:v>
                </c:pt>
                <c:pt idx="6222">
                  <c:v>0.89116430425845561</c:v>
                </c:pt>
                <c:pt idx="6223">
                  <c:v>0.87090999046195772</c:v>
                </c:pt>
                <c:pt idx="6224">
                  <c:v>0.86882896300565648</c:v>
                </c:pt>
                <c:pt idx="6225">
                  <c:v>0.8764593970120933</c:v>
                </c:pt>
                <c:pt idx="6226">
                  <c:v>0.88431425554813137</c:v>
                </c:pt>
                <c:pt idx="6227">
                  <c:v>0.88827738871858686</c:v>
                </c:pt>
                <c:pt idx="6228">
                  <c:v>0.92674069275771864</c:v>
                </c:pt>
                <c:pt idx="6229">
                  <c:v>0.92759758641619539</c:v>
                </c:pt>
                <c:pt idx="6230">
                  <c:v>0.9265213687856082</c:v>
                </c:pt>
                <c:pt idx="6231">
                  <c:v>0.91416271798507576</c:v>
                </c:pt>
                <c:pt idx="6232">
                  <c:v>0.92742416746150358</c:v>
                </c:pt>
                <c:pt idx="6233">
                  <c:v>0.89944250906624079</c:v>
                </c:pt>
                <c:pt idx="6234">
                  <c:v>0.90783292613882716</c:v>
                </c:pt>
                <c:pt idx="6235">
                  <c:v>0.91266315408274123</c:v>
                </c:pt>
                <c:pt idx="6236">
                  <c:v>0.92493509540592789</c:v>
                </c:pt>
                <c:pt idx="6237">
                  <c:v>0.93957879596239868</c:v>
                </c:pt>
                <c:pt idx="6238">
                  <c:v>0.95353902181508454</c:v>
                </c:pt>
                <c:pt idx="6239">
                  <c:v>0.93940027645021607</c:v>
                </c:pt>
                <c:pt idx="6240">
                  <c:v>0.95402357477672317</c:v>
                </c:pt>
                <c:pt idx="6241">
                  <c:v>0.94479156571813316</c:v>
                </c:pt>
                <c:pt idx="6242">
                  <c:v>0.94062951080553092</c:v>
                </c:pt>
                <c:pt idx="6243">
                  <c:v>0.93704891944689561</c:v>
                </c:pt>
                <c:pt idx="6244">
                  <c:v>0.93086704376788387</c:v>
                </c:pt>
                <c:pt idx="6245">
                  <c:v>0.94457734230351376</c:v>
                </c:pt>
                <c:pt idx="6246">
                  <c:v>0.9429808678088516</c:v>
                </c:pt>
                <c:pt idx="6247">
                  <c:v>0.9429808678088516</c:v>
                </c:pt>
                <c:pt idx="6248">
                  <c:v>0.94279214718168713</c:v>
                </c:pt>
                <c:pt idx="6249">
                  <c:v>0.95365123407988506</c:v>
                </c:pt>
                <c:pt idx="6250">
                  <c:v>0.94423050439413037</c:v>
                </c:pt>
                <c:pt idx="6251">
                  <c:v>0.91366796390845528</c:v>
                </c:pt>
                <c:pt idx="6252">
                  <c:v>0.89922318509413079</c:v>
                </c:pt>
                <c:pt idx="6253">
                  <c:v>0.89669840913611876</c:v>
                </c:pt>
                <c:pt idx="6254">
                  <c:v>0.90395650244571746</c:v>
                </c:pt>
                <c:pt idx="6255">
                  <c:v>0.90080945847381133</c:v>
                </c:pt>
                <c:pt idx="6256">
                  <c:v>0.8820241052347022</c:v>
                </c:pt>
                <c:pt idx="6257">
                  <c:v>0.87763762579249915</c:v>
                </c:pt>
                <c:pt idx="6258">
                  <c:v>0.88733888614025536</c:v>
                </c:pt>
                <c:pt idx="6259">
                  <c:v>0.87308282795309533</c:v>
                </c:pt>
                <c:pt idx="6260">
                  <c:v>0.85917870823280995</c:v>
                </c:pt>
                <c:pt idx="6261">
                  <c:v>0.85742921701341968</c:v>
                </c:pt>
                <c:pt idx="6262">
                  <c:v>0.88191699352739272</c:v>
                </c:pt>
                <c:pt idx="6263">
                  <c:v>0.88851201436316996</c:v>
                </c:pt>
                <c:pt idx="6264">
                  <c:v>0.89484180620941856</c:v>
                </c:pt>
                <c:pt idx="6265">
                  <c:v>0.90171225714970649</c:v>
                </c:pt>
                <c:pt idx="6266">
                  <c:v>0.90657818899605735</c:v>
                </c:pt>
                <c:pt idx="6267">
                  <c:v>0.89929459289900393</c:v>
                </c:pt>
                <c:pt idx="6268">
                  <c:v>0.89640257680164459</c:v>
                </c:pt>
                <c:pt idx="6269">
                  <c:v>0.91330072376910798</c:v>
                </c:pt>
                <c:pt idx="6270">
                  <c:v>0.90642007171383843</c:v>
                </c:pt>
                <c:pt idx="6271">
                  <c:v>0.91139311526749878</c:v>
                </c:pt>
                <c:pt idx="6272">
                  <c:v>0.90910296495406939</c:v>
                </c:pt>
                <c:pt idx="6273">
                  <c:v>0.90403301080808118</c:v>
                </c:pt>
                <c:pt idx="6274">
                  <c:v>0.89694323589568348</c:v>
                </c:pt>
                <c:pt idx="6275">
                  <c:v>0.86165247861591276</c:v>
                </c:pt>
                <c:pt idx="6276">
                  <c:v>0.84130125422708701</c:v>
                </c:pt>
                <c:pt idx="6277">
                  <c:v>0.85800558000989513</c:v>
                </c:pt>
                <c:pt idx="6278">
                  <c:v>0.87359288370218868</c:v>
                </c:pt>
                <c:pt idx="6279">
                  <c:v>0.87975945770872777</c:v>
                </c:pt>
                <c:pt idx="6280">
                  <c:v>0.87415904558368229</c:v>
                </c:pt>
                <c:pt idx="6281">
                  <c:v>0.85072198391284171</c:v>
                </c:pt>
                <c:pt idx="6282">
                  <c:v>0.83717490321692156</c:v>
                </c:pt>
                <c:pt idx="6283">
                  <c:v>0.86599815359818844</c:v>
                </c:pt>
                <c:pt idx="6284">
                  <c:v>0.8685484323436552</c:v>
                </c:pt>
                <c:pt idx="6285">
                  <c:v>0.89420423652305203</c:v>
                </c:pt>
                <c:pt idx="6286">
                  <c:v>0.92125759345496472</c:v>
                </c:pt>
                <c:pt idx="6287">
                  <c:v>0.92125759345496472</c:v>
                </c:pt>
                <c:pt idx="6288">
                  <c:v>0.94747955951585516</c:v>
                </c:pt>
                <c:pt idx="6289">
                  <c:v>0.94688789484690705</c:v>
                </c:pt>
                <c:pt idx="6290">
                  <c:v>0.94933616244255492</c:v>
                </c:pt>
                <c:pt idx="6291">
                  <c:v>0.94838235819175054</c:v>
                </c:pt>
                <c:pt idx="6292">
                  <c:v>0.93976241603207233</c:v>
                </c:pt>
                <c:pt idx="6293">
                  <c:v>0.94832625205935006</c:v>
                </c:pt>
                <c:pt idx="6294">
                  <c:v>0.96340860056004129</c:v>
                </c:pt>
                <c:pt idx="6295">
                  <c:v>0.96224057289461751</c:v>
                </c:pt>
                <c:pt idx="6296">
                  <c:v>0.92574098348949563</c:v>
                </c:pt>
                <c:pt idx="6297">
                  <c:v>0.92222159882075116</c:v>
                </c:pt>
                <c:pt idx="6298">
                  <c:v>0.95890990885303773</c:v>
                </c:pt>
                <c:pt idx="6299">
                  <c:v>1.0092728135185176</c:v>
                </c:pt>
                <c:pt idx="6300">
                  <c:v>1.0286141275241385</c:v>
                </c:pt>
                <c:pt idx="6301">
                  <c:v>1.0312205124020055</c:v>
                </c:pt>
                <c:pt idx="6302">
                  <c:v>1.0392589910077175</c:v>
                </c:pt>
                <c:pt idx="6303">
                  <c:v>1.0344185619488209</c:v>
                </c:pt>
                <c:pt idx="6304">
                  <c:v>1.0292618983254873</c:v>
                </c:pt>
                <c:pt idx="6305">
                  <c:v>1.0013720499650614</c:v>
                </c:pt>
                <c:pt idx="6306">
                  <c:v>0.99801078257853582</c:v>
                </c:pt>
                <c:pt idx="6307">
                  <c:v>1.0116955783267114</c:v>
                </c:pt>
                <c:pt idx="6308">
                  <c:v>1.0240593296847345</c:v>
                </c:pt>
                <c:pt idx="6309">
                  <c:v>1.0376676170705457</c:v>
                </c:pt>
                <c:pt idx="6310">
                  <c:v>1.0278592450154802</c:v>
                </c:pt>
                <c:pt idx="6311">
                  <c:v>1.0573812717730049</c:v>
                </c:pt>
                <c:pt idx="6312">
                  <c:v>1.0380909633422934</c:v>
                </c:pt>
                <c:pt idx="6313">
                  <c:v>1.0133838628562102</c:v>
                </c:pt>
                <c:pt idx="6314">
                  <c:v>1.0050801552609698</c:v>
                </c:pt>
                <c:pt idx="6315">
                  <c:v>1.0007344802786946</c:v>
                </c:pt>
                <c:pt idx="6316">
                  <c:v>1.0123535502430419</c:v>
                </c:pt>
                <c:pt idx="6317">
                  <c:v>1.0135572818109018</c:v>
                </c:pt>
                <c:pt idx="6318">
                  <c:v>1.0255282902421237</c:v>
                </c:pt>
                <c:pt idx="6319">
                  <c:v>0.99500145365888515</c:v>
                </c:pt>
                <c:pt idx="6320">
                  <c:v>0.97213055386953795</c:v>
                </c:pt>
                <c:pt idx="6321">
                  <c:v>0.97998031184808498</c:v>
                </c:pt>
                <c:pt idx="6322">
                  <c:v>0.98227556271900518</c:v>
                </c:pt>
                <c:pt idx="6323">
                  <c:v>0.97376783282412771</c:v>
                </c:pt>
                <c:pt idx="6324">
                  <c:v>0.9531003738708641</c:v>
                </c:pt>
                <c:pt idx="6325">
                  <c:v>0.96450011986310114</c:v>
                </c:pt>
                <c:pt idx="6326">
                  <c:v>0.93830875714715622</c:v>
                </c:pt>
                <c:pt idx="6327">
                  <c:v>0.93960429874985341</c:v>
                </c:pt>
                <c:pt idx="6328">
                  <c:v>0.94663286697236027</c:v>
                </c:pt>
                <c:pt idx="6329">
                  <c:v>0.92950519491780459</c:v>
                </c:pt>
                <c:pt idx="6330">
                  <c:v>0.9302906807714082</c:v>
                </c:pt>
                <c:pt idx="6331">
                  <c:v>0.94519961031740762</c:v>
                </c:pt>
                <c:pt idx="6332">
                  <c:v>0.93343262418582373</c:v>
                </c:pt>
                <c:pt idx="6333">
                  <c:v>0.9631484721280037</c:v>
                </c:pt>
                <c:pt idx="6334">
                  <c:v>0.96786138724962645</c:v>
                </c:pt>
                <c:pt idx="6335">
                  <c:v>0.97170210704029958</c:v>
                </c:pt>
                <c:pt idx="6336">
                  <c:v>0.96551003024630599</c:v>
                </c:pt>
                <c:pt idx="6337">
                  <c:v>0.97484405045471489</c:v>
                </c:pt>
                <c:pt idx="6338">
                  <c:v>0.99024263351984398</c:v>
                </c:pt>
                <c:pt idx="6339">
                  <c:v>0.9843769924052701</c:v>
                </c:pt>
                <c:pt idx="6340">
                  <c:v>0.97807270334647578</c:v>
                </c:pt>
                <c:pt idx="6341">
                  <c:v>0.99587364898983477</c:v>
                </c:pt>
                <c:pt idx="6342">
                  <c:v>0.99492494529652098</c:v>
                </c:pt>
                <c:pt idx="6343">
                  <c:v>0.99478212968677471</c:v>
                </c:pt>
                <c:pt idx="6344">
                  <c:v>0.97795539052418445</c:v>
                </c:pt>
                <c:pt idx="6345">
                  <c:v>0.97303335254543333</c:v>
                </c:pt>
                <c:pt idx="6346">
                  <c:v>0.9584253558913991</c:v>
                </c:pt>
                <c:pt idx="6347">
                  <c:v>0.94999923491637639</c:v>
                </c:pt>
                <c:pt idx="6348">
                  <c:v>0.94999923491637639</c:v>
                </c:pt>
                <c:pt idx="6349">
                  <c:v>0.94592388948112038</c:v>
                </c:pt>
                <c:pt idx="6350">
                  <c:v>0.9389106229310864</c:v>
                </c:pt>
                <c:pt idx="6351">
                  <c:v>0.95919043951503902</c:v>
                </c:pt>
                <c:pt idx="6352">
                  <c:v>0.96083791958461062</c:v>
                </c:pt>
                <c:pt idx="6353">
                  <c:v>0.97092682230167759</c:v>
                </c:pt>
                <c:pt idx="6354">
                  <c:v>0.96317397491545842</c:v>
                </c:pt>
                <c:pt idx="6355">
                  <c:v>0.94278704662419588</c:v>
                </c:pt>
                <c:pt idx="6356">
                  <c:v>0.96040947275537225</c:v>
                </c:pt>
                <c:pt idx="6357">
                  <c:v>0.95423779819134236</c:v>
                </c:pt>
                <c:pt idx="6358">
                  <c:v>0.95393686529937716</c:v>
                </c:pt>
                <c:pt idx="6359">
                  <c:v>0.96235788571690906</c:v>
                </c:pt>
                <c:pt idx="6360">
                  <c:v>0.9593383556822761</c:v>
                </c:pt>
                <c:pt idx="6361">
                  <c:v>0.95948117129202215</c:v>
                </c:pt>
                <c:pt idx="6362">
                  <c:v>0.98315795916493665</c:v>
                </c:pt>
                <c:pt idx="6363">
                  <c:v>0.98240817721376961</c:v>
                </c:pt>
                <c:pt idx="6364">
                  <c:v>0.95956278021187735</c:v>
                </c:pt>
                <c:pt idx="6365">
                  <c:v>0.97675675951381491</c:v>
                </c:pt>
                <c:pt idx="6366">
                  <c:v>0.97146238083822567</c:v>
                </c:pt>
                <c:pt idx="6367">
                  <c:v>0.94401628097951118</c:v>
                </c:pt>
                <c:pt idx="6368">
                  <c:v>0.92244602335035242</c:v>
                </c:pt>
                <c:pt idx="6369">
                  <c:v>0.92907674808856622</c:v>
                </c:pt>
                <c:pt idx="6370">
                  <c:v>0.91317831038932562</c:v>
                </c:pt>
                <c:pt idx="6371">
                  <c:v>0.88202920579219302</c:v>
                </c:pt>
                <c:pt idx="6372">
                  <c:v>0.84125024865217779</c:v>
                </c:pt>
                <c:pt idx="6373">
                  <c:v>0.8553787929020642</c:v>
                </c:pt>
                <c:pt idx="6374">
                  <c:v>0.88953212586135666</c:v>
                </c:pt>
                <c:pt idx="6375">
                  <c:v>0.87336335861509684</c:v>
                </c:pt>
                <c:pt idx="6376">
                  <c:v>0.88223832864932161</c:v>
                </c:pt>
                <c:pt idx="6377">
                  <c:v>0.88322273624507175</c:v>
                </c:pt>
                <c:pt idx="6378">
                  <c:v>0.88322273624507175</c:v>
                </c:pt>
                <c:pt idx="6379">
                  <c:v>0.88322273624507175</c:v>
                </c:pt>
                <c:pt idx="6380">
                  <c:v>0.86664592439953703</c:v>
                </c:pt>
                <c:pt idx="6381">
                  <c:v>0.87745910628031654</c:v>
                </c:pt>
                <c:pt idx="6382">
                  <c:v>0.87745910628031654</c:v>
                </c:pt>
                <c:pt idx="6383">
                  <c:v>0.87214942593225442</c:v>
                </c:pt>
                <c:pt idx="6384">
                  <c:v>0.83596097053407958</c:v>
                </c:pt>
                <c:pt idx="6385">
                  <c:v>0.83596097053407958</c:v>
                </c:pt>
                <c:pt idx="6386">
                  <c:v>0.87059375589751964</c:v>
                </c:pt>
                <c:pt idx="6387">
                  <c:v>0.91438204195718598</c:v>
                </c:pt>
                <c:pt idx="6388">
                  <c:v>0.89470919171465457</c:v>
                </c:pt>
                <c:pt idx="6389">
                  <c:v>0.88889965673248095</c:v>
                </c:pt>
                <c:pt idx="6390">
                  <c:v>0.91938058829830105</c:v>
                </c:pt>
                <c:pt idx="6391">
                  <c:v>0.89426034265545229</c:v>
                </c:pt>
                <c:pt idx="6392">
                  <c:v>0.83634351234589954</c:v>
                </c:pt>
                <c:pt idx="6393">
                  <c:v>0.82589757060446711</c:v>
                </c:pt>
                <c:pt idx="6394">
                  <c:v>0.81786419255624665</c:v>
                </c:pt>
                <c:pt idx="6395">
                  <c:v>0.85470041875577007</c:v>
                </c:pt>
                <c:pt idx="6396">
                  <c:v>0.8803103179177485</c:v>
                </c:pt>
                <c:pt idx="6397">
                  <c:v>0.88042253018254901</c:v>
                </c:pt>
                <c:pt idx="6398">
                  <c:v>0.8704560408452644</c:v>
                </c:pt>
                <c:pt idx="6399">
                  <c:v>0.87253706830156541</c:v>
                </c:pt>
                <c:pt idx="6400">
                  <c:v>0.8800909939456385</c:v>
                </c:pt>
                <c:pt idx="6401">
                  <c:v>0.89759610725452288</c:v>
                </c:pt>
                <c:pt idx="6402">
                  <c:v>0.89777972732419653</c:v>
                </c:pt>
                <c:pt idx="6403">
                  <c:v>0.88898126565233593</c:v>
                </c:pt>
                <c:pt idx="6404">
                  <c:v>0.89325553282973846</c:v>
                </c:pt>
                <c:pt idx="6405">
                  <c:v>0.89833568809070852</c:v>
                </c:pt>
                <c:pt idx="6406">
                  <c:v>0.8982489786133625</c:v>
                </c:pt>
                <c:pt idx="6407">
                  <c:v>0.90870002091228574</c:v>
                </c:pt>
                <c:pt idx="6408">
                  <c:v>0.89679531972844639</c:v>
                </c:pt>
                <c:pt idx="6409">
                  <c:v>0.89706564927546584</c:v>
                </c:pt>
                <c:pt idx="6410">
                  <c:v>0.88359507694190986</c:v>
                </c:pt>
                <c:pt idx="6411">
                  <c:v>0.8956476942929863</c:v>
                </c:pt>
                <c:pt idx="6412">
                  <c:v>0.90260485471062002</c:v>
                </c:pt>
                <c:pt idx="6413">
                  <c:v>0.91343843882136322</c:v>
                </c:pt>
                <c:pt idx="6414">
                  <c:v>0.90240593296847371</c:v>
                </c:pt>
                <c:pt idx="6415">
                  <c:v>0.90350255282902414</c:v>
                </c:pt>
                <c:pt idx="6416">
                  <c:v>0.90422173143524609</c:v>
                </c:pt>
                <c:pt idx="6417">
                  <c:v>0.91770760544127494</c:v>
                </c:pt>
                <c:pt idx="6418">
                  <c:v>0.91610603038912153</c:v>
                </c:pt>
                <c:pt idx="6419">
                  <c:v>0.90884793707952283</c:v>
                </c:pt>
                <c:pt idx="6420">
                  <c:v>0.91399950014536602</c:v>
                </c:pt>
                <c:pt idx="6421">
                  <c:v>0.9189368397965898</c:v>
                </c:pt>
                <c:pt idx="6422">
                  <c:v>0.91176545596433711</c:v>
                </c:pt>
                <c:pt idx="6423">
                  <c:v>0.88326354070499913</c:v>
                </c:pt>
                <c:pt idx="6424">
                  <c:v>0.89534676140102132</c:v>
                </c:pt>
                <c:pt idx="6425">
                  <c:v>0.90974053464043614</c:v>
                </c:pt>
                <c:pt idx="6426">
                  <c:v>0.90177856439708881</c:v>
                </c:pt>
                <c:pt idx="6427">
                  <c:v>0.90030450328220879</c:v>
                </c:pt>
                <c:pt idx="6428">
                  <c:v>0.87505164314459583</c:v>
                </c:pt>
                <c:pt idx="6429">
                  <c:v>0.88490081965958889</c:v>
                </c:pt>
                <c:pt idx="6430">
                  <c:v>0.88871093610531626</c:v>
                </c:pt>
                <c:pt idx="6431">
                  <c:v>0.86729369520088562</c:v>
                </c:pt>
                <c:pt idx="6432">
                  <c:v>0.87349087255237001</c:v>
                </c:pt>
                <c:pt idx="6433">
                  <c:v>0.88918018739448224</c:v>
                </c:pt>
                <c:pt idx="6434">
                  <c:v>0.90050342502435532</c:v>
                </c:pt>
                <c:pt idx="6435">
                  <c:v>0.93326940634611377</c:v>
                </c:pt>
                <c:pt idx="6436">
                  <c:v>0.95185073728558534</c:v>
                </c:pt>
                <c:pt idx="6437">
                  <c:v>0.957277730455939</c:v>
                </c:pt>
                <c:pt idx="6438">
                  <c:v>0.95559964704142186</c:v>
                </c:pt>
                <c:pt idx="6439">
                  <c:v>0.94187914739080991</c:v>
                </c:pt>
                <c:pt idx="6440">
                  <c:v>0.92647036321069898</c:v>
                </c:pt>
                <c:pt idx="6441">
                  <c:v>0.92386397833283174</c:v>
                </c:pt>
                <c:pt idx="6442">
                  <c:v>0.94272583993430481</c:v>
                </c:pt>
                <c:pt idx="6443">
                  <c:v>0.94231779533503035</c:v>
                </c:pt>
                <c:pt idx="6444">
                  <c:v>0.93969100822719942</c:v>
                </c:pt>
                <c:pt idx="6445">
                  <c:v>0.94613811289573957</c:v>
                </c:pt>
                <c:pt idx="6446">
                  <c:v>0.94613811289573957</c:v>
                </c:pt>
                <c:pt idx="6447">
                  <c:v>0.96245479630923669</c:v>
                </c:pt>
                <c:pt idx="6448">
                  <c:v>0.96573445477590703</c:v>
                </c:pt>
                <c:pt idx="6449">
                  <c:v>0.97956716669131949</c:v>
                </c:pt>
                <c:pt idx="6450">
                  <c:v>0.98096982000132615</c:v>
                </c:pt>
                <c:pt idx="6451">
                  <c:v>0.98003641798048524</c:v>
                </c:pt>
                <c:pt idx="6452">
                  <c:v>0.97389024620391007</c:v>
                </c:pt>
                <c:pt idx="6453">
                  <c:v>1.0066766297556322</c:v>
                </c:pt>
                <c:pt idx="6454">
                  <c:v>1.0296393395798162</c:v>
                </c:pt>
                <c:pt idx="6455">
                  <c:v>0.99745992236951508</c:v>
                </c:pt>
                <c:pt idx="6456">
                  <c:v>1.0310011884298955</c:v>
                </c:pt>
                <c:pt idx="6457">
                  <c:v>1.0343777574888935</c:v>
                </c:pt>
                <c:pt idx="6458">
                  <c:v>1.043196621390718</c:v>
                </c:pt>
                <c:pt idx="6459">
                  <c:v>1.0451399337947636</c:v>
                </c:pt>
                <c:pt idx="6460">
                  <c:v>1.0422428171399134</c:v>
                </c:pt>
                <c:pt idx="6461">
                  <c:v>1.0667203925389046</c:v>
                </c:pt>
                <c:pt idx="6462">
                  <c:v>1.0663837557445031</c:v>
                </c:pt>
                <c:pt idx="6463">
                  <c:v>1.0441606267565042</c:v>
                </c:pt>
                <c:pt idx="6464">
                  <c:v>1.0385347118440045</c:v>
                </c:pt>
                <c:pt idx="6465">
                  <c:v>1.0385347118440045</c:v>
                </c:pt>
                <c:pt idx="6466">
                  <c:v>1.0453949616693103</c:v>
                </c:pt>
                <c:pt idx="6467">
                  <c:v>1.0331230203461237</c:v>
                </c:pt>
                <c:pt idx="6468">
                  <c:v>1.0493172903798387</c:v>
                </c:pt>
                <c:pt idx="6469">
                  <c:v>1.047746318672631</c:v>
                </c:pt>
                <c:pt idx="6470">
                  <c:v>1.0673630627827624</c:v>
                </c:pt>
                <c:pt idx="6471">
                  <c:v>1.0578862269646074</c:v>
                </c:pt>
                <c:pt idx="6472">
                  <c:v>1.0640170970687097</c:v>
                </c:pt>
                <c:pt idx="6473">
                  <c:v>1.0620788852221548</c:v>
                </c:pt>
                <c:pt idx="6474">
                  <c:v>1.0424519399970418</c:v>
                </c:pt>
                <c:pt idx="6475">
                  <c:v>1.0434720514952285</c:v>
                </c:pt>
                <c:pt idx="6476">
                  <c:v>1.0511636921915564</c:v>
                </c:pt>
                <c:pt idx="6477">
                  <c:v>1.0509749715643921</c:v>
                </c:pt>
                <c:pt idx="6478">
                  <c:v>1.0491132680802013</c:v>
                </c:pt>
                <c:pt idx="6479">
                  <c:v>1.0521787031322525</c:v>
                </c:pt>
                <c:pt idx="6480">
                  <c:v>1.0456142856414208</c:v>
                </c:pt>
                <c:pt idx="6481">
                  <c:v>0.99550130829299666</c:v>
                </c:pt>
                <c:pt idx="6482">
                  <c:v>1.0052178703132251</c:v>
                </c:pt>
                <c:pt idx="6483">
                  <c:v>0.98925822592409363</c:v>
                </c:pt>
                <c:pt idx="6484">
                  <c:v>0.98652942766644403</c:v>
                </c:pt>
                <c:pt idx="6485">
                  <c:v>0.98594796411247754</c:v>
                </c:pt>
                <c:pt idx="6486">
                  <c:v>0.96283733812105687</c:v>
                </c:pt>
                <c:pt idx="6487">
                  <c:v>0.94670937533472399</c:v>
                </c:pt>
                <c:pt idx="6488">
                  <c:v>0.94670937533472399</c:v>
                </c:pt>
                <c:pt idx="6489">
                  <c:v>0.92767409477855933</c:v>
                </c:pt>
                <c:pt idx="6490">
                  <c:v>0.91845228683495117</c:v>
                </c:pt>
                <c:pt idx="6491">
                  <c:v>0.90572639589507142</c:v>
                </c:pt>
                <c:pt idx="6492">
                  <c:v>0.94308797951616108</c:v>
                </c:pt>
                <c:pt idx="6493">
                  <c:v>0.94258302432455876</c:v>
                </c:pt>
                <c:pt idx="6494">
                  <c:v>0.92209408488347777</c:v>
                </c:pt>
                <c:pt idx="6495">
                  <c:v>0.92637345261837134</c:v>
                </c:pt>
                <c:pt idx="6496">
                  <c:v>0.9253482405626936</c:v>
                </c:pt>
                <c:pt idx="6497">
                  <c:v>0.89644338126157197</c:v>
                </c:pt>
                <c:pt idx="6498">
                  <c:v>0.90703723917024148</c:v>
                </c:pt>
                <c:pt idx="6499">
                  <c:v>0.89076136021667174</c:v>
                </c:pt>
                <c:pt idx="6500">
                  <c:v>0.93248392049250994</c:v>
                </c:pt>
                <c:pt idx="6501">
                  <c:v>0.92522582718291124</c:v>
                </c:pt>
                <c:pt idx="6502">
                  <c:v>0.93466185854113859</c:v>
                </c:pt>
                <c:pt idx="6503">
                  <c:v>0.93941557812268894</c:v>
                </c:pt>
                <c:pt idx="6504">
                  <c:v>0.92218079436082379</c:v>
                </c:pt>
                <c:pt idx="6505">
                  <c:v>0.88710426049567226</c:v>
                </c:pt>
                <c:pt idx="6506">
                  <c:v>0.90902645659170567</c:v>
                </c:pt>
                <c:pt idx="6507">
                  <c:v>0.88975655039095769</c:v>
                </c:pt>
                <c:pt idx="6508">
                  <c:v>0.89086337136649041</c:v>
                </c:pt>
                <c:pt idx="6509">
                  <c:v>0.87250136439912884</c:v>
                </c:pt>
                <c:pt idx="6510">
                  <c:v>0.82845294990742491</c:v>
                </c:pt>
                <c:pt idx="6511">
                  <c:v>0.82660144753821596</c:v>
                </c:pt>
                <c:pt idx="6512">
                  <c:v>0.83835313199732719</c:v>
                </c:pt>
                <c:pt idx="6513">
                  <c:v>0.8714761523434511</c:v>
                </c:pt>
                <c:pt idx="6514">
                  <c:v>0.86995618621115289</c:v>
                </c:pt>
                <c:pt idx="6515">
                  <c:v>0.86562071234385907</c:v>
                </c:pt>
                <c:pt idx="6516">
                  <c:v>0.86367229938232271</c:v>
                </c:pt>
                <c:pt idx="6517">
                  <c:v>0.89745329164477683</c:v>
                </c:pt>
                <c:pt idx="6518">
                  <c:v>0.88629837241210452</c:v>
                </c:pt>
                <c:pt idx="6519">
                  <c:v>0.8529509275363798</c:v>
                </c:pt>
                <c:pt idx="6520">
                  <c:v>0.85957655171710279</c:v>
                </c:pt>
                <c:pt idx="6521">
                  <c:v>0.80681128447339301</c:v>
                </c:pt>
                <c:pt idx="6522">
                  <c:v>0.81921584029134387</c:v>
                </c:pt>
                <c:pt idx="6523">
                  <c:v>0.80832615004820019</c:v>
                </c:pt>
                <c:pt idx="6524">
                  <c:v>0.8094941777136242</c:v>
                </c:pt>
                <c:pt idx="6525">
                  <c:v>0.81375824377604489</c:v>
                </c:pt>
                <c:pt idx="6526">
                  <c:v>0.82845294990742491</c:v>
                </c:pt>
                <c:pt idx="6527">
                  <c:v>0.80936156321885999</c:v>
                </c:pt>
                <c:pt idx="6528">
                  <c:v>0.8412553492096686</c:v>
                </c:pt>
                <c:pt idx="6529">
                  <c:v>0.8435506000805888</c:v>
                </c:pt>
                <c:pt idx="6530">
                  <c:v>0.84165319269396144</c:v>
                </c:pt>
                <c:pt idx="6531">
                  <c:v>0.86697236007895673</c:v>
                </c:pt>
                <c:pt idx="6532">
                  <c:v>0.81540062328812546</c:v>
                </c:pt>
                <c:pt idx="6533">
                  <c:v>0.81585967346230936</c:v>
                </c:pt>
                <c:pt idx="6534">
                  <c:v>0.83690967422739315</c:v>
                </c:pt>
                <c:pt idx="6535">
                  <c:v>0.83469603227632794</c:v>
                </c:pt>
                <c:pt idx="6536">
                  <c:v>0.81858847171995897</c:v>
                </c:pt>
                <c:pt idx="6537">
                  <c:v>0.83896519889623944</c:v>
                </c:pt>
                <c:pt idx="6538">
                  <c:v>0.81704810335769706</c:v>
                </c:pt>
                <c:pt idx="6539">
                  <c:v>0.79711512468312784</c:v>
                </c:pt>
                <c:pt idx="6540">
                  <c:v>0.79338661715725523</c:v>
                </c:pt>
                <c:pt idx="6541">
                  <c:v>0.81201895367163646</c:v>
                </c:pt>
                <c:pt idx="6542">
                  <c:v>0.81923114196381674</c:v>
                </c:pt>
                <c:pt idx="6543">
                  <c:v>0.8017668331148593</c:v>
                </c:pt>
                <c:pt idx="6544">
                  <c:v>0.69980668887109365</c:v>
                </c:pt>
                <c:pt idx="6545">
                  <c:v>0.71152776998525957</c:v>
                </c:pt>
                <c:pt idx="6546">
                  <c:v>0.71477172454949334</c:v>
                </c:pt>
                <c:pt idx="6547">
                  <c:v>0.75059804036581212</c:v>
                </c:pt>
                <c:pt idx="6548">
                  <c:v>0.77315270559072102</c:v>
                </c:pt>
                <c:pt idx="6549">
                  <c:v>0.78852068531090458</c:v>
                </c:pt>
                <c:pt idx="6550">
                  <c:v>0.7488842530488582</c:v>
                </c:pt>
                <c:pt idx="6551">
                  <c:v>0.74251365674268222</c:v>
                </c:pt>
                <c:pt idx="6552">
                  <c:v>0.78177774830789026</c:v>
                </c:pt>
                <c:pt idx="6553">
                  <c:v>0.77467267172301923</c:v>
                </c:pt>
                <c:pt idx="6554">
                  <c:v>0.76530804816966502</c:v>
                </c:pt>
                <c:pt idx="6555">
                  <c:v>0.77141341548631281</c:v>
                </c:pt>
                <c:pt idx="6556">
                  <c:v>0.80649504990895515</c:v>
                </c:pt>
                <c:pt idx="6557">
                  <c:v>0.80690819506572087</c:v>
                </c:pt>
                <c:pt idx="6558">
                  <c:v>0.80491387708676565</c:v>
                </c:pt>
                <c:pt idx="6559">
                  <c:v>0.80725503297510426</c:v>
                </c:pt>
                <c:pt idx="6560">
                  <c:v>0.80502098879407513</c:v>
                </c:pt>
                <c:pt idx="6561">
                  <c:v>0.81963408600560039</c:v>
                </c:pt>
                <c:pt idx="6562">
                  <c:v>0.79375895785409356</c:v>
                </c:pt>
                <c:pt idx="6563">
                  <c:v>0.80209836935177004</c:v>
                </c:pt>
                <c:pt idx="6564">
                  <c:v>0.76868461722866321</c:v>
                </c:pt>
                <c:pt idx="6565">
                  <c:v>0.74871593465165742</c:v>
                </c:pt>
                <c:pt idx="6566">
                  <c:v>0.72891557047185263</c:v>
                </c:pt>
                <c:pt idx="6567">
                  <c:v>0.73620936768388789</c:v>
                </c:pt>
                <c:pt idx="6568">
                  <c:v>0.70937533472408543</c:v>
                </c:pt>
                <c:pt idx="6569">
                  <c:v>0.71191031179707953</c:v>
                </c:pt>
                <c:pt idx="6570">
                  <c:v>0.73149645256226492</c:v>
                </c:pt>
                <c:pt idx="6571">
                  <c:v>0.71771984677925316</c:v>
                </c:pt>
                <c:pt idx="6572">
                  <c:v>0.70632010078701613</c:v>
                </c:pt>
                <c:pt idx="6573">
                  <c:v>0.74984315785715383</c:v>
                </c:pt>
                <c:pt idx="6574">
                  <c:v>0.76207939527790391</c:v>
                </c:pt>
                <c:pt idx="6575">
                  <c:v>0.76838368433669801</c:v>
                </c:pt>
                <c:pt idx="6576">
                  <c:v>0.78186445778523583</c:v>
                </c:pt>
                <c:pt idx="6577">
                  <c:v>0.79594199646021324</c:v>
                </c:pt>
                <c:pt idx="6578">
                  <c:v>0.78779640614719182</c:v>
                </c:pt>
                <c:pt idx="6579">
                  <c:v>0.77931417903976907</c:v>
                </c:pt>
                <c:pt idx="6580">
                  <c:v>0.77557547039891461</c:v>
                </c:pt>
                <c:pt idx="6581">
                  <c:v>0.79019876872542172</c:v>
                </c:pt>
                <c:pt idx="6582">
                  <c:v>0.77805944189699949</c:v>
                </c:pt>
                <c:pt idx="6583">
                  <c:v>0.7689243434307369</c:v>
                </c:pt>
                <c:pt idx="6584">
                  <c:v>0.77375967193214223</c:v>
                </c:pt>
                <c:pt idx="6585">
                  <c:v>0.76441545060875171</c:v>
                </c:pt>
                <c:pt idx="6586">
                  <c:v>0.76493570747282691</c:v>
                </c:pt>
                <c:pt idx="6587">
                  <c:v>0.76590481339610417</c:v>
                </c:pt>
                <c:pt idx="6588">
                  <c:v>0.76867441611368137</c:v>
                </c:pt>
                <c:pt idx="6589">
                  <c:v>0.77061772851772714</c:v>
                </c:pt>
                <c:pt idx="6590">
                  <c:v>0.76438994782129699</c:v>
                </c:pt>
                <c:pt idx="6591">
                  <c:v>0.72561040921772757</c:v>
                </c:pt>
                <c:pt idx="6592">
                  <c:v>0.72618167165671221</c:v>
                </c:pt>
                <c:pt idx="6593">
                  <c:v>0.7404785343037994</c:v>
                </c:pt>
                <c:pt idx="6594">
                  <c:v>0.72731399541969943</c:v>
                </c:pt>
                <c:pt idx="6595">
                  <c:v>0.72873705095967001</c:v>
                </c:pt>
                <c:pt idx="6596">
                  <c:v>0.71043625068219951</c:v>
                </c:pt>
                <c:pt idx="6597">
                  <c:v>0.69245168496916731</c:v>
                </c:pt>
                <c:pt idx="6598">
                  <c:v>0.68674926169430317</c:v>
                </c:pt>
                <c:pt idx="6599">
                  <c:v>0.69425218176346681</c:v>
                </c:pt>
                <c:pt idx="6600">
                  <c:v>0.69425218176346681</c:v>
                </c:pt>
                <c:pt idx="6601">
                  <c:v>0.6873409263632515</c:v>
                </c:pt>
                <c:pt idx="6602">
                  <c:v>0.65817593863009227</c:v>
                </c:pt>
                <c:pt idx="6603">
                  <c:v>0.65193795681868028</c:v>
                </c:pt>
                <c:pt idx="6604">
                  <c:v>0.68226587165977248</c:v>
                </c:pt>
                <c:pt idx="6605">
                  <c:v>0.69597106963791155</c:v>
                </c:pt>
                <c:pt idx="6606">
                  <c:v>0.68403576510912645</c:v>
                </c:pt>
                <c:pt idx="6607">
                  <c:v>0.6943133884533581</c:v>
                </c:pt>
                <c:pt idx="6608">
                  <c:v>0.66127707758458021</c:v>
                </c:pt>
                <c:pt idx="6609">
                  <c:v>0.62894974420704197</c:v>
                </c:pt>
                <c:pt idx="6610">
                  <c:v>0.6283733812105663</c:v>
                </c:pt>
                <c:pt idx="6611">
                  <c:v>0.62229351668137323</c:v>
                </c:pt>
                <c:pt idx="6612">
                  <c:v>0.61363787061925867</c:v>
                </c:pt>
                <c:pt idx="6613">
                  <c:v>0.612148507831906</c:v>
                </c:pt>
                <c:pt idx="6614">
                  <c:v>0.5807800792626634</c:v>
                </c:pt>
                <c:pt idx="6615">
                  <c:v>0.56524378114527929</c:v>
                </c:pt>
                <c:pt idx="6616">
                  <c:v>0.56547330623237113</c:v>
                </c:pt>
                <c:pt idx="6617">
                  <c:v>0.56269350239981231</c:v>
                </c:pt>
                <c:pt idx="6618">
                  <c:v>0.52076181926684595</c:v>
                </c:pt>
                <c:pt idx="6619">
                  <c:v>0.48584850324140438</c:v>
                </c:pt>
                <c:pt idx="6620">
                  <c:v>0.5073422525081992</c:v>
                </c:pt>
                <c:pt idx="6621">
                  <c:v>0.47257685264999472</c:v>
                </c:pt>
                <c:pt idx="6622">
                  <c:v>0.47036831125642053</c:v>
                </c:pt>
                <c:pt idx="6623">
                  <c:v>0.48482329118572665</c:v>
                </c:pt>
                <c:pt idx="6624">
                  <c:v>0.51137679348352783</c:v>
                </c:pt>
                <c:pt idx="6625">
                  <c:v>0.54229127243607733</c:v>
                </c:pt>
                <c:pt idx="6626">
                  <c:v>0.55762864881131513</c:v>
                </c:pt>
                <c:pt idx="6627">
                  <c:v>0.56375441835792661</c:v>
                </c:pt>
                <c:pt idx="6628">
                  <c:v>0.57011991410661178</c:v>
                </c:pt>
                <c:pt idx="6629">
                  <c:v>0.57511846044772708</c:v>
                </c:pt>
                <c:pt idx="6630">
                  <c:v>0.57511846044772708</c:v>
                </c:pt>
                <c:pt idx="6631">
                  <c:v>0.57225704769531305</c:v>
                </c:pt>
                <c:pt idx="6632">
                  <c:v>0.58649270365250916</c:v>
                </c:pt>
                <c:pt idx="6633">
                  <c:v>0.55785817389840719</c:v>
                </c:pt>
                <c:pt idx="6634">
                  <c:v>0.55785817389840719</c:v>
                </c:pt>
                <c:pt idx="6635">
                  <c:v>0.51199906149742169</c:v>
                </c:pt>
                <c:pt idx="6636">
                  <c:v>0.50159902477340768</c:v>
                </c:pt>
                <c:pt idx="6637">
                  <c:v>0.50159902477340768</c:v>
                </c:pt>
                <c:pt idx="6638">
                  <c:v>0.46259506164023723</c:v>
                </c:pt>
                <c:pt idx="6639">
                  <c:v>0.44556940073550044</c:v>
                </c:pt>
                <c:pt idx="6640">
                  <c:v>0.427666443942323</c:v>
                </c:pt>
                <c:pt idx="6641">
                  <c:v>0.46682342380022135</c:v>
                </c:pt>
                <c:pt idx="6642">
                  <c:v>0.48523643634249214</c:v>
                </c:pt>
                <c:pt idx="6643">
                  <c:v>0.48898534609832867</c:v>
                </c:pt>
                <c:pt idx="6644">
                  <c:v>0.45372009160601245</c:v>
                </c:pt>
                <c:pt idx="6645">
                  <c:v>0.41823041258409543</c:v>
                </c:pt>
                <c:pt idx="6646">
                  <c:v>0.40318886854333202</c:v>
                </c:pt>
                <c:pt idx="6647">
                  <c:v>0.41093661537206017</c:v>
                </c:pt>
                <c:pt idx="6648">
                  <c:v>0.44731379139739968</c:v>
                </c:pt>
                <c:pt idx="6649">
                  <c:v>0.44931831049133675</c:v>
                </c:pt>
                <c:pt idx="6650">
                  <c:v>0.43569472143305288</c:v>
                </c:pt>
                <c:pt idx="6651">
                  <c:v>0.44866543913249735</c:v>
                </c:pt>
                <c:pt idx="6652">
                  <c:v>0.47091917146544127</c:v>
                </c:pt>
                <c:pt idx="6653">
                  <c:v>0.4917447477009238</c:v>
                </c:pt>
                <c:pt idx="6654">
                  <c:v>0.48947499961745811</c:v>
                </c:pt>
                <c:pt idx="6655">
                  <c:v>0.4510167961358178</c:v>
                </c:pt>
                <c:pt idx="6656">
                  <c:v>0.45724457683224795</c:v>
                </c:pt>
                <c:pt idx="6657">
                  <c:v>0.49878351703841228</c:v>
                </c:pt>
                <c:pt idx="6658">
                  <c:v>0.50064522052260307</c:v>
                </c:pt>
                <c:pt idx="6659">
                  <c:v>0.48291568268411744</c:v>
                </c:pt>
                <c:pt idx="6660">
                  <c:v>0.48102337585498112</c:v>
                </c:pt>
                <c:pt idx="6661">
                  <c:v>0.47560148324211848</c:v>
                </c:pt>
                <c:pt idx="6662">
                  <c:v>0.47387749481018271</c:v>
                </c:pt>
                <c:pt idx="6663">
                  <c:v>0.47940649913035505</c:v>
                </c:pt>
                <c:pt idx="6664">
                  <c:v>0.49482548442544783</c:v>
                </c:pt>
                <c:pt idx="6665">
                  <c:v>0.5484782486725801</c:v>
                </c:pt>
                <c:pt idx="6666">
                  <c:v>0.55334418051893075</c:v>
                </c:pt>
                <c:pt idx="6667">
                  <c:v>0.54270441759284282</c:v>
                </c:pt>
                <c:pt idx="6668">
                  <c:v>0.55834272686004582</c:v>
                </c:pt>
                <c:pt idx="6669">
                  <c:v>0.54597387494453131</c:v>
                </c:pt>
                <c:pt idx="6670">
                  <c:v>0.52368443870915105</c:v>
                </c:pt>
                <c:pt idx="6671">
                  <c:v>0.54027655222715865</c:v>
                </c:pt>
                <c:pt idx="6672">
                  <c:v>0.5456423387076208</c:v>
                </c:pt>
                <c:pt idx="6673">
                  <c:v>0.52846876163564693</c:v>
                </c:pt>
                <c:pt idx="6674">
                  <c:v>0.52930015250666917</c:v>
                </c:pt>
                <c:pt idx="6675">
                  <c:v>0.52937156031154209</c:v>
                </c:pt>
                <c:pt idx="6676">
                  <c:v>0.57294052239909843</c:v>
                </c:pt>
                <c:pt idx="6677">
                  <c:v>0.56989038901951994</c:v>
                </c:pt>
                <c:pt idx="6678">
                  <c:v>0.58824219487189966</c:v>
                </c:pt>
                <c:pt idx="6679">
                  <c:v>0.57238456163258644</c:v>
                </c:pt>
                <c:pt idx="6680">
                  <c:v>0.57414425396695856</c:v>
                </c:pt>
                <c:pt idx="6681">
                  <c:v>0.58145335285146671</c:v>
                </c:pt>
                <c:pt idx="6682">
                  <c:v>0.60119251034138044</c:v>
                </c:pt>
                <c:pt idx="6683">
                  <c:v>0.6036764818394651</c:v>
                </c:pt>
                <c:pt idx="6684">
                  <c:v>0.59718347215350631</c:v>
                </c:pt>
                <c:pt idx="6685">
                  <c:v>0.59685193591659558</c:v>
                </c:pt>
                <c:pt idx="6686">
                  <c:v>0.62913336427671562</c:v>
                </c:pt>
                <c:pt idx="6687">
                  <c:v>0.64401679103526033</c:v>
                </c:pt>
                <c:pt idx="6688">
                  <c:v>0.63618743528667698</c:v>
                </c:pt>
                <c:pt idx="6689">
                  <c:v>0.64486348357875523</c:v>
                </c:pt>
                <c:pt idx="6690">
                  <c:v>0.62192627654202615</c:v>
                </c:pt>
                <c:pt idx="6691">
                  <c:v>0.62241593006115581</c:v>
                </c:pt>
                <c:pt idx="6692">
                  <c:v>0.62241593006115581</c:v>
                </c:pt>
                <c:pt idx="6693">
                  <c:v>0.63720244622737265</c:v>
                </c:pt>
                <c:pt idx="6694">
                  <c:v>0.67582386754872315</c:v>
                </c:pt>
                <c:pt idx="6695">
                  <c:v>0.67394686239205948</c:v>
                </c:pt>
                <c:pt idx="6696">
                  <c:v>0.65345792295097849</c:v>
                </c:pt>
                <c:pt idx="6697">
                  <c:v>0.66426600427426719</c:v>
                </c:pt>
                <c:pt idx="6698">
                  <c:v>0.62044711486965531</c:v>
                </c:pt>
                <c:pt idx="6699">
                  <c:v>0.6085067097833794</c:v>
                </c:pt>
                <c:pt idx="6700">
                  <c:v>0.59636228239746614</c:v>
                </c:pt>
                <c:pt idx="6701">
                  <c:v>0.60835879361614231</c:v>
                </c:pt>
                <c:pt idx="6702">
                  <c:v>0.60400291751888502</c:v>
                </c:pt>
                <c:pt idx="6703">
                  <c:v>0.59855552211856766</c:v>
                </c:pt>
                <c:pt idx="6704">
                  <c:v>0.62925577765649798</c:v>
                </c:pt>
                <c:pt idx="6705">
                  <c:v>0.63545295500798238</c:v>
                </c:pt>
                <c:pt idx="6706">
                  <c:v>0.62556807459055275</c:v>
                </c:pt>
                <c:pt idx="6707">
                  <c:v>0.63091855939854247</c:v>
                </c:pt>
                <c:pt idx="6708">
                  <c:v>0.64641915361349001</c:v>
                </c:pt>
                <c:pt idx="6709">
                  <c:v>0.64477677410140921</c:v>
                </c:pt>
                <c:pt idx="6710">
                  <c:v>0.63430022901503125</c:v>
                </c:pt>
                <c:pt idx="6711">
                  <c:v>0.62814385612347445</c:v>
                </c:pt>
                <c:pt idx="6712">
                  <c:v>0.61332163605482104</c:v>
                </c:pt>
                <c:pt idx="6713">
                  <c:v>0.60578811264071186</c:v>
                </c:pt>
                <c:pt idx="6714">
                  <c:v>0.5857837261612695</c:v>
                </c:pt>
                <c:pt idx="6715">
                  <c:v>0.59418434434883749</c:v>
                </c:pt>
                <c:pt idx="6716">
                  <c:v>0.59305712114334108</c:v>
                </c:pt>
                <c:pt idx="6717">
                  <c:v>0.59564310379124441</c:v>
                </c:pt>
                <c:pt idx="6718">
                  <c:v>0.59564310379124441</c:v>
                </c:pt>
                <c:pt idx="6719">
                  <c:v>0.56668723891521333</c:v>
                </c:pt>
                <c:pt idx="6720">
                  <c:v>0.54355111013633794</c:v>
                </c:pt>
                <c:pt idx="6721">
                  <c:v>0.55615968825392614</c:v>
                </c:pt>
                <c:pt idx="6722">
                  <c:v>0.55257909689529083</c:v>
                </c:pt>
                <c:pt idx="6723">
                  <c:v>0.53376314031123617</c:v>
                </c:pt>
                <c:pt idx="6724">
                  <c:v>0.52775468358691602</c:v>
                </c:pt>
                <c:pt idx="6725">
                  <c:v>0.52613270630479914</c:v>
                </c:pt>
                <c:pt idx="6726">
                  <c:v>0.52769857745451576</c:v>
                </c:pt>
                <c:pt idx="6727">
                  <c:v>0.56000550860209031</c:v>
                </c:pt>
                <c:pt idx="6728">
                  <c:v>0.55388483961296964</c:v>
                </c:pt>
                <c:pt idx="6729">
                  <c:v>0.54996251090244175</c:v>
                </c:pt>
                <c:pt idx="6730">
                  <c:v>0.51466665306518022</c:v>
                </c:pt>
                <c:pt idx="6731">
                  <c:v>0.51964479717633139</c:v>
                </c:pt>
                <c:pt idx="6732">
                  <c:v>0.53023355452750986</c:v>
                </c:pt>
                <c:pt idx="6733">
                  <c:v>0.54047547396930495</c:v>
                </c:pt>
                <c:pt idx="6734">
                  <c:v>0.55572614086719696</c:v>
                </c:pt>
                <c:pt idx="6735">
                  <c:v>0.55572614086719696</c:v>
                </c:pt>
                <c:pt idx="6736">
                  <c:v>0.54726941654722872</c:v>
                </c:pt>
                <c:pt idx="6737">
                  <c:v>0.52120556776855698</c:v>
                </c:pt>
                <c:pt idx="6738">
                  <c:v>0.48019708554144991</c:v>
                </c:pt>
                <c:pt idx="6739">
                  <c:v>0.48254334198727933</c:v>
                </c:pt>
                <c:pt idx="6740">
                  <c:v>0.50874490581820608</c:v>
                </c:pt>
                <c:pt idx="6741">
                  <c:v>0.51197355870996697</c:v>
                </c:pt>
                <c:pt idx="6742">
                  <c:v>0.54186282560683874</c:v>
                </c:pt>
                <c:pt idx="6743">
                  <c:v>0.55116114191281107</c:v>
                </c:pt>
                <c:pt idx="6744">
                  <c:v>0.5261684102072357</c:v>
                </c:pt>
                <c:pt idx="6745">
                  <c:v>0.49914565662026855</c:v>
                </c:pt>
                <c:pt idx="6746">
                  <c:v>0.49745737209076957</c:v>
                </c:pt>
                <c:pt idx="6747">
                  <c:v>0.48281877209178981</c:v>
                </c:pt>
                <c:pt idx="6748">
                  <c:v>0.49147951871139517</c:v>
                </c:pt>
                <c:pt idx="6749">
                  <c:v>0.45831059334785285</c:v>
                </c:pt>
                <c:pt idx="6750">
                  <c:v>0.47595342170899291</c:v>
                </c:pt>
                <c:pt idx="6751">
                  <c:v>0.50908154261260763</c:v>
                </c:pt>
                <c:pt idx="6752">
                  <c:v>0.52907572797706792</c:v>
                </c:pt>
                <c:pt idx="6753">
                  <c:v>0.54639722121627909</c:v>
                </c:pt>
                <c:pt idx="6754">
                  <c:v>0.57242026553502301</c:v>
                </c:pt>
                <c:pt idx="6755">
                  <c:v>0.50113487404173274</c:v>
                </c:pt>
                <c:pt idx="6756">
                  <c:v>0.46933799864325154</c:v>
                </c:pt>
                <c:pt idx="6757">
                  <c:v>0.48598621829365962</c:v>
                </c:pt>
                <c:pt idx="6758">
                  <c:v>0.4897096252620412</c:v>
                </c:pt>
                <c:pt idx="6759">
                  <c:v>0.48503241404285502</c:v>
                </c:pt>
                <c:pt idx="6760">
                  <c:v>0.48077854909541617</c:v>
                </c:pt>
                <c:pt idx="6761">
                  <c:v>0.45649479488108047</c:v>
                </c:pt>
                <c:pt idx="6762">
                  <c:v>0.43439917983035548</c:v>
                </c:pt>
                <c:pt idx="6763">
                  <c:v>0.45442396853976152</c:v>
                </c:pt>
                <c:pt idx="6764">
                  <c:v>0.44756371871445566</c:v>
                </c:pt>
                <c:pt idx="6765">
                  <c:v>0.48151812993160159</c:v>
                </c:pt>
                <c:pt idx="6766">
                  <c:v>0.48911286003560206</c:v>
                </c:pt>
                <c:pt idx="6767">
                  <c:v>0.48043171118603256</c:v>
                </c:pt>
                <c:pt idx="6768">
                  <c:v>0.48944439627251257</c:v>
                </c:pt>
                <c:pt idx="6769">
                  <c:v>0.50145110860617059</c:v>
                </c:pt>
                <c:pt idx="6770">
                  <c:v>0.52594908623512548</c:v>
                </c:pt>
                <c:pt idx="6771">
                  <c:v>0.53272772714057659</c:v>
                </c:pt>
                <c:pt idx="6772">
                  <c:v>0.53951146860351851</c:v>
                </c:pt>
                <c:pt idx="6773">
                  <c:v>0.54231167466604102</c:v>
                </c:pt>
                <c:pt idx="6774">
                  <c:v>0.53315617396981496</c:v>
                </c:pt>
                <c:pt idx="6775">
                  <c:v>0.55177320881172331</c:v>
                </c:pt>
                <c:pt idx="6776">
                  <c:v>0.54255140086811493</c:v>
                </c:pt>
                <c:pt idx="6777">
                  <c:v>0.53713460881274311</c:v>
                </c:pt>
                <c:pt idx="6778">
                  <c:v>0.52933585640910552</c:v>
                </c:pt>
                <c:pt idx="6779">
                  <c:v>0.50473586763033196</c:v>
                </c:pt>
                <c:pt idx="6780">
                  <c:v>0.50677099006921478</c:v>
                </c:pt>
                <c:pt idx="6781">
                  <c:v>0.54226576964862261</c:v>
                </c:pt>
                <c:pt idx="6782">
                  <c:v>0.53068750414420296</c:v>
                </c:pt>
                <c:pt idx="6783">
                  <c:v>0.55647082226087319</c:v>
                </c:pt>
                <c:pt idx="6784">
                  <c:v>0.56092360895045834</c:v>
                </c:pt>
                <c:pt idx="6785">
                  <c:v>0.57084419327032454</c:v>
                </c:pt>
                <c:pt idx="6786">
                  <c:v>0.57948453765996621</c:v>
                </c:pt>
                <c:pt idx="6787">
                  <c:v>0.58409034107427926</c:v>
                </c:pt>
                <c:pt idx="6788">
                  <c:v>0.59448527724080247</c:v>
                </c:pt>
                <c:pt idx="6789">
                  <c:v>0.58850232330393704</c:v>
                </c:pt>
                <c:pt idx="6790">
                  <c:v>0.58850232330393704</c:v>
                </c:pt>
                <c:pt idx="6791">
                  <c:v>0.57922950978541965</c:v>
                </c:pt>
                <c:pt idx="6792">
                  <c:v>0.56003101138954503</c:v>
                </c:pt>
                <c:pt idx="6793">
                  <c:v>0.55712879417720362</c:v>
                </c:pt>
                <c:pt idx="6794">
                  <c:v>0.53931254686137198</c:v>
                </c:pt>
                <c:pt idx="6795">
                  <c:v>0.53945536247111825</c:v>
                </c:pt>
                <c:pt idx="6796">
                  <c:v>0.53113125264591421</c:v>
                </c:pt>
                <c:pt idx="6797">
                  <c:v>0.52746395180993288</c:v>
                </c:pt>
                <c:pt idx="6798">
                  <c:v>0.52349571808198636</c:v>
                </c:pt>
                <c:pt idx="6799">
                  <c:v>0.51855837843076236</c:v>
                </c:pt>
                <c:pt idx="6800">
                  <c:v>0.51979271334356847</c:v>
                </c:pt>
                <c:pt idx="6801">
                  <c:v>0.53818532365587557</c:v>
                </c:pt>
                <c:pt idx="6802">
                  <c:v>0.53419158714047454</c:v>
                </c:pt>
                <c:pt idx="6803">
                  <c:v>0.50691890623645164</c:v>
                </c:pt>
                <c:pt idx="6804">
                  <c:v>0.51233569829182324</c:v>
                </c:pt>
                <c:pt idx="6805">
                  <c:v>0.53225847585141062</c:v>
                </c:pt>
                <c:pt idx="6806">
                  <c:v>0.5486720698572356</c:v>
                </c:pt>
                <c:pt idx="6807">
                  <c:v>0.53452312337738528</c:v>
                </c:pt>
                <c:pt idx="6808">
                  <c:v>0.5008441422647496</c:v>
                </c:pt>
                <c:pt idx="6809">
                  <c:v>0.48137531432185554</c:v>
                </c:pt>
                <c:pt idx="6810">
                  <c:v>0.47823337090744023</c:v>
                </c:pt>
                <c:pt idx="6811">
                  <c:v>0.48592501160376855</c:v>
                </c:pt>
                <c:pt idx="6812">
                  <c:v>0.49386657961715219</c:v>
                </c:pt>
                <c:pt idx="6813">
                  <c:v>0.48385418526244917</c:v>
                </c:pt>
                <c:pt idx="6814">
                  <c:v>0.49713093641134987</c:v>
                </c:pt>
                <c:pt idx="6815">
                  <c:v>0.50210397996501022</c:v>
                </c:pt>
                <c:pt idx="6816">
                  <c:v>0.50456754923313119</c:v>
                </c:pt>
                <c:pt idx="6817">
                  <c:v>0.52164421571277741</c:v>
                </c:pt>
                <c:pt idx="6818">
                  <c:v>0.50987722958119308</c:v>
                </c:pt>
                <c:pt idx="6819">
                  <c:v>0.49066342951284581</c:v>
                </c:pt>
                <c:pt idx="6820">
                  <c:v>0.48445605104637957</c:v>
                </c:pt>
                <c:pt idx="6821">
                  <c:v>0.48598111773616859</c:v>
                </c:pt>
                <c:pt idx="6822">
                  <c:v>0.49360135062762356</c:v>
                </c:pt>
                <c:pt idx="6823">
                  <c:v>0.47552497487975431</c:v>
                </c:pt>
                <c:pt idx="6824">
                  <c:v>0.48928117843280283</c:v>
                </c:pt>
                <c:pt idx="6825">
                  <c:v>0.51396787668892197</c:v>
                </c:pt>
                <c:pt idx="6826">
                  <c:v>0.52102704825637436</c:v>
                </c:pt>
                <c:pt idx="6827">
                  <c:v>0.52074141703688226</c:v>
                </c:pt>
                <c:pt idx="6828">
                  <c:v>0.51195825703749431</c:v>
                </c:pt>
                <c:pt idx="6829">
                  <c:v>0.52424550003315362</c:v>
                </c:pt>
                <c:pt idx="6830">
                  <c:v>0.5165487587793347</c:v>
                </c:pt>
                <c:pt idx="6831">
                  <c:v>0.51947647877913061</c:v>
                </c:pt>
                <c:pt idx="6832">
                  <c:v>0.49109697689957521</c:v>
                </c:pt>
                <c:pt idx="6833">
                  <c:v>0.48427243097670569</c:v>
                </c:pt>
                <c:pt idx="6834">
                  <c:v>0.47957991808504685</c:v>
                </c:pt>
                <c:pt idx="6835">
                  <c:v>0.48562917926929416</c:v>
                </c:pt>
                <c:pt idx="6836">
                  <c:v>0.50575087857102785</c:v>
                </c:pt>
                <c:pt idx="6837">
                  <c:v>0.50960179947668283</c:v>
                </c:pt>
                <c:pt idx="6838">
                  <c:v>0.51241730721167822</c:v>
                </c:pt>
                <c:pt idx="6839">
                  <c:v>0.53877188776733287</c:v>
                </c:pt>
                <c:pt idx="6840">
                  <c:v>0.54119465257552646</c:v>
                </c:pt>
                <c:pt idx="6841">
                  <c:v>0.53614000010201113</c:v>
                </c:pt>
                <c:pt idx="6842">
                  <c:v>0.54960037132058526</c:v>
                </c:pt>
                <c:pt idx="6843">
                  <c:v>0.56898248978613353</c:v>
                </c:pt>
                <c:pt idx="6844">
                  <c:v>0.56628429487342968</c:v>
                </c:pt>
                <c:pt idx="6845">
                  <c:v>0.56628429487342968</c:v>
                </c:pt>
                <c:pt idx="6846">
                  <c:v>0.5239598688136613</c:v>
                </c:pt>
                <c:pt idx="6847">
                  <c:v>0.52546963383097767</c:v>
                </c:pt>
                <c:pt idx="6848">
                  <c:v>0.51756887027752141</c:v>
                </c:pt>
                <c:pt idx="6849">
                  <c:v>0.52065470755953625</c:v>
                </c:pt>
                <c:pt idx="6850">
                  <c:v>0.53914932902166224</c:v>
                </c:pt>
                <c:pt idx="6851">
                  <c:v>0.54557093090274766</c:v>
                </c:pt>
                <c:pt idx="6852">
                  <c:v>0.55082450511840952</c:v>
                </c:pt>
                <c:pt idx="6853">
                  <c:v>0.55082450511840952</c:v>
                </c:pt>
                <c:pt idx="6854">
                  <c:v>0.51380975940670304</c:v>
                </c:pt>
                <c:pt idx="6855">
                  <c:v>0.51394747445895828</c:v>
                </c:pt>
                <c:pt idx="6856">
                  <c:v>0.51784430038203189</c:v>
                </c:pt>
                <c:pt idx="6857">
                  <c:v>0.50390957731680075</c:v>
                </c:pt>
                <c:pt idx="6858">
                  <c:v>0.48954130686484043</c:v>
                </c:pt>
                <c:pt idx="6859">
                  <c:v>0.51595199355289534</c:v>
                </c:pt>
                <c:pt idx="6860">
                  <c:v>0.53262061543326689</c:v>
                </c:pt>
                <c:pt idx="6861">
                  <c:v>0.55072249396859085</c:v>
                </c:pt>
                <c:pt idx="6862">
                  <c:v>0.55043686274909831</c:v>
                </c:pt>
                <c:pt idx="6863">
                  <c:v>0.53317657619977865</c:v>
                </c:pt>
                <c:pt idx="6864">
                  <c:v>0.53640522909153976</c:v>
                </c:pt>
                <c:pt idx="6865">
                  <c:v>0.55209964449114302</c:v>
                </c:pt>
                <c:pt idx="6866">
                  <c:v>0.53977669759304714</c:v>
                </c:pt>
                <c:pt idx="6867">
                  <c:v>0.53945536247111825</c:v>
                </c:pt>
                <c:pt idx="6868">
                  <c:v>0.5930418194708682</c:v>
                </c:pt>
                <c:pt idx="6869">
                  <c:v>0.61971263459096071</c:v>
                </c:pt>
                <c:pt idx="6870">
                  <c:v>0.63088795605359671</c:v>
                </c:pt>
                <c:pt idx="6871">
                  <c:v>0.65814023472765593</c:v>
                </c:pt>
                <c:pt idx="6872">
                  <c:v>0.63974252385785757</c:v>
                </c:pt>
                <c:pt idx="6873">
                  <c:v>0.62491010267422231</c:v>
                </c:pt>
                <c:pt idx="6874">
                  <c:v>0.65676818476259458</c:v>
                </c:pt>
                <c:pt idx="6875">
                  <c:v>0.67004493591149505</c:v>
                </c:pt>
                <c:pt idx="6876">
                  <c:v>0.64958149925786879</c:v>
                </c:pt>
                <c:pt idx="6877">
                  <c:v>0.65595209556404521</c:v>
                </c:pt>
                <c:pt idx="6878">
                  <c:v>0.66123627312465239</c:v>
                </c:pt>
                <c:pt idx="6879">
                  <c:v>0.67487006329791832</c:v>
                </c:pt>
                <c:pt idx="6880">
                  <c:v>0.66403137862968409</c:v>
                </c:pt>
                <c:pt idx="6881">
                  <c:v>0.67769067159040497</c:v>
                </c:pt>
                <c:pt idx="6882">
                  <c:v>0.66894321549345337</c:v>
                </c:pt>
                <c:pt idx="6883">
                  <c:v>0.67163630984866662</c:v>
                </c:pt>
                <c:pt idx="6884">
                  <c:v>0.66821383577225002</c:v>
                </c:pt>
                <c:pt idx="6885">
                  <c:v>0.67992471577143387</c:v>
                </c:pt>
                <c:pt idx="6886">
                  <c:v>0.68130696685147707</c:v>
                </c:pt>
                <c:pt idx="6887">
                  <c:v>0.71731690273746929</c:v>
                </c:pt>
                <c:pt idx="6888">
                  <c:v>0.72619187277169406</c:v>
                </c:pt>
                <c:pt idx="6889">
                  <c:v>0.72518706294598001</c:v>
                </c:pt>
                <c:pt idx="6890">
                  <c:v>0.72518706294598001</c:v>
                </c:pt>
                <c:pt idx="6891">
                  <c:v>0.73418954691747818</c:v>
                </c:pt>
                <c:pt idx="6892">
                  <c:v>0.74666040998281114</c:v>
                </c:pt>
                <c:pt idx="6893">
                  <c:v>0.75270457060956786</c:v>
                </c:pt>
                <c:pt idx="6894">
                  <c:v>0.7460687453138628</c:v>
                </c:pt>
                <c:pt idx="6895">
                  <c:v>0.73996847855470604</c:v>
                </c:pt>
                <c:pt idx="6896">
                  <c:v>0.73944312113314004</c:v>
                </c:pt>
                <c:pt idx="6897">
                  <c:v>0.73113941353789969</c:v>
                </c:pt>
                <c:pt idx="6898">
                  <c:v>0.73961654008783162</c:v>
                </c:pt>
                <c:pt idx="6899">
                  <c:v>0.7314454469873557</c:v>
                </c:pt>
                <c:pt idx="6900">
                  <c:v>0.71879606440984012</c:v>
                </c:pt>
                <c:pt idx="6901">
                  <c:v>0.73762732266636744</c:v>
                </c:pt>
                <c:pt idx="6902">
                  <c:v>0.79457504705264292</c:v>
                </c:pt>
                <c:pt idx="6903">
                  <c:v>0.79565126468322989</c:v>
                </c:pt>
                <c:pt idx="6904">
                  <c:v>0.79880340921262682</c:v>
                </c:pt>
                <c:pt idx="6905">
                  <c:v>0.7706993374375819</c:v>
                </c:pt>
                <c:pt idx="6906">
                  <c:v>0.77530514085189517</c:v>
                </c:pt>
                <c:pt idx="6907">
                  <c:v>0.79453424259271532</c:v>
                </c:pt>
                <c:pt idx="6908">
                  <c:v>0.78248672579912992</c:v>
                </c:pt>
                <c:pt idx="6909">
                  <c:v>0.79195846105979406</c:v>
                </c:pt>
                <c:pt idx="6910">
                  <c:v>0.80360813436908662</c:v>
                </c:pt>
                <c:pt idx="6911">
                  <c:v>0.80095584447380119</c:v>
                </c:pt>
                <c:pt idx="6912">
                  <c:v>0.79846167186073447</c:v>
                </c:pt>
                <c:pt idx="6913">
                  <c:v>0.8405361706034471</c:v>
                </c:pt>
                <c:pt idx="6914">
                  <c:v>0.85986218293659489</c:v>
                </c:pt>
                <c:pt idx="6915">
                  <c:v>0.88132532885844417</c:v>
                </c:pt>
                <c:pt idx="6916">
                  <c:v>0.87623497248249227</c:v>
                </c:pt>
                <c:pt idx="6917">
                  <c:v>0.88535476927628198</c:v>
                </c:pt>
                <c:pt idx="6918">
                  <c:v>0.91213779666117523</c:v>
                </c:pt>
                <c:pt idx="6919">
                  <c:v>0.88878234391018962</c:v>
                </c:pt>
                <c:pt idx="6920">
                  <c:v>0.94076212530029535</c:v>
                </c:pt>
                <c:pt idx="6921">
                  <c:v>0.94291966111896031</c:v>
                </c:pt>
                <c:pt idx="6922">
                  <c:v>0.9472245316413086</c:v>
                </c:pt>
                <c:pt idx="6923">
                  <c:v>0.90927128335127039</c:v>
                </c:pt>
                <c:pt idx="6924">
                  <c:v>0.9077360155464993</c:v>
                </c:pt>
                <c:pt idx="6925">
                  <c:v>0.89132752209816535</c:v>
                </c:pt>
                <c:pt idx="6926">
                  <c:v>0.94545463819195441</c:v>
                </c:pt>
                <c:pt idx="6927">
                  <c:v>0.94593409059610223</c:v>
                </c:pt>
                <c:pt idx="6928">
                  <c:v>0.92734765909913941</c:v>
                </c:pt>
                <c:pt idx="6929">
                  <c:v>0.91390769011052919</c:v>
                </c:pt>
                <c:pt idx="6930">
                  <c:v>0.89972814028573334</c:v>
                </c:pt>
                <c:pt idx="6931">
                  <c:v>0.91031689763691181</c:v>
                </c:pt>
                <c:pt idx="6932">
                  <c:v>0.88996057269059525</c:v>
                </c:pt>
                <c:pt idx="6933">
                  <c:v>0.89891205108718375</c:v>
                </c:pt>
                <c:pt idx="6934">
                  <c:v>0.93560546167696135</c:v>
                </c:pt>
                <c:pt idx="6935">
                  <c:v>0.93200956864585316</c:v>
                </c:pt>
                <c:pt idx="6936">
                  <c:v>0.92466986641639926</c:v>
                </c:pt>
                <c:pt idx="6937">
                  <c:v>0.97112574404382412</c:v>
                </c:pt>
                <c:pt idx="6938">
                  <c:v>0.98258159616846119</c:v>
                </c:pt>
                <c:pt idx="6939">
                  <c:v>0.96918243163977813</c:v>
                </c:pt>
                <c:pt idx="6940">
                  <c:v>0.94425600718158487</c:v>
                </c:pt>
                <c:pt idx="6941">
                  <c:v>0.91946219721815581</c:v>
                </c:pt>
                <c:pt idx="6942">
                  <c:v>0.9293776809805312</c:v>
                </c:pt>
                <c:pt idx="6943">
                  <c:v>0.92893903303631098</c:v>
                </c:pt>
                <c:pt idx="6944">
                  <c:v>0.90050852558184613</c:v>
                </c:pt>
                <c:pt idx="6945">
                  <c:v>0.9208189455107445</c:v>
                </c:pt>
                <c:pt idx="6946">
                  <c:v>0.9113523108075714</c:v>
                </c:pt>
                <c:pt idx="6947">
                  <c:v>0.90673630627827628</c:v>
                </c:pt>
                <c:pt idx="6948">
                  <c:v>0.87813237986911985</c:v>
                </c:pt>
                <c:pt idx="6949">
                  <c:v>0.91603972314173965</c:v>
                </c:pt>
                <c:pt idx="6950">
                  <c:v>0.93280525561443883</c:v>
                </c:pt>
                <c:pt idx="6951">
                  <c:v>0.94518430864493497</c:v>
                </c:pt>
                <c:pt idx="6952">
                  <c:v>0.94589838669366566</c:v>
                </c:pt>
                <c:pt idx="6953">
                  <c:v>0.94059890746058539</c:v>
                </c:pt>
                <c:pt idx="6954">
                  <c:v>0.93687550049220381</c:v>
                </c:pt>
                <c:pt idx="6955">
                  <c:v>0.9177229071137476</c:v>
                </c:pt>
                <c:pt idx="6956">
                  <c:v>0.91102077457066066</c:v>
                </c:pt>
                <c:pt idx="6957">
                  <c:v>0.92791382098063324</c:v>
                </c:pt>
                <c:pt idx="6958">
                  <c:v>0.92791382098063324</c:v>
                </c:pt>
                <c:pt idx="6959">
                  <c:v>0.93113227275741228</c:v>
                </c:pt>
                <c:pt idx="6960">
                  <c:v>0.96335249442764104</c:v>
                </c:pt>
                <c:pt idx="6961">
                  <c:v>0.97295684418306916</c:v>
                </c:pt>
                <c:pt idx="6962">
                  <c:v>0.95418679261643313</c:v>
                </c:pt>
                <c:pt idx="6963">
                  <c:v>0.98252038947857012</c:v>
                </c:pt>
                <c:pt idx="6964">
                  <c:v>1.0310929984647323</c:v>
                </c:pt>
                <c:pt idx="6965">
                  <c:v>1.057672003549988</c:v>
                </c:pt>
                <c:pt idx="6966">
                  <c:v>1.0566467914943103</c:v>
                </c:pt>
                <c:pt idx="6967">
                  <c:v>1.0515513345608678</c:v>
                </c:pt>
                <c:pt idx="6968">
                  <c:v>1.0515513345608678</c:v>
                </c:pt>
                <c:pt idx="6969">
                  <c:v>1.0646801695425308</c:v>
                </c:pt>
                <c:pt idx="6970">
                  <c:v>1.0646801695425308</c:v>
                </c:pt>
                <c:pt idx="6971">
                  <c:v>1.0551115236895394</c:v>
                </c:pt>
                <c:pt idx="6972">
                  <c:v>1.0561265346302351</c:v>
                </c:pt>
                <c:pt idx="6973">
                  <c:v>1.0492662848049292</c:v>
                </c:pt>
                <c:pt idx="6974">
                  <c:v>1.0831900926771296</c:v>
                </c:pt>
                <c:pt idx="6975">
                  <c:v>1.0544586523306996</c:v>
                </c:pt>
                <c:pt idx="6976">
                  <c:v>1.0412431078716904</c:v>
                </c:pt>
                <c:pt idx="6977">
                  <c:v>1.0443187440387236</c:v>
                </c:pt>
                <c:pt idx="6978">
                  <c:v>1.0545045573481184</c:v>
                </c:pt>
                <c:pt idx="6979">
                  <c:v>1.0226923802771646</c:v>
                </c:pt>
                <c:pt idx="6980">
                  <c:v>0.98973257777075041</c:v>
                </c:pt>
                <c:pt idx="6981">
                  <c:v>0.98363231101159365</c:v>
                </c:pt>
                <c:pt idx="6982">
                  <c:v>1.0126289803475519</c:v>
                </c:pt>
                <c:pt idx="6983">
                  <c:v>1.0251049439703759</c:v>
                </c:pt>
                <c:pt idx="6984">
                  <c:v>0.99459850961710128</c:v>
                </c:pt>
                <c:pt idx="6985">
                  <c:v>1.0094207296857549</c:v>
                </c:pt>
                <c:pt idx="6986">
                  <c:v>1.0383102873144034</c:v>
                </c:pt>
                <c:pt idx="6987">
                  <c:v>1.0105377517762695</c:v>
                </c:pt>
                <c:pt idx="6988">
                  <c:v>0.98269890899075274</c:v>
                </c:pt>
                <c:pt idx="6989">
                  <c:v>0.97310476035030624</c:v>
                </c:pt>
                <c:pt idx="6990">
                  <c:v>0.9705799843922942</c:v>
                </c:pt>
                <c:pt idx="6991">
                  <c:v>0.99216044313643481</c:v>
                </c:pt>
                <c:pt idx="6992">
                  <c:v>0.96862647087326659</c:v>
                </c:pt>
                <c:pt idx="6993">
                  <c:v>0.99256338717821868</c:v>
                </c:pt>
                <c:pt idx="6994">
                  <c:v>0.99685295602809387</c:v>
                </c:pt>
                <c:pt idx="6995">
                  <c:v>1.024176642507026</c:v>
                </c:pt>
                <c:pt idx="6996">
                  <c:v>1.0159494432741498</c:v>
                </c:pt>
                <c:pt idx="6997">
                  <c:v>0.98507066822403688</c:v>
                </c:pt>
                <c:pt idx="6998">
                  <c:v>0.99146676731766781</c:v>
                </c:pt>
                <c:pt idx="6999">
                  <c:v>0.98591226021004097</c:v>
                </c:pt>
                <c:pt idx="7000">
                  <c:v>0.98591226021004097</c:v>
                </c:pt>
                <c:pt idx="7001">
                  <c:v>0.99327236466945834</c:v>
                </c:pt>
                <c:pt idx="7002">
                  <c:v>1.019025079441183</c:v>
                </c:pt>
                <c:pt idx="7003">
                  <c:v>1.0050495519160245</c:v>
                </c:pt>
                <c:pt idx="7004">
                  <c:v>1.019244403413293</c:v>
                </c:pt>
                <c:pt idx="7005">
                  <c:v>1.0096859586752833</c:v>
                </c:pt>
                <c:pt idx="7006">
                  <c:v>1.0064828085709769</c:v>
                </c:pt>
                <c:pt idx="7007">
                  <c:v>1.0354029695445712</c:v>
                </c:pt>
                <c:pt idx="7008">
                  <c:v>1.041814370310675</c:v>
                </c:pt>
                <c:pt idx="7009">
                  <c:v>1.0266861167925656</c:v>
                </c:pt>
                <c:pt idx="7010">
                  <c:v>1.0280632673151175</c:v>
                </c:pt>
                <c:pt idx="7011">
                  <c:v>1.0024176642507028</c:v>
                </c:pt>
                <c:pt idx="7012">
                  <c:v>1.0232534416011672</c:v>
                </c:pt>
                <c:pt idx="7013">
                  <c:v>1.0091095956788076</c:v>
                </c:pt>
                <c:pt idx="7014">
                  <c:v>1.0032286528917611</c:v>
                </c:pt>
                <c:pt idx="7015">
                  <c:v>0.99894928515686776</c:v>
                </c:pt>
                <c:pt idx="7016">
                  <c:v>1.003162345644379</c:v>
                </c:pt>
                <c:pt idx="7017">
                  <c:v>1.000606966341421</c:v>
                </c:pt>
                <c:pt idx="7018">
                  <c:v>1.0387540358161149</c:v>
                </c:pt>
                <c:pt idx="7019">
                  <c:v>1.0565345792295098</c:v>
                </c:pt>
                <c:pt idx="7020">
                  <c:v>1.0561877413201266</c:v>
                </c:pt>
                <c:pt idx="7021">
                  <c:v>1.0752026196463276</c:v>
                </c:pt>
                <c:pt idx="7022">
                  <c:v>1.0683423698210217</c:v>
                </c:pt>
                <c:pt idx="7023">
                  <c:v>1.0808999423637005</c:v>
                </c:pt>
                <c:pt idx="7024">
                  <c:v>1.0670417276608335</c:v>
                </c:pt>
                <c:pt idx="7025">
                  <c:v>1.0535405519823318</c:v>
                </c:pt>
                <c:pt idx="7026">
                  <c:v>1.0461702464079323</c:v>
                </c:pt>
                <c:pt idx="7027">
                  <c:v>1.0520154852925425</c:v>
                </c:pt>
                <c:pt idx="7028">
                  <c:v>1.0685820960230954</c:v>
                </c:pt>
                <c:pt idx="7029">
                  <c:v>1.060385500135165</c:v>
                </c:pt>
                <c:pt idx="7030">
                  <c:v>1.0687198110753506</c:v>
                </c:pt>
                <c:pt idx="7031">
                  <c:v>1.0807673278689358</c:v>
                </c:pt>
                <c:pt idx="7032">
                  <c:v>1.0914886997148789</c:v>
                </c:pt>
                <c:pt idx="7033">
                  <c:v>1.0736622512840652</c:v>
                </c:pt>
                <c:pt idx="7034">
                  <c:v>1.0731572960924631</c:v>
                </c:pt>
                <c:pt idx="7035">
                  <c:v>1.0860209020845981</c:v>
                </c:pt>
                <c:pt idx="7036">
                  <c:v>1.0930749730945593</c:v>
                </c:pt>
                <c:pt idx="7037">
                  <c:v>1.1253410997822062</c:v>
                </c:pt>
                <c:pt idx="7038">
                  <c:v>1.1105188797135526</c:v>
                </c:pt>
                <c:pt idx="7039">
                  <c:v>1.0882243429206815</c:v>
                </c:pt>
                <c:pt idx="7040">
                  <c:v>1.078625093722744</c:v>
                </c:pt>
                <c:pt idx="7041">
                  <c:v>1.082955467032547</c:v>
                </c:pt>
                <c:pt idx="7042">
                  <c:v>1.082955467032547</c:v>
                </c:pt>
                <c:pt idx="7043">
                  <c:v>1.0869186002030022</c:v>
                </c:pt>
                <c:pt idx="7044">
                  <c:v>1.06237981811412</c:v>
                </c:pt>
                <c:pt idx="7045">
                  <c:v>1.0682352581137118</c:v>
                </c:pt>
                <c:pt idx="7046">
                  <c:v>1.0834961261265859</c:v>
                </c:pt>
                <c:pt idx="7047">
                  <c:v>1.0922282805510641</c:v>
                </c:pt>
                <c:pt idx="7048">
                  <c:v>1.0955793468226078</c:v>
                </c:pt>
                <c:pt idx="7049">
                  <c:v>1.1527259929510296</c:v>
                </c:pt>
                <c:pt idx="7050">
                  <c:v>1.1662832747619314</c:v>
                </c:pt>
                <c:pt idx="7051">
                  <c:v>1.2184976817966207</c:v>
                </c:pt>
                <c:pt idx="7052">
                  <c:v>1.1889348505791686</c:v>
                </c:pt>
                <c:pt idx="7053">
                  <c:v>1.2125810351071373</c:v>
                </c:pt>
                <c:pt idx="7054">
                  <c:v>1.2053025395675747</c:v>
                </c:pt>
                <c:pt idx="7055">
                  <c:v>1.21570767684908</c:v>
                </c:pt>
                <c:pt idx="7056">
                  <c:v>1.2067919023549272</c:v>
                </c:pt>
                <c:pt idx="7057">
                  <c:v>1.2030174898116366</c:v>
                </c:pt>
                <c:pt idx="7058">
                  <c:v>1.1849462146212582</c:v>
                </c:pt>
                <c:pt idx="7059">
                  <c:v>1.1777493280015507</c:v>
                </c:pt>
                <c:pt idx="7060">
                  <c:v>1.2047822827034995</c:v>
                </c:pt>
                <c:pt idx="7061">
                  <c:v>1.1981464574077947</c:v>
                </c:pt>
                <c:pt idx="7062">
                  <c:v>1.193137709951698</c:v>
                </c:pt>
                <c:pt idx="7063">
                  <c:v>1.199513406815365</c:v>
                </c:pt>
                <c:pt idx="7064">
                  <c:v>1.1915208332270719</c:v>
                </c:pt>
                <c:pt idx="7065">
                  <c:v>1.194525061589232</c:v>
                </c:pt>
                <c:pt idx="7066">
                  <c:v>1.1954533630525819</c:v>
                </c:pt>
                <c:pt idx="7067">
                  <c:v>1.1926684586625318</c:v>
                </c:pt>
                <c:pt idx="7068">
                  <c:v>1.1655538950407283</c:v>
                </c:pt>
                <c:pt idx="7069">
                  <c:v>1.1764639875138352</c:v>
                </c:pt>
                <c:pt idx="7070">
                  <c:v>1.1522669427768455</c:v>
                </c:pt>
                <c:pt idx="7071">
                  <c:v>1.1436623022896404</c:v>
                </c:pt>
                <c:pt idx="7072">
                  <c:v>1.135307589119491</c:v>
                </c:pt>
                <c:pt idx="7073">
                  <c:v>1.137077482568845</c:v>
                </c:pt>
                <c:pt idx="7074">
                  <c:v>1.1603411252849938</c:v>
                </c:pt>
                <c:pt idx="7075">
                  <c:v>1.1745359767822623</c:v>
                </c:pt>
                <c:pt idx="7076">
                  <c:v>1.1744696695348802</c:v>
                </c:pt>
                <c:pt idx="7077">
                  <c:v>1.1521802332994997</c:v>
                </c:pt>
                <c:pt idx="7078">
                  <c:v>1.1691344863993636</c:v>
                </c:pt>
                <c:pt idx="7079">
                  <c:v>1.1832324273043047</c:v>
                </c:pt>
                <c:pt idx="7080">
                  <c:v>1.2007477417281711</c:v>
                </c:pt>
                <c:pt idx="7081">
                  <c:v>1.2158453919013348</c:v>
                </c:pt>
                <c:pt idx="7082">
                  <c:v>1.2469179881361034</c:v>
                </c:pt>
                <c:pt idx="7083">
                  <c:v>1.2345083317606615</c:v>
                </c:pt>
                <c:pt idx="7084">
                  <c:v>1.2261179146880754</c:v>
                </c:pt>
                <c:pt idx="7085">
                  <c:v>1.2317183268131204</c:v>
                </c:pt>
                <c:pt idx="7086">
                  <c:v>1.2139632861871803</c:v>
                </c:pt>
                <c:pt idx="7087">
                  <c:v>1.2033796293934929</c:v>
                </c:pt>
                <c:pt idx="7088">
                  <c:v>1.1726895749705442</c:v>
                </c:pt>
                <c:pt idx="7089">
                  <c:v>1.170955385423627</c:v>
                </c:pt>
                <c:pt idx="7090">
                  <c:v>1.1779125458412603</c:v>
                </c:pt>
                <c:pt idx="7091">
                  <c:v>1.155929143055336</c:v>
                </c:pt>
                <c:pt idx="7092">
                  <c:v>1.1571991818705785</c:v>
                </c:pt>
                <c:pt idx="7093">
                  <c:v>1.1627332867482414</c:v>
                </c:pt>
                <c:pt idx="7094">
                  <c:v>1.191199498105143</c:v>
                </c:pt>
                <c:pt idx="7095">
                  <c:v>1.2163146431905005</c:v>
                </c:pt>
                <c:pt idx="7096">
                  <c:v>1.2232412002631885</c:v>
                </c:pt>
                <c:pt idx="7097">
                  <c:v>1.2232412002631885</c:v>
                </c:pt>
                <c:pt idx="7098">
                  <c:v>1.2025584396374525</c:v>
                </c:pt>
                <c:pt idx="7099">
                  <c:v>1.1964989773382233</c:v>
                </c:pt>
                <c:pt idx="7100">
                  <c:v>1.2148303809606391</c:v>
                </c:pt>
                <c:pt idx="7101">
                  <c:v>1.2333505052102196</c:v>
                </c:pt>
                <c:pt idx="7102">
                  <c:v>1.2130655880687757</c:v>
                </c:pt>
                <c:pt idx="7103">
                  <c:v>1.1821358074437534</c:v>
                </c:pt>
                <c:pt idx="7104">
                  <c:v>1.1640084261209749</c:v>
                </c:pt>
                <c:pt idx="7105">
                  <c:v>1.1613459351107078</c:v>
                </c:pt>
                <c:pt idx="7106">
                  <c:v>1.1699352739254403</c:v>
                </c:pt>
                <c:pt idx="7107">
                  <c:v>1.1299571043115013</c:v>
                </c:pt>
                <c:pt idx="7108">
                  <c:v>1.123050949468777</c:v>
                </c:pt>
                <c:pt idx="7109">
                  <c:v>1.1518588981775708</c:v>
                </c:pt>
                <c:pt idx="7110">
                  <c:v>1.1732251335070925</c:v>
                </c:pt>
                <c:pt idx="7111">
                  <c:v>1.1917095538542362</c:v>
                </c:pt>
                <c:pt idx="7112">
                  <c:v>1.1920767939935839</c:v>
                </c:pt>
                <c:pt idx="7113">
                  <c:v>1.183048807234631</c:v>
                </c:pt>
                <c:pt idx="7114">
                  <c:v>1.1988095298816162</c:v>
                </c:pt>
                <c:pt idx="7115">
                  <c:v>1.1887359288370218</c:v>
                </c:pt>
                <c:pt idx="7116">
                  <c:v>1.1451822684219386</c:v>
                </c:pt>
                <c:pt idx="7117">
                  <c:v>1.1209189164375668</c:v>
                </c:pt>
                <c:pt idx="7118">
                  <c:v>1.1043880096094503</c:v>
                </c:pt>
                <c:pt idx="7119">
                  <c:v>1.1169200793646747</c:v>
                </c:pt>
                <c:pt idx="7120">
                  <c:v>1.1200620227790896</c:v>
                </c:pt>
                <c:pt idx="7121">
                  <c:v>1.108575567309507</c:v>
                </c:pt>
                <c:pt idx="7122">
                  <c:v>1.1074024390865924</c:v>
                </c:pt>
                <c:pt idx="7123">
                  <c:v>1.12104643037484</c:v>
                </c:pt>
                <c:pt idx="7124">
                  <c:v>1.1017561219441285</c:v>
                </c:pt>
                <c:pt idx="7125">
                  <c:v>1.1253155969947515</c:v>
                </c:pt>
                <c:pt idx="7126">
                  <c:v>1.1215972905838609</c:v>
                </c:pt>
                <c:pt idx="7127">
                  <c:v>1.1437388106520041</c:v>
                </c:pt>
                <c:pt idx="7128">
                  <c:v>1.128197411977129</c:v>
                </c:pt>
                <c:pt idx="7129">
                  <c:v>1.1714552400577385</c:v>
                </c:pt>
                <c:pt idx="7130">
                  <c:v>1.1625700689085319</c:v>
                </c:pt>
                <c:pt idx="7131">
                  <c:v>1.1655079900233098</c:v>
                </c:pt>
                <c:pt idx="7132">
                  <c:v>1.1692620003366367</c:v>
                </c:pt>
                <c:pt idx="7133">
                  <c:v>1.1534655737872153</c:v>
                </c:pt>
                <c:pt idx="7134">
                  <c:v>1.1534655737872153</c:v>
                </c:pt>
                <c:pt idx="7135">
                  <c:v>1.184267840474964</c:v>
                </c:pt>
                <c:pt idx="7136">
                  <c:v>1.1839312036805625</c:v>
                </c:pt>
                <c:pt idx="7137">
                  <c:v>1.1671707717653543</c:v>
                </c:pt>
                <c:pt idx="7138">
                  <c:v>1.1671707717653543</c:v>
                </c:pt>
                <c:pt idx="7139">
                  <c:v>1.168955966887181</c:v>
                </c:pt>
                <c:pt idx="7140">
                  <c:v>1.2305298969177332</c:v>
                </c:pt>
                <c:pt idx="7141">
                  <c:v>1.2273420484858995</c:v>
                </c:pt>
                <c:pt idx="7142">
                  <c:v>1.2441228826310717</c:v>
                </c:pt>
                <c:pt idx="7143">
                  <c:v>1.2263066353152401</c:v>
                </c:pt>
                <c:pt idx="7144">
                  <c:v>1.2112446890445128</c:v>
                </c:pt>
                <c:pt idx="7145">
                  <c:v>1.2317489301580662</c:v>
                </c:pt>
                <c:pt idx="7146">
                  <c:v>1.2359160856281592</c:v>
                </c:pt>
                <c:pt idx="7147">
                  <c:v>1.2815405723845616</c:v>
                </c:pt>
                <c:pt idx="7148">
                  <c:v>1.2897014643700557</c:v>
                </c:pt>
                <c:pt idx="7149">
                  <c:v>1.2816425835343801</c:v>
                </c:pt>
                <c:pt idx="7150">
                  <c:v>1.2909817043002803</c:v>
                </c:pt>
                <c:pt idx="7151">
                  <c:v>1.3077472367729794</c:v>
                </c:pt>
                <c:pt idx="7152">
                  <c:v>1.3161121510581104</c:v>
                </c:pt>
                <c:pt idx="7153">
                  <c:v>1.3083848064593462</c:v>
                </c:pt>
                <c:pt idx="7154">
                  <c:v>1.2799491984473903</c:v>
                </c:pt>
                <c:pt idx="7155">
                  <c:v>1.2897932744048926</c:v>
                </c:pt>
                <c:pt idx="7156">
                  <c:v>1.2835654937084624</c:v>
                </c:pt>
                <c:pt idx="7157">
                  <c:v>1.2595571695986374</c:v>
                </c:pt>
                <c:pt idx="7158">
                  <c:v>1.248698082700439</c:v>
                </c:pt>
                <c:pt idx="7159">
                  <c:v>1.23144289670861</c:v>
                </c:pt>
                <c:pt idx="7160">
                  <c:v>1.2076947010308228</c:v>
                </c:pt>
                <c:pt idx="7161">
                  <c:v>1.2065929806127813</c:v>
                </c:pt>
                <c:pt idx="7162">
                  <c:v>1.1238568375523448</c:v>
                </c:pt>
                <c:pt idx="7163">
                  <c:v>1.1499614907909432</c:v>
                </c:pt>
                <c:pt idx="7164">
                  <c:v>1.1189756040335208</c:v>
                </c:pt>
                <c:pt idx="7165">
                  <c:v>1.0981092233381107</c:v>
                </c:pt>
                <c:pt idx="7166">
                  <c:v>1.1259531666811182</c:v>
                </c:pt>
                <c:pt idx="7167">
                  <c:v>1.1411528280041008</c:v>
                </c:pt>
                <c:pt idx="7168">
                  <c:v>1.1571073718357416</c:v>
                </c:pt>
                <c:pt idx="7169">
                  <c:v>1.1340273491892665</c:v>
                </c:pt>
                <c:pt idx="7170">
                  <c:v>1.1193989503052681</c:v>
                </c:pt>
                <c:pt idx="7171">
                  <c:v>1.1249177535104589</c:v>
                </c:pt>
                <c:pt idx="7172">
                  <c:v>1.1180830064726073</c:v>
                </c:pt>
                <c:pt idx="7173">
                  <c:v>1.1226786087719387</c:v>
                </c:pt>
                <c:pt idx="7174">
                  <c:v>1.1186542689115924</c:v>
                </c:pt>
                <c:pt idx="7175">
                  <c:v>1.1208679108626574</c:v>
                </c:pt>
                <c:pt idx="7176">
                  <c:v>1.1322115507224941</c:v>
                </c:pt>
                <c:pt idx="7177">
                  <c:v>1.0818537466145051</c:v>
                </c:pt>
                <c:pt idx="7178">
                  <c:v>1.056004121250453</c:v>
                </c:pt>
                <c:pt idx="7179">
                  <c:v>1.0377441254329098</c:v>
                </c:pt>
                <c:pt idx="7180">
                  <c:v>1.0517196529580684</c:v>
                </c:pt>
                <c:pt idx="7181">
                  <c:v>1.060002958323345</c:v>
                </c:pt>
                <c:pt idx="7182">
                  <c:v>1.0776712894719394</c:v>
                </c:pt>
                <c:pt idx="7183">
                  <c:v>1.0446604813906162</c:v>
                </c:pt>
                <c:pt idx="7184">
                  <c:v>1.0732440055698089</c:v>
                </c:pt>
                <c:pt idx="7185">
                  <c:v>1.0945286319794754</c:v>
                </c:pt>
                <c:pt idx="7186">
                  <c:v>1.0719025589496933</c:v>
                </c:pt>
                <c:pt idx="7187">
                  <c:v>1.0568865176963844</c:v>
                </c:pt>
                <c:pt idx="7188">
                  <c:v>1.0444717607634515</c:v>
                </c:pt>
                <c:pt idx="7189">
                  <c:v>1.0120730195810403</c:v>
                </c:pt>
                <c:pt idx="7190">
                  <c:v>0.97989360237073919</c:v>
                </c:pt>
                <c:pt idx="7191">
                  <c:v>1.0006375696863667</c:v>
                </c:pt>
                <c:pt idx="7192">
                  <c:v>1.0435026548401738</c:v>
                </c:pt>
                <c:pt idx="7193">
                  <c:v>1.0024074631357207</c:v>
                </c:pt>
                <c:pt idx="7194">
                  <c:v>0.9875444386071397</c:v>
                </c:pt>
                <c:pt idx="7195">
                  <c:v>0.97295684418306916</c:v>
                </c:pt>
                <c:pt idx="7196">
                  <c:v>0.97794518940920261</c:v>
                </c:pt>
                <c:pt idx="7197">
                  <c:v>0.9404254885058938</c:v>
                </c:pt>
                <c:pt idx="7198">
                  <c:v>0.94630133073544953</c:v>
                </c:pt>
                <c:pt idx="7199">
                  <c:v>0.94630133073544953</c:v>
                </c:pt>
                <c:pt idx="7200">
                  <c:v>0.97163579979291748</c:v>
                </c:pt>
                <c:pt idx="7201">
                  <c:v>0.93803332704264597</c:v>
                </c:pt>
                <c:pt idx="7202">
                  <c:v>0.97553772627348168</c:v>
                </c:pt>
                <c:pt idx="7203">
                  <c:v>0.98893179024467393</c:v>
                </c:pt>
                <c:pt idx="7204">
                  <c:v>0.99190031470439743</c:v>
                </c:pt>
                <c:pt idx="7205">
                  <c:v>1.0030348317071058</c:v>
                </c:pt>
                <c:pt idx="7206">
                  <c:v>1.0004998546341115</c:v>
                </c:pt>
                <c:pt idx="7207">
                  <c:v>1.030883875607604</c:v>
                </c:pt>
                <c:pt idx="7208">
                  <c:v>1.0343012491265293</c:v>
                </c:pt>
                <c:pt idx="7209">
                  <c:v>1.0253905751898684</c:v>
                </c:pt>
                <c:pt idx="7210">
                  <c:v>1.0322151211127379</c:v>
                </c:pt>
                <c:pt idx="7211">
                  <c:v>1.0388611475234244</c:v>
                </c:pt>
                <c:pt idx="7212">
                  <c:v>1.0469914361639727</c:v>
                </c:pt>
                <c:pt idx="7213">
                  <c:v>1.023625782298005</c:v>
                </c:pt>
                <c:pt idx="7214">
                  <c:v>1.0178111467583406</c:v>
                </c:pt>
                <c:pt idx="7215">
                  <c:v>0.99797507867609947</c:v>
                </c:pt>
                <c:pt idx="7216">
                  <c:v>0.98735571797997523</c:v>
                </c:pt>
                <c:pt idx="7217">
                  <c:v>1.0103796344940501</c:v>
                </c:pt>
                <c:pt idx="7218">
                  <c:v>1.0044374850171125</c:v>
                </c:pt>
                <c:pt idx="7219">
                  <c:v>1.0180610740753968</c:v>
                </c:pt>
                <c:pt idx="7220">
                  <c:v>1.0180610740753968</c:v>
                </c:pt>
                <c:pt idx="7221">
                  <c:v>1.0180967779778332</c:v>
                </c:pt>
                <c:pt idx="7222">
                  <c:v>1.0180967779778332</c:v>
                </c:pt>
                <c:pt idx="7223">
                  <c:v>0.96652504118700189</c:v>
                </c:pt>
                <c:pt idx="7224">
                  <c:v>0.94980541373172089</c:v>
                </c:pt>
                <c:pt idx="7225">
                  <c:v>0.96921303498472389</c:v>
                </c:pt>
                <c:pt idx="7226">
                  <c:v>1.0085893388147325</c:v>
                </c:pt>
                <c:pt idx="7227">
                  <c:v>1.0275991165834428</c:v>
                </c:pt>
                <c:pt idx="7228">
                  <c:v>1.0510667815992289</c:v>
                </c:pt>
                <c:pt idx="7229">
                  <c:v>1.0437831855021753</c:v>
                </c:pt>
                <c:pt idx="7230">
                  <c:v>1.0050240491285698</c:v>
                </c:pt>
                <c:pt idx="7231">
                  <c:v>1.004544596724422</c:v>
                </c:pt>
                <c:pt idx="7232">
                  <c:v>0.98681505888593635</c:v>
                </c:pt>
                <c:pt idx="7233">
                  <c:v>0.96438790759830062</c:v>
                </c:pt>
                <c:pt idx="7234">
                  <c:v>0.99791897254369899</c:v>
                </c:pt>
                <c:pt idx="7235">
                  <c:v>0.9805872781895062</c:v>
                </c:pt>
                <c:pt idx="7236">
                  <c:v>0.94653595638003241</c:v>
                </c:pt>
                <c:pt idx="7237">
                  <c:v>0.9500043354738672</c:v>
                </c:pt>
                <c:pt idx="7238">
                  <c:v>0.94998393324390351</c:v>
                </c:pt>
                <c:pt idx="7239">
                  <c:v>0.93215238425559921</c:v>
                </c:pt>
                <c:pt idx="7240">
                  <c:v>0.90141132425774129</c:v>
                </c:pt>
                <c:pt idx="7241">
                  <c:v>0.90141132425774129</c:v>
                </c:pt>
                <c:pt idx="7242">
                  <c:v>0.93066302146824653</c:v>
                </c:pt>
                <c:pt idx="7243">
                  <c:v>0.94815283310465825</c:v>
                </c:pt>
                <c:pt idx="7244">
                  <c:v>0.98856965066281743</c:v>
                </c:pt>
                <c:pt idx="7245">
                  <c:v>0.98920211979169315</c:v>
                </c:pt>
                <c:pt idx="7246">
                  <c:v>1.001611776167135</c:v>
                </c:pt>
                <c:pt idx="7247">
                  <c:v>0.98337218257955605</c:v>
                </c:pt>
                <c:pt idx="7248">
                  <c:v>0.96967718571639883</c:v>
                </c:pt>
                <c:pt idx="7249">
                  <c:v>0.98542770724840234</c:v>
                </c:pt>
                <c:pt idx="7250">
                  <c:v>0.97357401163947221</c:v>
                </c:pt>
                <c:pt idx="7251">
                  <c:v>0.97308945867783359</c:v>
                </c:pt>
                <c:pt idx="7252">
                  <c:v>0.9418995496207736</c:v>
                </c:pt>
                <c:pt idx="7253">
                  <c:v>0.89603533666229729</c:v>
                </c:pt>
                <c:pt idx="7254">
                  <c:v>0.86939002432965928</c:v>
                </c:pt>
                <c:pt idx="7255">
                  <c:v>0.89885594495478371</c:v>
                </c:pt>
                <c:pt idx="7256">
                  <c:v>0.89597923052989681</c:v>
                </c:pt>
                <c:pt idx="7257">
                  <c:v>0.90652718342114813</c:v>
                </c:pt>
                <c:pt idx="7258">
                  <c:v>0.90037591108708193</c:v>
                </c:pt>
                <c:pt idx="7259">
                  <c:v>0.89817757080848959</c:v>
                </c:pt>
                <c:pt idx="7260">
                  <c:v>0.88922099185440961</c:v>
                </c:pt>
                <c:pt idx="7261">
                  <c:v>0.84999770474912917</c:v>
                </c:pt>
                <c:pt idx="7262">
                  <c:v>0.88236584258659478</c:v>
                </c:pt>
                <c:pt idx="7263">
                  <c:v>0.86812508607190786</c:v>
                </c:pt>
                <c:pt idx="7264">
                  <c:v>0.90419622864779114</c:v>
                </c:pt>
                <c:pt idx="7265">
                  <c:v>0.91313750592939824</c:v>
                </c:pt>
                <c:pt idx="7266">
                  <c:v>0.90911826662654227</c:v>
                </c:pt>
                <c:pt idx="7267">
                  <c:v>0.90880203206210441</c:v>
                </c:pt>
                <c:pt idx="7268">
                  <c:v>0.93184125024865239</c:v>
                </c:pt>
                <c:pt idx="7269">
                  <c:v>0.91456566202685963</c:v>
                </c:pt>
                <c:pt idx="7270">
                  <c:v>0.91722815303712713</c:v>
                </c:pt>
                <c:pt idx="7271">
                  <c:v>0.9136271594485279</c:v>
                </c:pt>
                <c:pt idx="7272">
                  <c:v>0.89308211387504666</c:v>
                </c:pt>
                <c:pt idx="7273">
                  <c:v>0.9101383781247292</c:v>
                </c:pt>
                <c:pt idx="7274">
                  <c:v>0.90651698230616629</c:v>
                </c:pt>
                <c:pt idx="7275">
                  <c:v>0.91294368474474274</c:v>
                </c:pt>
                <c:pt idx="7276">
                  <c:v>0.94511290084006205</c:v>
                </c:pt>
                <c:pt idx="7277">
                  <c:v>0.96436750536833693</c:v>
                </c:pt>
                <c:pt idx="7278">
                  <c:v>0.99977047491290816</c:v>
                </c:pt>
                <c:pt idx="7279">
                  <c:v>1.014414175469379</c:v>
                </c:pt>
                <c:pt idx="7280">
                  <c:v>1.0535915575572412</c:v>
                </c:pt>
                <c:pt idx="7281">
                  <c:v>1.0412125045267451</c:v>
                </c:pt>
                <c:pt idx="7282">
                  <c:v>1.0741825081481404</c:v>
                </c:pt>
                <c:pt idx="7283">
                  <c:v>1.0513371111462484</c:v>
                </c:pt>
                <c:pt idx="7284">
                  <c:v>1.0632265106576151</c:v>
                </c:pt>
                <c:pt idx="7285">
                  <c:v>1.0351224388825697</c:v>
                </c:pt>
                <c:pt idx="7286">
                  <c:v>1.0377747287778556</c:v>
                </c:pt>
                <c:pt idx="7287">
                  <c:v>1.0457060956762576</c:v>
                </c:pt>
                <c:pt idx="7288">
                  <c:v>1.0571466461284218</c:v>
                </c:pt>
                <c:pt idx="7289">
                  <c:v>1.059834639926144</c:v>
                </c:pt>
                <c:pt idx="7290">
                  <c:v>1.0755596586706928</c:v>
                </c:pt>
                <c:pt idx="7291">
                  <c:v>1.0062991885013033</c:v>
                </c:pt>
                <c:pt idx="7292">
                  <c:v>1.0185507275945263</c:v>
                </c:pt>
                <c:pt idx="7293">
                  <c:v>1.0291343843882137</c:v>
                </c:pt>
                <c:pt idx="7294">
                  <c:v>1.0291343843882137</c:v>
                </c:pt>
                <c:pt idx="7295">
                  <c:v>1.0196473474550767</c:v>
                </c:pt>
                <c:pt idx="7296">
                  <c:v>0.98003641798048524</c:v>
                </c:pt>
                <c:pt idx="7297">
                  <c:v>0.99640920752638262</c:v>
                </c:pt>
                <c:pt idx="7298">
                  <c:v>1.0365352933075584</c:v>
                </c:pt>
                <c:pt idx="7299">
                  <c:v>1.0495774188118765</c:v>
                </c:pt>
                <c:pt idx="7300">
                  <c:v>1.0744120332352329</c:v>
                </c:pt>
                <c:pt idx="7301">
                  <c:v>1.0653381414588612</c:v>
                </c:pt>
                <c:pt idx="7302">
                  <c:v>1.1164763308629633</c:v>
                </c:pt>
                <c:pt idx="7303">
                  <c:v>1.1347363266805064</c:v>
                </c:pt>
                <c:pt idx="7304">
                  <c:v>1.126044976715955</c:v>
                </c:pt>
                <c:pt idx="7305">
                  <c:v>1.1021437643134395</c:v>
                </c:pt>
                <c:pt idx="7306">
                  <c:v>1.0878928066837705</c:v>
                </c:pt>
                <c:pt idx="7307">
                  <c:v>1.0729583743503164</c:v>
                </c:pt>
                <c:pt idx="7308">
                  <c:v>1.0499803628536601</c:v>
                </c:pt>
                <c:pt idx="7309">
                  <c:v>1.047746318672631</c:v>
                </c:pt>
                <c:pt idx="7310">
                  <c:v>1.015857633239313</c:v>
                </c:pt>
                <c:pt idx="7311">
                  <c:v>1.0279408539353354</c:v>
                </c:pt>
                <c:pt idx="7312">
                  <c:v>1.0225954696848367</c:v>
                </c:pt>
                <c:pt idx="7313">
                  <c:v>0.98824831554088854</c:v>
                </c:pt>
                <c:pt idx="7314">
                  <c:v>1.0092065062711355</c:v>
                </c:pt>
                <c:pt idx="7315">
                  <c:v>1.0079517691283657</c:v>
                </c:pt>
                <c:pt idx="7316">
                  <c:v>0.98898789637707418</c:v>
                </c:pt>
                <c:pt idx="7317">
                  <c:v>1.0076457356789099</c:v>
                </c:pt>
                <c:pt idx="7318">
                  <c:v>1.0328934952590321</c:v>
                </c:pt>
                <c:pt idx="7319">
                  <c:v>1.0324701489872843</c:v>
                </c:pt>
                <c:pt idx="7320">
                  <c:v>1.0314296352591339</c:v>
                </c:pt>
                <c:pt idx="7321">
                  <c:v>1.0522450103796346</c:v>
                </c:pt>
                <c:pt idx="7322">
                  <c:v>1.0608700530968034</c:v>
                </c:pt>
                <c:pt idx="7323">
                  <c:v>1.073697955186502</c:v>
                </c:pt>
                <c:pt idx="7324">
                  <c:v>1.0832615004820028</c:v>
                </c:pt>
                <c:pt idx="7325">
                  <c:v>1.0562948530274361</c:v>
                </c:pt>
                <c:pt idx="7326">
                  <c:v>1.0553104454316857</c:v>
                </c:pt>
                <c:pt idx="7327">
                  <c:v>1.051740055188032</c:v>
                </c:pt>
                <c:pt idx="7328">
                  <c:v>1.0680771408314929</c:v>
                </c:pt>
                <c:pt idx="7329">
                  <c:v>1.0477871231325584</c:v>
                </c:pt>
                <c:pt idx="7330">
                  <c:v>1.0374788964433814</c:v>
                </c:pt>
                <c:pt idx="7331">
                  <c:v>1.0014281560974614</c:v>
                </c:pt>
                <c:pt idx="7332">
                  <c:v>1.0258904298239799</c:v>
                </c:pt>
                <c:pt idx="7333">
                  <c:v>0.97731782083781771</c:v>
                </c:pt>
                <c:pt idx="7334">
                  <c:v>0.94360823638023628</c:v>
                </c:pt>
                <c:pt idx="7335">
                  <c:v>0.9676777671799528</c:v>
                </c:pt>
                <c:pt idx="7336">
                  <c:v>0.95276373707646256</c:v>
                </c:pt>
                <c:pt idx="7337">
                  <c:v>0.99482803470419334</c:v>
                </c:pt>
                <c:pt idx="7338">
                  <c:v>0.9792866360293182</c:v>
                </c:pt>
                <c:pt idx="7339">
                  <c:v>0.96900901268508655</c:v>
                </c:pt>
                <c:pt idx="7340">
                  <c:v>0.97700158627337985</c:v>
                </c:pt>
                <c:pt idx="7341">
                  <c:v>0.9734873021621262</c:v>
                </c:pt>
                <c:pt idx="7342">
                  <c:v>0.93274914948203835</c:v>
                </c:pt>
                <c:pt idx="7343">
                  <c:v>0.9296786138724964</c:v>
                </c:pt>
                <c:pt idx="7344">
                  <c:v>0.92813824551023427</c:v>
                </c:pt>
                <c:pt idx="7345">
                  <c:v>0.87422025227357358</c:v>
                </c:pt>
                <c:pt idx="7346">
                  <c:v>0.89307701331755585</c:v>
                </c:pt>
                <c:pt idx="7347">
                  <c:v>0.91017918258465658</c:v>
                </c:pt>
                <c:pt idx="7348">
                  <c:v>0.93640624920303805</c:v>
                </c:pt>
                <c:pt idx="7349">
                  <c:v>0.93640624920303805</c:v>
                </c:pt>
                <c:pt idx="7350">
                  <c:v>0.97762895484476475</c:v>
                </c:pt>
                <c:pt idx="7351">
                  <c:v>1.0100736010445943</c:v>
                </c:pt>
                <c:pt idx="7352">
                  <c:v>1.0070183671075248</c:v>
                </c:pt>
                <c:pt idx="7353">
                  <c:v>1.0486899218084536</c:v>
                </c:pt>
                <c:pt idx="7354">
                  <c:v>1.036264963760539</c:v>
                </c:pt>
                <c:pt idx="7355">
                  <c:v>1.0087321544244787</c:v>
                </c:pt>
                <c:pt idx="7356">
                  <c:v>1.0087321544244787</c:v>
                </c:pt>
                <c:pt idx="7357">
                  <c:v>0.99587874954732558</c:v>
                </c:pt>
                <c:pt idx="7358">
                  <c:v>1.0084159198600409</c:v>
                </c:pt>
                <c:pt idx="7359">
                  <c:v>0.98233166885140544</c:v>
                </c:pt>
                <c:pt idx="7360">
                  <c:v>0.94862718495131526</c:v>
                </c:pt>
                <c:pt idx="7361">
                  <c:v>0.97046777212749347</c:v>
                </c:pt>
                <c:pt idx="7362">
                  <c:v>0.94422540383663933</c:v>
                </c:pt>
                <c:pt idx="7363">
                  <c:v>0.99736811233467826</c:v>
                </c:pt>
                <c:pt idx="7364">
                  <c:v>1.0036775019509632</c:v>
                </c:pt>
                <c:pt idx="7365">
                  <c:v>0.99303263846738465</c:v>
                </c:pt>
                <c:pt idx="7366">
                  <c:v>1.001387351637534</c:v>
                </c:pt>
                <c:pt idx="7367">
                  <c:v>1.0388968514258607</c:v>
                </c:pt>
                <c:pt idx="7368">
                  <c:v>1.0738917763711577</c:v>
                </c:pt>
                <c:pt idx="7369">
                  <c:v>1.062823566615831</c:v>
                </c:pt>
                <c:pt idx="7370">
                  <c:v>1.0972982346970523</c:v>
                </c:pt>
                <c:pt idx="7371">
                  <c:v>1.1112890638946835</c:v>
                </c:pt>
                <c:pt idx="7372">
                  <c:v>1.0657563871731179</c:v>
                </c:pt>
                <c:pt idx="7373">
                  <c:v>1.0542393283585896</c:v>
                </c:pt>
                <c:pt idx="7374">
                  <c:v>1.0187190459917272</c:v>
                </c:pt>
                <c:pt idx="7375">
                  <c:v>1.0000612066898915</c:v>
                </c:pt>
                <c:pt idx="7376">
                  <c:v>1.0484756983938346</c:v>
                </c:pt>
                <c:pt idx="7377">
                  <c:v>1.0804510933044984</c:v>
                </c:pt>
                <c:pt idx="7378">
                  <c:v>1.073922379716103</c:v>
                </c:pt>
                <c:pt idx="7379">
                  <c:v>1.0545300601355732</c:v>
                </c:pt>
                <c:pt idx="7380">
                  <c:v>1.0845264387397542</c:v>
                </c:pt>
                <c:pt idx="7381">
                  <c:v>1.1093967570655474</c:v>
                </c:pt>
                <c:pt idx="7382">
                  <c:v>1.0768654013883721</c:v>
                </c:pt>
                <c:pt idx="7383">
                  <c:v>1.0346327853634403</c:v>
                </c:pt>
                <c:pt idx="7384">
                  <c:v>1.0346327853634403</c:v>
                </c:pt>
                <c:pt idx="7385">
                  <c:v>1.0346327853634403</c:v>
                </c:pt>
                <c:pt idx="7386">
                  <c:v>1.0270839602768582</c:v>
                </c:pt>
                <c:pt idx="7387">
                  <c:v>1.0498120444564591</c:v>
                </c:pt>
                <c:pt idx="7388">
                  <c:v>1.0498120444564591</c:v>
                </c:pt>
                <c:pt idx="7389">
                  <c:v>1.072310603548968</c:v>
                </c:pt>
                <c:pt idx="7390">
                  <c:v>1.0233350505210219</c:v>
                </c:pt>
                <c:pt idx="7391">
                  <c:v>1.0573098639681318</c:v>
                </c:pt>
                <c:pt idx="7392">
                  <c:v>1.0991701392962252</c:v>
                </c:pt>
                <c:pt idx="7393">
                  <c:v>1.0935340232687434</c:v>
                </c:pt>
                <c:pt idx="7394">
                  <c:v>1.1085245617345976</c:v>
                </c:pt>
                <c:pt idx="7395">
                  <c:v>1.1026487195050421</c:v>
                </c:pt>
                <c:pt idx="7396">
                  <c:v>1.1024599988778778</c:v>
                </c:pt>
                <c:pt idx="7397">
                  <c:v>1.0957629668922815</c:v>
                </c:pt>
                <c:pt idx="7398">
                  <c:v>1.1109779298877371</c:v>
                </c:pt>
                <c:pt idx="7399">
                  <c:v>1.1286360599213494</c:v>
                </c:pt>
                <c:pt idx="7400">
                  <c:v>1.1239537481446722</c:v>
                </c:pt>
                <c:pt idx="7401">
                  <c:v>1.1409641073769365</c:v>
                </c:pt>
                <c:pt idx="7402">
                  <c:v>1.1241883737892553</c:v>
                </c:pt>
                <c:pt idx="7403">
                  <c:v>1.1672778834726638</c:v>
                </c:pt>
                <c:pt idx="7404">
                  <c:v>1.1666403137862971</c:v>
                </c:pt>
                <c:pt idx="7405">
                  <c:v>1.1597596617310271</c:v>
                </c:pt>
                <c:pt idx="7406">
                  <c:v>1.1344353937885412</c:v>
                </c:pt>
                <c:pt idx="7407">
                  <c:v>1.1368530580392435</c:v>
                </c:pt>
                <c:pt idx="7408">
                  <c:v>1.1228826310715765</c:v>
                </c:pt>
                <c:pt idx="7409">
                  <c:v>1.1429788275858552</c:v>
                </c:pt>
                <c:pt idx="7410">
                  <c:v>1.1549804393620224</c:v>
                </c:pt>
                <c:pt idx="7411">
                  <c:v>1.1523077472367729</c:v>
                </c:pt>
                <c:pt idx="7412">
                  <c:v>1.1692824025666004</c:v>
                </c:pt>
                <c:pt idx="7413">
                  <c:v>1.1738678037509502</c:v>
                </c:pt>
                <c:pt idx="7414">
                  <c:v>1.1350831645898896</c:v>
                </c:pt>
                <c:pt idx="7415">
                  <c:v>1.1195672687024696</c:v>
                </c:pt>
                <c:pt idx="7416">
                  <c:v>1.1197253859846881</c:v>
                </c:pt>
                <c:pt idx="7417">
                  <c:v>1.1347771311404338</c:v>
                </c:pt>
                <c:pt idx="7418">
                  <c:v>1.1126203093998175</c:v>
                </c:pt>
                <c:pt idx="7419">
                  <c:v>1.0887905048021747</c:v>
                </c:pt>
                <c:pt idx="7420">
                  <c:v>1.105250003825418</c:v>
                </c:pt>
                <c:pt idx="7421">
                  <c:v>1.0910296495406948</c:v>
                </c:pt>
                <c:pt idx="7422">
                  <c:v>1.1336091034750098</c:v>
                </c:pt>
                <c:pt idx="7423">
                  <c:v>1.1067393666127709</c:v>
                </c:pt>
                <c:pt idx="7424">
                  <c:v>1.1210668326048037</c:v>
                </c:pt>
                <c:pt idx="7425">
                  <c:v>1.1354044997118184</c:v>
                </c:pt>
                <c:pt idx="7426">
                  <c:v>1.1302172327435387</c:v>
                </c:pt>
                <c:pt idx="7427">
                  <c:v>1.1012919712124534</c:v>
                </c:pt>
                <c:pt idx="7428">
                  <c:v>1.099874016229974</c:v>
                </c:pt>
                <c:pt idx="7429">
                  <c:v>1.1006595020835777</c:v>
                </c:pt>
                <c:pt idx="7430">
                  <c:v>1.0961098048016646</c:v>
                </c:pt>
                <c:pt idx="7431">
                  <c:v>1.0900503425024355</c:v>
                </c:pt>
                <c:pt idx="7432">
                  <c:v>1.0953090172755884</c:v>
                </c:pt>
                <c:pt idx="7433">
                  <c:v>1.0784924792279798</c:v>
                </c:pt>
                <c:pt idx="7434">
                  <c:v>1.069923542643211</c:v>
                </c:pt>
                <c:pt idx="7435">
                  <c:v>1.0710507658487072</c:v>
                </c:pt>
                <c:pt idx="7436">
                  <c:v>1.0799512386703869</c:v>
                </c:pt>
                <c:pt idx="7437">
                  <c:v>1.08417450027288</c:v>
                </c:pt>
                <c:pt idx="7438">
                  <c:v>1.0882141418056994</c:v>
                </c:pt>
                <c:pt idx="7439">
                  <c:v>1.1124978960200349</c:v>
                </c:pt>
                <c:pt idx="7440">
                  <c:v>1.1121306558806876</c:v>
                </c:pt>
                <c:pt idx="7441">
                  <c:v>1.118052403127662</c:v>
                </c:pt>
                <c:pt idx="7442">
                  <c:v>1.1175270457060957</c:v>
                </c:pt>
                <c:pt idx="7443">
                  <c:v>1.1239945526045996</c:v>
                </c:pt>
                <c:pt idx="7444">
                  <c:v>1.0880458234084989</c:v>
                </c:pt>
                <c:pt idx="7445">
                  <c:v>1.0823689029210892</c:v>
                </c:pt>
                <c:pt idx="7446">
                  <c:v>1.0932891965091787</c:v>
                </c:pt>
                <c:pt idx="7447">
                  <c:v>1.0845111370672815</c:v>
                </c:pt>
                <c:pt idx="7448">
                  <c:v>1.0832563999245117</c:v>
                </c:pt>
                <c:pt idx="7449">
                  <c:v>1.0817415343497045</c:v>
                </c:pt>
                <c:pt idx="7450">
                  <c:v>1.1075350535813566</c:v>
                </c:pt>
                <c:pt idx="7451">
                  <c:v>1.1349046450777069</c:v>
                </c:pt>
                <c:pt idx="7452">
                  <c:v>1.1677624364343022</c:v>
                </c:pt>
                <c:pt idx="7453">
                  <c:v>1.1506194627072737</c:v>
                </c:pt>
                <c:pt idx="7454">
                  <c:v>1.1168435710023106</c:v>
                </c:pt>
                <c:pt idx="7455">
                  <c:v>1.1244485022212931</c:v>
                </c:pt>
                <c:pt idx="7456">
                  <c:v>1.1319361206179837</c:v>
                </c:pt>
                <c:pt idx="7457">
                  <c:v>1.1535063782471426</c:v>
                </c:pt>
                <c:pt idx="7458">
                  <c:v>1.1383526219415785</c:v>
                </c:pt>
                <c:pt idx="7459">
                  <c:v>1.1309211096772875</c:v>
                </c:pt>
                <c:pt idx="7460">
                  <c:v>1.1232447706534328</c:v>
                </c:pt>
                <c:pt idx="7461">
                  <c:v>1.1358431476560389</c:v>
                </c:pt>
                <c:pt idx="7462">
                  <c:v>1.1413670514187202</c:v>
                </c:pt>
                <c:pt idx="7463">
                  <c:v>1.129702076436955</c:v>
                </c:pt>
                <c:pt idx="7464">
                  <c:v>1.129702076436955</c:v>
                </c:pt>
                <c:pt idx="7465">
                  <c:v>1.1344455949035228</c:v>
                </c:pt>
                <c:pt idx="7466">
                  <c:v>1.1359808627082941</c:v>
                </c:pt>
                <c:pt idx="7467">
                  <c:v>1.1237599269600165</c:v>
                </c:pt>
                <c:pt idx="7468">
                  <c:v>1.135909454903421</c:v>
                </c:pt>
                <c:pt idx="7469">
                  <c:v>1.1321554445900937</c:v>
                </c:pt>
                <c:pt idx="7470">
                  <c:v>1.1031383730241719</c:v>
                </c:pt>
                <c:pt idx="7471">
                  <c:v>1.1031383730241719</c:v>
                </c:pt>
                <c:pt idx="7472">
                  <c:v>1.0895045828509056</c:v>
                </c:pt>
                <c:pt idx="7473">
                  <c:v>1.0895045828509056</c:v>
                </c:pt>
                <c:pt idx="7474">
                  <c:v>1.0634254323997614</c:v>
                </c:pt>
                <c:pt idx="7475">
                  <c:v>1.0126646842499887</c:v>
                </c:pt>
                <c:pt idx="7476">
                  <c:v>1.0018770051566639</c:v>
                </c:pt>
                <c:pt idx="7477">
                  <c:v>0.96365342731960624</c:v>
                </c:pt>
                <c:pt idx="7478">
                  <c:v>0.97492055881707862</c:v>
                </c:pt>
                <c:pt idx="7479">
                  <c:v>0.95785409345241446</c:v>
                </c:pt>
                <c:pt idx="7480">
                  <c:v>0.9497187042543751</c:v>
                </c:pt>
                <c:pt idx="7481">
                  <c:v>0.95444692104847073</c:v>
                </c:pt>
                <c:pt idx="7482">
                  <c:v>0.97178881651764537</c:v>
                </c:pt>
                <c:pt idx="7483">
                  <c:v>0.9681113145666822</c:v>
                </c:pt>
                <c:pt idx="7484">
                  <c:v>0.96014934432333465</c:v>
                </c:pt>
                <c:pt idx="7485">
                  <c:v>0.97403816237114715</c:v>
                </c:pt>
                <c:pt idx="7486">
                  <c:v>0.99515447038361282</c:v>
                </c:pt>
                <c:pt idx="7487">
                  <c:v>0.95796120515972394</c:v>
                </c:pt>
                <c:pt idx="7488">
                  <c:v>0.97158479421800803</c:v>
                </c:pt>
                <c:pt idx="7489">
                  <c:v>0.97578765359053765</c:v>
                </c:pt>
                <c:pt idx="7490">
                  <c:v>0.97716480411308959</c:v>
                </c:pt>
                <c:pt idx="7491">
                  <c:v>1.0086454449471329</c:v>
                </c:pt>
                <c:pt idx="7492">
                  <c:v>1.0246968993711012</c:v>
                </c:pt>
                <c:pt idx="7493">
                  <c:v>1.0232483410436761</c:v>
                </c:pt>
                <c:pt idx="7494">
                  <c:v>1.0196626491275498</c:v>
                </c:pt>
                <c:pt idx="7495">
                  <c:v>1.0101858133093948</c:v>
                </c:pt>
                <c:pt idx="7496">
                  <c:v>1.0442473362338505</c:v>
                </c:pt>
                <c:pt idx="7497">
                  <c:v>1.0620278796472453</c:v>
                </c:pt>
                <c:pt idx="7498">
                  <c:v>1.0637518680791813</c:v>
                </c:pt>
                <c:pt idx="7499">
                  <c:v>1.0755902620156386</c:v>
                </c:pt>
                <c:pt idx="7500">
                  <c:v>1.0640170970687097</c:v>
                </c:pt>
                <c:pt idx="7501">
                  <c:v>1.0797523169282401</c:v>
                </c:pt>
                <c:pt idx="7502">
                  <c:v>1.0673273588803256</c:v>
                </c:pt>
                <c:pt idx="7503">
                  <c:v>1.0591613663373409</c:v>
                </c:pt>
                <c:pt idx="7504">
                  <c:v>1.10307716633428</c:v>
                </c:pt>
                <c:pt idx="7505">
                  <c:v>1.0981551283555291</c:v>
                </c:pt>
                <c:pt idx="7506">
                  <c:v>1.0981551283555291</c:v>
                </c:pt>
                <c:pt idx="7507">
                  <c:v>1.0878469016663521</c:v>
                </c:pt>
                <c:pt idx="7508">
                  <c:v>1.1084276511422702</c:v>
                </c:pt>
                <c:pt idx="7509">
                  <c:v>1.0833125060569122</c:v>
                </c:pt>
                <c:pt idx="7510">
                  <c:v>1.0958496763696273</c:v>
                </c:pt>
                <c:pt idx="7511">
                  <c:v>1.1120949519782513</c:v>
                </c:pt>
                <c:pt idx="7512">
                  <c:v>1.1077594781109577</c:v>
                </c:pt>
                <c:pt idx="7513">
                  <c:v>1.1096313827101301</c:v>
                </c:pt>
                <c:pt idx="7514">
                  <c:v>1.1199141066118528</c:v>
                </c:pt>
                <c:pt idx="7515">
                  <c:v>1.1239588487021632</c:v>
                </c:pt>
                <c:pt idx="7516">
                  <c:v>1.1207403969253837</c:v>
                </c:pt>
                <c:pt idx="7517">
                  <c:v>1.1180779059151167</c:v>
                </c:pt>
                <c:pt idx="7518">
                  <c:v>1.1042349928847224</c:v>
                </c:pt>
                <c:pt idx="7519">
                  <c:v>1.1043625068219955</c:v>
                </c:pt>
                <c:pt idx="7520">
                  <c:v>1.1081675227102323</c:v>
                </c:pt>
                <c:pt idx="7521">
                  <c:v>1.1067240649402983</c:v>
                </c:pt>
                <c:pt idx="7522">
                  <c:v>1.1147727446609914</c:v>
                </c:pt>
                <c:pt idx="7523">
                  <c:v>1.1123244770653433</c:v>
                </c:pt>
                <c:pt idx="7524">
                  <c:v>1.0988131002718595</c:v>
                </c:pt>
                <c:pt idx="7525">
                  <c:v>1.1122224659155244</c:v>
                </c:pt>
                <c:pt idx="7526">
                  <c:v>1.1427289002687995</c:v>
                </c:pt>
                <c:pt idx="7527">
                  <c:v>1.1413466491887565</c:v>
                </c:pt>
                <c:pt idx="7528">
                  <c:v>1.1352718852170547</c:v>
                </c:pt>
                <c:pt idx="7529">
                  <c:v>1.1348587400602885</c:v>
                </c:pt>
                <c:pt idx="7530">
                  <c:v>1.1136353203405136</c:v>
                </c:pt>
                <c:pt idx="7531">
                  <c:v>1.1094936676578753</c:v>
                </c:pt>
                <c:pt idx="7532">
                  <c:v>1.09133058243266</c:v>
                </c:pt>
                <c:pt idx="7533">
                  <c:v>1.0817160315622498</c:v>
                </c:pt>
                <c:pt idx="7534">
                  <c:v>1.0940848834777643</c:v>
                </c:pt>
                <c:pt idx="7535">
                  <c:v>1.0604365057100744</c:v>
                </c:pt>
                <c:pt idx="7536">
                  <c:v>1.0381215666872392</c:v>
                </c:pt>
                <c:pt idx="7537">
                  <c:v>0.98996720341533329</c:v>
                </c:pt>
                <c:pt idx="7538">
                  <c:v>0.98269380843326193</c:v>
                </c:pt>
                <c:pt idx="7539">
                  <c:v>0.96614249937518193</c:v>
                </c:pt>
                <c:pt idx="7540">
                  <c:v>0.98513187491392795</c:v>
                </c:pt>
                <c:pt idx="7541">
                  <c:v>0.95638003233753444</c:v>
                </c:pt>
                <c:pt idx="7542">
                  <c:v>0.93993583498676414</c:v>
                </c:pt>
                <c:pt idx="7543">
                  <c:v>0.98385163498370387</c:v>
                </c:pt>
                <c:pt idx="7544">
                  <c:v>0.92657237436051765</c:v>
                </c:pt>
                <c:pt idx="7545">
                  <c:v>0.92657237436051765</c:v>
                </c:pt>
                <c:pt idx="7546">
                  <c:v>0.91334152822903536</c:v>
                </c:pt>
                <c:pt idx="7547">
                  <c:v>0.94866798941124264</c:v>
                </c:pt>
                <c:pt idx="7548">
                  <c:v>0.95597198773825998</c:v>
                </c:pt>
                <c:pt idx="7549">
                  <c:v>0.95204965902773186</c:v>
                </c:pt>
                <c:pt idx="7550">
                  <c:v>0.95406437923665055</c:v>
                </c:pt>
                <c:pt idx="7551">
                  <c:v>0.95001453658884927</c:v>
                </c:pt>
                <c:pt idx="7552">
                  <c:v>0.94601059895846618</c:v>
                </c:pt>
                <c:pt idx="7553">
                  <c:v>0.94325629791336185</c:v>
                </c:pt>
                <c:pt idx="7554">
                  <c:v>0.9024518379858919</c:v>
                </c:pt>
                <c:pt idx="7555">
                  <c:v>0.91903885094640847</c:v>
                </c:pt>
                <c:pt idx="7556">
                  <c:v>0.98017413303274048</c:v>
                </c:pt>
                <c:pt idx="7557">
                  <c:v>0.95412048536905103</c:v>
                </c:pt>
                <c:pt idx="7558">
                  <c:v>0.95000943603135846</c:v>
                </c:pt>
                <c:pt idx="7559">
                  <c:v>0.95387055805199505</c:v>
                </c:pt>
                <c:pt idx="7560">
                  <c:v>0.96844285080359294</c:v>
                </c:pt>
                <c:pt idx="7561">
                  <c:v>1.0164901023681887</c:v>
                </c:pt>
                <c:pt idx="7562">
                  <c:v>1.0289048593011216</c:v>
                </c:pt>
                <c:pt idx="7563">
                  <c:v>1.0327812829942311</c:v>
                </c:pt>
                <c:pt idx="7564">
                  <c:v>1.0326486684994669</c:v>
                </c:pt>
                <c:pt idx="7565">
                  <c:v>1.0436811743523569</c:v>
                </c:pt>
                <c:pt idx="7566">
                  <c:v>1.0594980031317425</c:v>
                </c:pt>
                <c:pt idx="7567">
                  <c:v>1.0361680531682116</c:v>
                </c:pt>
                <c:pt idx="7568">
                  <c:v>1.0475933019479027</c:v>
                </c:pt>
                <c:pt idx="7569">
                  <c:v>1.0351479416700249</c:v>
                </c:pt>
                <c:pt idx="7570">
                  <c:v>1.0166992252253171</c:v>
                </c:pt>
                <c:pt idx="7571">
                  <c:v>0.99401704606313479</c:v>
                </c:pt>
                <c:pt idx="7572">
                  <c:v>1.0199431797895508</c:v>
                </c:pt>
                <c:pt idx="7573">
                  <c:v>1.0054984009752266</c:v>
                </c:pt>
                <c:pt idx="7574">
                  <c:v>1.0173673982566296</c:v>
                </c:pt>
                <c:pt idx="7575">
                  <c:v>1.0302157025762919</c:v>
                </c:pt>
                <c:pt idx="7576">
                  <c:v>1.0181324818802695</c:v>
                </c:pt>
                <c:pt idx="7577">
                  <c:v>0.99882177121959437</c:v>
                </c:pt>
                <c:pt idx="7578">
                  <c:v>0.94847416822658714</c:v>
                </c:pt>
                <c:pt idx="7579">
                  <c:v>0.94942797247739175</c:v>
                </c:pt>
                <c:pt idx="7580">
                  <c:v>0.96971799017632643</c:v>
                </c:pt>
                <c:pt idx="7581">
                  <c:v>0.9703810626501479</c:v>
                </c:pt>
                <c:pt idx="7582">
                  <c:v>0.97963347393870159</c:v>
                </c:pt>
                <c:pt idx="7583">
                  <c:v>0.98198483094202205</c:v>
                </c:pt>
                <c:pt idx="7584">
                  <c:v>0.97142157637829829</c:v>
                </c:pt>
                <c:pt idx="7585">
                  <c:v>1.0057024232748639</c:v>
                </c:pt>
                <c:pt idx="7586">
                  <c:v>0.99513916871114017</c:v>
                </c:pt>
                <c:pt idx="7587">
                  <c:v>1.0009640053657867</c:v>
                </c:pt>
                <c:pt idx="7588">
                  <c:v>1.0021320330312107</c:v>
                </c:pt>
                <c:pt idx="7589">
                  <c:v>1.0185609287095083</c:v>
                </c:pt>
                <c:pt idx="7590">
                  <c:v>1.0101960144243769</c:v>
                </c:pt>
                <c:pt idx="7591">
                  <c:v>1.0273746920538414</c:v>
                </c:pt>
                <c:pt idx="7592">
                  <c:v>1.0542189261286259</c:v>
                </c:pt>
                <c:pt idx="7593">
                  <c:v>1.0508627592995916</c:v>
                </c:pt>
                <c:pt idx="7594">
                  <c:v>1.0506995414598816</c:v>
                </c:pt>
                <c:pt idx="7595">
                  <c:v>1.0199737831344966</c:v>
                </c:pt>
                <c:pt idx="7596">
                  <c:v>1.053897591006697</c:v>
                </c:pt>
                <c:pt idx="7597">
                  <c:v>1.0688728278000785</c:v>
                </c:pt>
                <c:pt idx="7598">
                  <c:v>1.0683576714934944</c:v>
                </c:pt>
                <c:pt idx="7599">
                  <c:v>1.0374584942134177</c:v>
                </c:pt>
                <c:pt idx="7600">
                  <c:v>1.0374584942134177</c:v>
                </c:pt>
                <c:pt idx="7601">
                  <c:v>1.1024242949754406</c:v>
                </c:pt>
                <c:pt idx="7602">
                  <c:v>1.1102128462640968</c:v>
                </c:pt>
                <c:pt idx="7603">
                  <c:v>1.094324609679838</c:v>
                </c:pt>
                <c:pt idx="7604">
                  <c:v>1.109952717832059</c:v>
                </c:pt>
                <c:pt idx="7605">
                  <c:v>1.0944368219446385</c:v>
                </c:pt>
                <c:pt idx="7606">
                  <c:v>1.0944368219446385</c:v>
                </c:pt>
                <c:pt idx="7607">
                  <c:v>1.0882600468231178</c:v>
                </c:pt>
                <c:pt idx="7608">
                  <c:v>1.075916697695058</c:v>
                </c:pt>
                <c:pt idx="7609">
                  <c:v>1.0672151466155251</c:v>
                </c:pt>
                <c:pt idx="7610">
                  <c:v>1.0743916310052688</c:v>
                </c:pt>
                <c:pt idx="7611">
                  <c:v>1.0707141290543056</c:v>
                </c:pt>
                <c:pt idx="7612">
                  <c:v>1.0496641282892223</c:v>
                </c:pt>
                <c:pt idx="7613">
                  <c:v>1.0379022427151288</c:v>
                </c:pt>
                <c:pt idx="7614">
                  <c:v>1.0239216146324792</c:v>
                </c:pt>
                <c:pt idx="7615">
                  <c:v>1.0320110988131006</c:v>
                </c:pt>
                <c:pt idx="7616">
                  <c:v>1.0406514432027421</c:v>
                </c:pt>
                <c:pt idx="7617">
                  <c:v>1.0341839363042382</c:v>
                </c:pt>
                <c:pt idx="7618">
                  <c:v>1.0255996980469964</c:v>
                </c:pt>
                <c:pt idx="7619">
                  <c:v>1.0047996245989688</c:v>
                </c:pt>
                <c:pt idx="7620">
                  <c:v>0.97078400669193154</c:v>
                </c:pt>
                <c:pt idx="7621">
                  <c:v>0.94071111972538612</c:v>
                </c:pt>
                <c:pt idx="7622">
                  <c:v>0.93325410467364089</c:v>
                </c:pt>
                <c:pt idx="7623">
                  <c:v>0.94275134272175953</c:v>
                </c:pt>
                <c:pt idx="7624">
                  <c:v>0.92510341380312888</c:v>
                </c:pt>
                <c:pt idx="7625">
                  <c:v>0.91900824760146294</c:v>
                </c:pt>
                <c:pt idx="7626">
                  <c:v>0.90746568599947963</c:v>
                </c:pt>
                <c:pt idx="7627">
                  <c:v>0.9011715980556676</c:v>
                </c:pt>
                <c:pt idx="7628">
                  <c:v>0.9521057651601319</c:v>
                </c:pt>
                <c:pt idx="7629">
                  <c:v>0.95611480334800603</c:v>
                </c:pt>
                <c:pt idx="7630">
                  <c:v>0.96208245561239858</c:v>
                </c:pt>
                <c:pt idx="7631">
                  <c:v>0.98002111630801236</c:v>
                </c:pt>
                <c:pt idx="7632">
                  <c:v>0.97964877561117425</c:v>
                </c:pt>
                <c:pt idx="7633">
                  <c:v>0.9813880657155829</c:v>
                </c:pt>
                <c:pt idx="7634">
                  <c:v>0.97611408926995735</c:v>
                </c:pt>
                <c:pt idx="7635">
                  <c:v>0.98957956104602252</c:v>
                </c:pt>
                <c:pt idx="7636">
                  <c:v>0.98957956104602252</c:v>
                </c:pt>
                <c:pt idx="7637">
                  <c:v>0.98957956104602252</c:v>
                </c:pt>
                <c:pt idx="7638">
                  <c:v>0.99811789428584552</c:v>
                </c:pt>
                <c:pt idx="7639">
                  <c:v>0.99658772703856524</c:v>
                </c:pt>
                <c:pt idx="7640">
                  <c:v>0.99658772703856524</c:v>
                </c:pt>
                <c:pt idx="7641">
                  <c:v>1.0430232024360264</c:v>
                </c:pt>
                <c:pt idx="7642">
                  <c:v>1.0187649510091452</c:v>
                </c:pt>
                <c:pt idx="7643">
                  <c:v>1.0187649510091452</c:v>
                </c:pt>
                <c:pt idx="7644">
                  <c:v>0.99186971135945146</c:v>
                </c:pt>
                <c:pt idx="7645">
                  <c:v>0.96492346613484847</c:v>
                </c:pt>
                <c:pt idx="7646">
                  <c:v>1.0035754908011447</c:v>
                </c:pt>
                <c:pt idx="7647">
                  <c:v>1.0131339355391544</c:v>
                </c:pt>
                <c:pt idx="7648">
                  <c:v>1.0377492259904009</c:v>
                </c:pt>
                <c:pt idx="7649">
                  <c:v>1.0271094630643129</c:v>
                </c:pt>
                <c:pt idx="7650">
                  <c:v>1.0105071484313233</c:v>
                </c:pt>
                <c:pt idx="7651">
                  <c:v>1.0185456270370352</c:v>
                </c:pt>
                <c:pt idx="7652">
                  <c:v>1.0206062522633723</c:v>
                </c:pt>
                <c:pt idx="7653">
                  <c:v>1.0039682337279467</c:v>
                </c:pt>
                <c:pt idx="7654">
                  <c:v>0.99331316912938594</c:v>
                </c:pt>
                <c:pt idx="7655">
                  <c:v>0.99502695644633965</c:v>
                </c:pt>
                <c:pt idx="7656">
                  <c:v>1.0004794524041478</c:v>
                </c:pt>
                <c:pt idx="7657">
                  <c:v>0.93502399812299486</c:v>
                </c:pt>
                <c:pt idx="7658">
                  <c:v>0.94825484425447715</c:v>
                </c:pt>
                <c:pt idx="7659">
                  <c:v>0.94838745874924135</c:v>
                </c:pt>
                <c:pt idx="7660">
                  <c:v>0.93148421122428693</c:v>
                </c:pt>
                <c:pt idx="7661">
                  <c:v>0.91840638181753276</c:v>
                </c:pt>
                <c:pt idx="7662">
                  <c:v>0.92488919038850947</c:v>
                </c:pt>
                <c:pt idx="7663">
                  <c:v>0.95623211617029735</c:v>
                </c:pt>
                <c:pt idx="7664">
                  <c:v>0.97134506801593412</c:v>
                </c:pt>
                <c:pt idx="7665">
                  <c:v>0.96099603686682955</c:v>
                </c:pt>
                <c:pt idx="7666">
                  <c:v>0.95954747853940447</c:v>
                </c:pt>
                <c:pt idx="7667">
                  <c:v>0.94346542077049045</c:v>
                </c:pt>
                <c:pt idx="7668">
                  <c:v>0.95694619421902827</c:v>
                </c:pt>
                <c:pt idx="7669">
                  <c:v>0.97450231310282232</c:v>
                </c:pt>
                <c:pt idx="7670">
                  <c:v>0.96871318035061238</c:v>
                </c:pt>
                <c:pt idx="7671">
                  <c:v>0.96427569533349988</c:v>
                </c:pt>
                <c:pt idx="7672">
                  <c:v>0.96259761191898274</c:v>
                </c:pt>
                <c:pt idx="7673">
                  <c:v>0.9641685836261904</c:v>
                </c:pt>
                <c:pt idx="7674">
                  <c:v>0.94996353101393982</c:v>
                </c:pt>
                <c:pt idx="7675">
                  <c:v>0.93942577923767079</c:v>
                </c:pt>
                <c:pt idx="7676">
                  <c:v>0.85804638446982251</c:v>
                </c:pt>
                <c:pt idx="7677">
                  <c:v>0.80679598280092013</c:v>
                </c:pt>
                <c:pt idx="7678">
                  <c:v>0.79547274517104727</c:v>
                </c:pt>
                <c:pt idx="7679">
                  <c:v>0.71849003096038389</c:v>
                </c:pt>
                <c:pt idx="7680">
                  <c:v>0.64262433884023529</c:v>
                </c:pt>
                <c:pt idx="7681">
                  <c:v>0.67864447584120935</c:v>
                </c:pt>
                <c:pt idx="7682">
                  <c:v>0.75475499472092311</c:v>
                </c:pt>
                <c:pt idx="7683">
                  <c:v>0.72809438071581245</c:v>
                </c:pt>
                <c:pt idx="7684">
                  <c:v>0.69270671284371388</c:v>
                </c:pt>
                <c:pt idx="7685">
                  <c:v>0.63880912183701688</c:v>
                </c:pt>
                <c:pt idx="7686">
                  <c:v>0.50990783292613906</c:v>
                </c:pt>
                <c:pt idx="7687">
                  <c:v>0.48528744191740181</c:v>
                </c:pt>
                <c:pt idx="7688">
                  <c:v>0.39814441718479832</c:v>
                </c:pt>
                <c:pt idx="7689">
                  <c:v>0.212514727859755</c:v>
                </c:pt>
                <c:pt idx="7690">
                  <c:v>0.26845254186282563</c:v>
                </c:pt>
                <c:pt idx="7691">
                  <c:v>0.24576526214315231</c:v>
                </c:pt>
                <c:pt idx="7692">
                  <c:v>0.32724156750332822</c:v>
                </c:pt>
                <c:pt idx="7693">
                  <c:v>0.30124912652952984</c:v>
                </c:pt>
                <c:pt idx="7694">
                  <c:v>0.3645215422045629</c:v>
                </c:pt>
                <c:pt idx="7695">
                  <c:v>0.38215416945072089</c:v>
                </c:pt>
                <c:pt idx="7696">
                  <c:v>0.30511534910765747</c:v>
                </c:pt>
                <c:pt idx="7697">
                  <c:v>0.34742957405244401</c:v>
                </c:pt>
                <c:pt idx="7698">
                  <c:v>0.33889124081262079</c:v>
                </c:pt>
                <c:pt idx="7699">
                  <c:v>0.38549503460728274</c:v>
                </c:pt>
                <c:pt idx="7700">
                  <c:v>0.37053509948637409</c:v>
                </c:pt>
                <c:pt idx="7701">
                  <c:v>0.37215707676849097</c:v>
                </c:pt>
                <c:pt idx="7702">
                  <c:v>0.40483634861290363</c:v>
                </c:pt>
                <c:pt idx="7703">
                  <c:v>0.37658946122811243</c:v>
                </c:pt>
                <c:pt idx="7704">
                  <c:v>0.38506148722055333</c:v>
                </c:pt>
                <c:pt idx="7705">
                  <c:v>0.39892480248091133</c:v>
                </c:pt>
                <c:pt idx="7706">
                  <c:v>0.46816997097782775</c:v>
                </c:pt>
                <c:pt idx="7707">
                  <c:v>0.48902105000076501</c:v>
                </c:pt>
                <c:pt idx="7708">
                  <c:v>0.46643068087341955</c:v>
                </c:pt>
                <c:pt idx="7709">
                  <c:v>0.50036979041809282</c:v>
                </c:pt>
                <c:pt idx="7710">
                  <c:v>0.50036979041809282</c:v>
                </c:pt>
                <c:pt idx="7711">
                  <c:v>0.54371942853353894</c:v>
                </c:pt>
                <c:pt idx="7712">
                  <c:v>0.49153562484379565</c:v>
                </c:pt>
                <c:pt idx="7713">
                  <c:v>0.48381848136001282</c:v>
                </c:pt>
                <c:pt idx="7714">
                  <c:v>0.50953039167180969</c:v>
                </c:pt>
                <c:pt idx="7715">
                  <c:v>0.52297546121791116</c:v>
                </c:pt>
                <c:pt idx="7716">
                  <c:v>0.46111079941037558</c:v>
                </c:pt>
                <c:pt idx="7717">
                  <c:v>0.49052061390309976</c:v>
                </c:pt>
                <c:pt idx="7718">
                  <c:v>0.51000474351846647</c:v>
                </c:pt>
                <c:pt idx="7719">
                  <c:v>0.48754188832839418</c:v>
                </c:pt>
                <c:pt idx="7720">
                  <c:v>0.47830987926980417</c:v>
                </c:pt>
                <c:pt idx="7721">
                  <c:v>0.48043171118603256</c:v>
                </c:pt>
                <c:pt idx="7722">
                  <c:v>0.53343670463181625</c:v>
                </c:pt>
                <c:pt idx="7723">
                  <c:v>0.53279403438795869</c:v>
                </c:pt>
                <c:pt idx="7724">
                  <c:v>0.53279403438795869</c:v>
                </c:pt>
                <c:pt idx="7725">
                  <c:v>0.48813865355483355</c:v>
                </c:pt>
                <c:pt idx="7726">
                  <c:v>0.48646057014031641</c:v>
                </c:pt>
                <c:pt idx="7727">
                  <c:v>0.45776483369632315</c:v>
                </c:pt>
                <c:pt idx="7728">
                  <c:v>0.47577490219681029</c:v>
                </c:pt>
                <c:pt idx="7729">
                  <c:v>0.49357074728267802</c:v>
                </c:pt>
                <c:pt idx="7730">
                  <c:v>0.4757391982943735</c:v>
                </c:pt>
                <c:pt idx="7731">
                  <c:v>0.50845927459871376</c:v>
                </c:pt>
                <c:pt idx="7732">
                  <c:v>0.5008441422647496</c:v>
                </c:pt>
                <c:pt idx="7733">
                  <c:v>0.4681546693053551</c:v>
                </c:pt>
                <c:pt idx="7734">
                  <c:v>0.46201359808627096</c:v>
                </c:pt>
                <c:pt idx="7735">
                  <c:v>0.5238680587788247</c:v>
                </c:pt>
                <c:pt idx="7736">
                  <c:v>0.5248881702770114</c:v>
                </c:pt>
                <c:pt idx="7737">
                  <c:v>0.53647153633892186</c:v>
                </c:pt>
                <c:pt idx="7738">
                  <c:v>0.52271023222838275</c:v>
                </c:pt>
                <c:pt idx="7739">
                  <c:v>0.51582958017311298</c:v>
                </c:pt>
                <c:pt idx="7740">
                  <c:v>0.589527535359615</c:v>
                </c:pt>
                <c:pt idx="7741">
                  <c:v>0.5875587201681145</c:v>
                </c:pt>
                <c:pt idx="7742">
                  <c:v>0.59765272344267228</c:v>
                </c:pt>
                <c:pt idx="7743">
                  <c:v>0.60156485103821855</c:v>
                </c:pt>
                <c:pt idx="7744">
                  <c:v>0.61166905542775818</c:v>
                </c:pt>
                <c:pt idx="7745">
                  <c:v>0.61431114420806199</c:v>
                </c:pt>
                <c:pt idx="7746">
                  <c:v>0.64264984162769001</c:v>
                </c:pt>
                <c:pt idx="7747">
                  <c:v>0.66100164748006973</c:v>
                </c:pt>
                <c:pt idx="7748">
                  <c:v>0.71295592608272074</c:v>
                </c:pt>
                <c:pt idx="7749">
                  <c:v>0.71182360231973374</c:v>
                </c:pt>
                <c:pt idx="7750">
                  <c:v>0.70655982698909003</c:v>
                </c:pt>
                <c:pt idx="7751">
                  <c:v>0.71176239562984245</c:v>
                </c:pt>
                <c:pt idx="7752">
                  <c:v>0.71176239562984245</c:v>
                </c:pt>
                <c:pt idx="7753">
                  <c:v>0.66309287605135259</c:v>
                </c:pt>
                <c:pt idx="7754">
                  <c:v>0.61905976323212153</c:v>
                </c:pt>
                <c:pt idx="7755">
                  <c:v>0.6716108070612119</c:v>
                </c:pt>
                <c:pt idx="7756">
                  <c:v>0.6621441723580388</c:v>
                </c:pt>
                <c:pt idx="7757">
                  <c:v>0.66962669019723875</c:v>
                </c:pt>
                <c:pt idx="7758">
                  <c:v>0.68077140831492877</c:v>
                </c:pt>
                <c:pt idx="7759">
                  <c:v>0.67072841061528021</c:v>
                </c:pt>
                <c:pt idx="7760">
                  <c:v>0.69763895193744685</c:v>
                </c:pt>
                <c:pt idx="7761">
                  <c:v>0.65881350831645902</c:v>
                </c:pt>
                <c:pt idx="7762">
                  <c:v>0.66730593653886361</c:v>
                </c:pt>
                <c:pt idx="7763">
                  <c:v>0.63575388789994758</c:v>
                </c:pt>
                <c:pt idx="7764">
                  <c:v>0.64508790810835626</c:v>
                </c:pt>
                <c:pt idx="7765">
                  <c:v>0.63518772601845397</c:v>
                </c:pt>
                <c:pt idx="7766">
                  <c:v>0.64779120357855136</c:v>
                </c:pt>
                <c:pt idx="7767">
                  <c:v>0.67720101807127531</c:v>
                </c:pt>
                <c:pt idx="7768">
                  <c:v>0.69072259597974073</c:v>
                </c:pt>
                <c:pt idx="7769">
                  <c:v>0.67433960531886128</c:v>
                </c:pt>
                <c:pt idx="7770">
                  <c:v>0.66251651305487691</c:v>
                </c:pt>
                <c:pt idx="7771">
                  <c:v>0.66573496483165617</c:v>
                </c:pt>
                <c:pt idx="7772">
                  <c:v>0.67093243291491755</c:v>
                </c:pt>
                <c:pt idx="7773">
                  <c:v>0.67785388943011493</c:v>
                </c:pt>
                <c:pt idx="7774">
                  <c:v>0.64997424218467081</c:v>
                </c:pt>
                <c:pt idx="7775">
                  <c:v>0.67146289089397482</c:v>
                </c:pt>
                <c:pt idx="7776">
                  <c:v>0.67547702963933953</c:v>
                </c:pt>
                <c:pt idx="7777">
                  <c:v>0.6740794768868239</c:v>
                </c:pt>
                <c:pt idx="7778">
                  <c:v>0.71561331653549742</c:v>
                </c:pt>
                <c:pt idx="7779">
                  <c:v>0.72003039932264601</c:v>
                </c:pt>
                <c:pt idx="7780">
                  <c:v>0.70629969855705244</c:v>
                </c:pt>
                <c:pt idx="7781">
                  <c:v>0.69664944378420568</c:v>
                </c:pt>
                <c:pt idx="7782">
                  <c:v>0.68739703249565198</c:v>
                </c:pt>
                <c:pt idx="7783">
                  <c:v>0.70654452531661716</c:v>
                </c:pt>
                <c:pt idx="7784">
                  <c:v>0.69969957716378417</c:v>
                </c:pt>
                <c:pt idx="7785">
                  <c:v>0.70063807974211567</c:v>
                </c:pt>
                <c:pt idx="7786">
                  <c:v>0.64348633305620306</c:v>
                </c:pt>
                <c:pt idx="7787">
                  <c:v>0.64751067291654985</c:v>
                </c:pt>
                <c:pt idx="7788">
                  <c:v>0.68185272650300677</c:v>
                </c:pt>
                <c:pt idx="7789">
                  <c:v>0.68845284789627503</c:v>
                </c:pt>
                <c:pt idx="7790">
                  <c:v>0.70871226225026418</c:v>
                </c:pt>
                <c:pt idx="7791">
                  <c:v>0.69514477932438012</c:v>
                </c:pt>
                <c:pt idx="7792">
                  <c:v>0.69382883549171925</c:v>
                </c:pt>
                <c:pt idx="7793">
                  <c:v>0.69934763869690975</c:v>
                </c:pt>
                <c:pt idx="7794">
                  <c:v>0.72225424238869307</c:v>
                </c:pt>
                <c:pt idx="7795">
                  <c:v>0.72983367082022066</c:v>
                </c:pt>
                <c:pt idx="7796">
                  <c:v>0.73215442447859558</c:v>
                </c:pt>
                <c:pt idx="7797">
                  <c:v>0.73049164273655109</c:v>
                </c:pt>
                <c:pt idx="7798">
                  <c:v>0.73567380914733982</c:v>
                </c:pt>
                <c:pt idx="7799">
                  <c:v>0.71536338921844167</c:v>
                </c:pt>
                <c:pt idx="7800">
                  <c:v>0.70873266448022787</c:v>
                </c:pt>
                <c:pt idx="7801">
                  <c:v>0.69177841138036378</c:v>
                </c:pt>
                <c:pt idx="7802">
                  <c:v>0.69697587946362538</c:v>
                </c:pt>
                <c:pt idx="7803">
                  <c:v>0.71641410406157413</c:v>
                </c:pt>
                <c:pt idx="7804">
                  <c:v>0.69761344914999213</c:v>
                </c:pt>
                <c:pt idx="7805">
                  <c:v>0.72283570594265956</c:v>
                </c:pt>
                <c:pt idx="7806">
                  <c:v>0.72111681806821482</c:v>
                </c:pt>
                <c:pt idx="7807">
                  <c:v>0.70553971549090311</c:v>
                </c:pt>
                <c:pt idx="7808">
                  <c:v>0.67796610169491522</c:v>
                </c:pt>
                <c:pt idx="7809">
                  <c:v>0.65223888971064548</c:v>
                </c:pt>
                <c:pt idx="7810">
                  <c:v>0.66420479758437612</c:v>
                </c:pt>
                <c:pt idx="7811">
                  <c:v>0.64905104127881175</c:v>
                </c:pt>
                <c:pt idx="7812">
                  <c:v>0.63872241235967087</c:v>
                </c:pt>
                <c:pt idx="7813">
                  <c:v>0.61614224434730724</c:v>
                </c:pt>
                <c:pt idx="7814">
                  <c:v>0.65294786720188513</c:v>
                </c:pt>
                <c:pt idx="7815">
                  <c:v>0.64502160086097415</c:v>
                </c:pt>
                <c:pt idx="7816">
                  <c:v>0.65336101235865085</c:v>
                </c:pt>
                <c:pt idx="7817">
                  <c:v>0.64008426120975037</c:v>
                </c:pt>
                <c:pt idx="7818">
                  <c:v>0.62635356044415658</c:v>
                </c:pt>
                <c:pt idx="7819">
                  <c:v>0.62091636615882129</c:v>
                </c:pt>
                <c:pt idx="7820">
                  <c:v>0.62803164385867372</c:v>
                </c:pt>
                <c:pt idx="7821">
                  <c:v>0.61500482002682899</c:v>
                </c:pt>
                <c:pt idx="7822">
                  <c:v>0.5688396741763877</c:v>
                </c:pt>
                <c:pt idx="7823">
                  <c:v>0.57893877800843629</c:v>
                </c:pt>
                <c:pt idx="7824">
                  <c:v>0.57177249473367442</c:v>
                </c:pt>
                <c:pt idx="7825">
                  <c:v>0.55363491229591411</c:v>
                </c:pt>
                <c:pt idx="7826">
                  <c:v>0.56127044685984173</c:v>
                </c:pt>
                <c:pt idx="7827">
                  <c:v>0.62123260072325914</c:v>
                </c:pt>
                <c:pt idx="7828">
                  <c:v>0.60237073912178607</c:v>
                </c:pt>
                <c:pt idx="7829">
                  <c:v>0.59725487995837967</c:v>
                </c:pt>
                <c:pt idx="7830">
                  <c:v>0.57995378894913219</c:v>
                </c:pt>
                <c:pt idx="7831">
                  <c:v>0.58294781619631042</c:v>
                </c:pt>
                <c:pt idx="7832">
                  <c:v>0.61509152950417478</c:v>
                </c:pt>
                <c:pt idx="7833">
                  <c:v>0.61844259577571847</c:v>
                </c:pt>
                <c:pt idx="7834">
                  <c:v>0.61952901452128706</c:v>
                </c:pt>
                <c:pt idx="7835">
                  <c:v>0.60394681138648454</c:v>
                </c:pt>
                <c:pt idx="7836">
                  <c:v>0.58437087173628077</c:v>
                </c:pt>
                <c:pt idx="7837">
                  <c:v>0.56972717117980998</c:v>
                </c:pt>
                <c:pt idx="7838">
                  <c:v>0.54819261745308778</c:v>
                </c:pt>
                <c:pt idx="7839">
                  <c:v>0.56034724595398289</c:v>
                </c:pt>
                <c:pt idx="7840">
                  <c:v>0.52048638916233547</c:v>
                </c:pt>
                <c:pt idx="7841">
                  <c:v>0.5464227240037336</c:v>
                </c:pt>
                <c:pt idx="7842">
                  <c:v>0.53964918365577375</c:v>
                </c:pt>
                <c:pt idx="7843">
                  <c:v>0.54734592490959266</c:v>
                </c:pt>
                <c:pt idx="7844">
                  <c:v>0.53340610128687072</c:v>
                </c:pt>
                <c:pt idx="7845">
                  <c:v>0.53459963173974923</c:v>
                </c:pt>
                <c:pt idx="7846">
                  <c:v>0.53704789933539732</c:v>
                </c:pt>
                <c:pt idx="7847">
                  <c:v>0.524286304493081</c:v>
                </c:pt>
                <c:pt idx="7848">
                  <c:v>0.51856857954574442</c:v>
                </c:pt>
                <c:pt idx="7849">
                  <c:v>0.44775753989911093</c:v>
                </c:pt>
                <c:pt idx="7850">
                  <c:v>0.44123902742569765</c:v>
                </c:pt>
                <c:pt idx="7851">
                  <c:v>0.41621569237517675</c:v>
                </c:pt>
                <c:pt idx="7852">
                  <c:v>0.45373539327848533</c:v>
                </c:pt>
                <c:pt idx="7853">
                  <c:v>0.52860137613041092</c:v>
                </c:pt>
                <c:pt idx="7854">
                  <c:v>0.53295725222766843</c:v>
                </c:pt>
                <c:pt idx="7855">
                  <c:v>0.56050026267871078</c:v>
                </c:pt>
                <c:pt idx="7856">
                  <c:v>0.5857837261612695</c:v>
                </c:pt>
                <c:pt idx="7857">
                  <c:v>0.64951519201048669</c:v>
                </c:pt>
                <c:pt idx="7858">
                  <c:v>0.6622512840653485</c:v>
                </c:pt>
                <c:pt idx="7859">
                  <c:v>0.6622512840653485</c:v>
                </c:pt>
                <c:pt idx="7860">
                  <c:v>0.65491158183589482</c:v>
                </c:pt>
                <c:pt idx="7861">
                  <c:v>0.63428492734255859</c:v>
                </c:pt>
                <c:pt idx="7862">
                  <c:v>0.68062859270518272</c:v>
                </c:pt>
                <c:pt idx="7863">
                  <c:v>0.67553313577174001</c:v>
                </c:pt>
                <c:pt idx="7864">
                  <c:v>0.69129385841872537</c:v>
                </c:pt>
                <c:pt idx="7865">
                  <c:v>0.67201375110299555</c:v>
                </c:pt>
                <c:pt idx="7866">
                  <c:v>0.7010308226689177</c:v>
                </c:pt>
                <c:pt idx="7867">
                  <c:v>0.71148186496784116</c:v>
                </c:pt>
                <c:pt idx="7868">
                  <c:v>0.73705606022738279</c:v>
                </c:pt>
                <c:pt idx="7869">
                  <c:v>0.73773443437367692</c:v>
                </c:pt>
                <c:pt idx="7870">
                  <c:v>0.7307721733985526</c:v>
                </c:pt>
                <c:pt idx="7871">
                  <c:v>0.70961506092615934</c:v>
                </c:pt>
                <c:pt idx="7872">
                  <c:v>0.73141484364241016</c:v>
                </c:pt>
                <c:pt idx="7873">
                  <c:v>0.77306599611337523</c:v>
                </c:pt>
                <c:pt idx="7874">
                  <c:v>0.76573139444141258</c:v>
                </c:pt>
                <c:pt idx="7875">
                  <c:v>0.81951167262581825</c:v>
                </c:pt>
                <c:pt idx="7876">
                  <c:v>0.82964137980281238</c:v>
                </c:pt>
                <c:pt idx="7877">
                  <c:v>0.84061267896581104</c:v>
                </c:pt>
                <c:pt idx="7878">
                  <c:v>0.86289191408620969</c:v>
                </c:pt>
                <c:pt idx="7879">
                  <c:v>0.85344058105550946</c:v>
                </c:pt>
                <c:pt idx="7880">
                  <c:v>0.8224699959705597</c:v>
                </c:pt>
                <c:pt idx="7881">
                  <c:v>0.81146299290512469</c:v>
                </c:pt>
                <c:pt idx="7882">
                  <c:v>0.82699419046501776</c:v>
                </c:pt>
                <c:pt idx="7883">
                  <c:v>0.85461880983591509</c:v>
                </c:pt>
                <c:pt idx="7884">
                  <c:v>0.84573873924419929</c:v>
                </c:pt>
                <c:pt idx="7885">
                  <c:v>0.82404606823525817</c:v>
                </c:pt>
                <c:pt idx="7886">
                  <c:v>0.76450726064358854</c:v>
                </c:pt>
                <c:pt idx="7887">
                  <c:v>0.80149650356784008</c:v>
                </c:pt>
                <c:pt idx="7888">
                  <c:v>0.827131905517273</c:v>
                </c:pt>
                <c:pt idx="7889">
                  <c:v>0.827131905517273</c:v>
                </c:pt>
                <c:pt idx="7890">
                  <c:v>0.87250646495661965</c:v>
                </c:pt>
                <c:pt idx="7891">
                  <c:v>0.88334514962485389</c:v>
                </c:pt>
                <c:pt idx="7892">
                  <c:v>0.85341507826805474</c:v>
                </c:pt>
                <c:pt idx="7893">
                  <c:v>0.85341507826805474</c:v>
                </c:pt>
                <c:pt idx="7894">
                  <c:v>0.87656140816191219</c:v>
                </c:pt>
                <c:pt idx="7895">
                  <c:v>0.87690824607129558</c:v>
                </c:pt>
                <c:pt idx="7896">
                  <c:v>0.87690824607129558</c:v>
                </c:pt>
                <c:pt idx="7897">
                  <c:v>0.93762528244337107</c:v>
                </c:pt>
                <c:pt idx="7898">
                  <c:v>0.93633994195565573</c:v>
                </c:pt>
                <c:pt idx="7899">
                  <c:v>0.93095375324522966</c:v>
                </c:pt>
                <c:pt idx="7900">
                  <c:v>0.90924578056381566</c:v>
                </c:pt>
                <c:pt idx="7901">
                  <c:v>0.89021050000765078</c:v>
                </c:pt>
                <c:pt idx="7902">
                  <c:v>0.89800925241128859</c:v>
                </c:pt>
                <c:pt idx="7903">
                  <c:v>0.85500645220522609</c:v>
                </c:pt>
                <c:pt idx="7904">
                  <c:v>0.84981918523694633</c:v>
                </c:pt>
                <c:pt idx="7905">
                  <c:v>0.85539409457453708</c:v>
                </c:pt>
                <c:pt idx="7906">
                  <c:v>0.82494376635366251</c:v>
                </c:pt>
                <c:pt idx="7907">
                  <c:v>0.82417358217253156</c:v>
                </c:pt>
                <c:pt idx="7908">
                  <c:v>0.81773157806148222</c:v>
                </c:pt>
                <c:pt idx="7909">
                  <c:v>0.85155847534135498</c:v>
                </c:pt>
                <c:pt idx="7910">
                  <c:v>0.80225648663398896</c:v>
                </c:pt>
                <c:pt idx="7911">
                  <c:v>0.85701607185665396</c:v>
                </c:pt>
                <c:pt idx="7912">
                  <c:v>0.81981260551778301</c:v>
                </c:pt>
                <c:pt idx="7913">
                  <c:v>0.83823071861754506</c:v>
                </c:pt>
                <c:pt idx="7914">
                  <c:v>0.82542831931530136</c:v>
                </c:pt>
                <c:pt idx="7915">
                  <c:v>0.81297785847993187</c:v>
                </c:pt>
                <c:pt idx="7916">
                  <c:v>0.80020606252263371</c:v>
                </c:pt>
                <c:pt idx="7917">
                  <c:v>0.82889669840913616</c:v>
                </c:pt>
                <c:pt idx="7918">
                  <c:v>0.82363802363598348</c:v>
                </c:pt>
                <c:pt idx="7919">
                  <c:v>0.81382455102342699</c:v>
                </c:pt>
                <c:pt idx="7920">
                  <c:v>0.79135659527586366</c:v>
                </c:pt>
                <c:pt idx="7921">
                  <c:v>0.82627501185879626</c:v>
                </c:pt>
                <c:pt idx="7922">
                  <c:v>0.80959618886344287</c:v>
                </c:pt>
                <c:pt idx="7923">
                  <c:v>0.8726237777789112</c:v>
                </c:pt>
                <c:pt idx="7924">
                  <c:v>0.85605716704835833</c:v>
                </c:pt>
                <c:pt idx="7925">
                  <c:v>0.85042615157836754</c:v>
                </c:pt>
                <c:pt idx="7926">
                  <c:v>0.85466471485333351</c:v>
                </c:pt>
                <c:pt idx="7927">
                  <c:v>0.83252829534268113</c:v>
                </c:pt>
                <c:pt idx="7928">
                  <c:v>0.7960644098399956</c:v>
                </c:pt>
                <c:pt idx="7929">
                  <c:v>0.81037657415955566</c:v>
                </c:pt>
                <c:pt idx="7930">
                  <c:v>0.80903512753944007</c:v>
                </c:pt>
                <c:pt idx="7931">
                  <c:v>0.78176754719290842</c:v>
                </c:pt>
                <c:pt idx="7932">
                  <c:v>0.821281566075172</c:v>
                </c:pt>
                <c:pt idx="7933">
                  <c:v>0.83056968126616249</c:v>
                </c:pt>
                <c:pt idx="7934">
                  <c:v>0.81535981882819786</c:v>
                </c:pt>
                <c:pt idx="7935">
                  <c:v>0.81687468440300548</c:v>
                </c:pt>
                <c:pt idx="7936">
                  <c:v>0.81195264642425435</c:v>
                </c:pt>
                <c:pt idx="7937">
                  <c:v>0.83592016607415198</c:v>
                </c:pt>
                <c:pt idx="7938">
                  <c:v>0.86294802021860995</c:v>
                </c:pt>
                <c:pt idx="7939">
                  <c:v>0.87170567743054339</c:v>
                </c:pt>
                <c:pt idx="7940">
                  <c:v>0.86314184140326544</c:v>
                </c:pt>
                <c:pt idx="7941">
                  <c:v>0.87409783889379122</c:v>
                </c:pt>
                <c:pt idx="7942">
                  <c:v>0.86954814161187821</c:v>
                </c:pt>
                <c:pt idx="7943">
                  <c:v>0.85102291680480691</c:v>
                </c:pt>
                <c:pt idx="7944">
                  <c:v>0.81141198733021525</c:v>
                </c:pt>
                <c:pt idx="7945">
                  <c:v>0.83171730670162258</c:v>
                </c:pt>
                <c:pt idx="7946">
                  <c:v>0.80071611827172706</c:v>
                </c:pt>
                <c:pt idx="7947">
                  <c:v>0.80216977715664339</c:v>
                </c:pt>
                <c:pt idx="7948">
                  <c:v>0.79697230907338179</c:v>
                </c:pt>
                <c:pt idx="7949">
                  <c:v>0.77492259904007521</c:v>
                </c:pt>
                <c:pt idx="7950">
                  <c:v>0.7533421402959346</c:v>
                </c:pt>
                <c:pt idx="7951">
                  <c:v>0.7924481145789235</c:v>
                </c:pt>
                <c:pt idx="7952">
                  <c:v>0.82450001785195126</c:v>
                </c:pt>
                <c:pt idx="7953">
                  <c:v>0.81450292516972111</c:v>
                </c:pt>
                <c:pt idx="7954">
                  <c:v>0.81125897060548713</c:v>
                </c:pt>
                <c:pt idx="7955">
                  <c:v>0.82577005666719394</c:v>
                </c:pt>
                <c:pt idx="7956">
                  <c:v>0.82577005666719394</c:v>
                </c:pt>
                <c:pt idx="7957">
                  <c:v>0.88041232906756717</c:v>
                </c:pt>
                <c:pt idx="7958">
                  <c:v>0.86720188516604879</c:v>
                </c:pt>
                <c:pt idx="7959">
                  <c:v>0.85000280530661998</c:v>
                </c:pt>
                <c:pt idx="7960">
                  <c:v>0.84513177290277852</c:v>
                </c:pt>
                <c:pt idx="7961">
                  <c:v>0.85211443610786652</c:v>
                </c:pt>
                <c:pt idx="7962">
                  <c:v>0.84478493499339491</c:v>
                </c:pt>
                <c:pt idx="7963">
                  <c:v>0.87956053596658124</c:v>
                </c:pt>
                <c:pt idx="7964">
                  <c:v>0.88641058467690526</c:v>
                </c:pt>
                <c:pt idx="7965">
                  <c:v>0.87985126774356437</c:v>
                </c:pt>
                <c:pt idx="7966">
                  <c:v>0.86744671192561373</c:v>
                </c:pt>
                <c:pt idx="7967">
                  <c:v>0.85694976460927186</c:v>
                </c:pt>
                <c:pt idx="7968">
                  <c:v>0.85194101715317494</c:v>
                </c:pt>
                <c:pt idx="7969">
                  <c:v>0.85879106586349896</c:v>
                </c:pt>
                <c:pt idx="7970">
                  <c:v>0.85589394920864859</c:v>
                </c:pt>
                <c:pt idx="7971">
                  <c:v>0.87315423575796824</c:v>
                </c:pt>
                <c:pt idx="7972">
                  <c:v>0.86738040467823141</c:v>
                </c:pt>
                <c:pt idx="7973">
                  <c:v>0.89607614112222467</c:v>
                </c:pt>
                <c:pt idx="7974">
                  <c:v>0.91574389080726526</c:v>
                </c:pt>
                <c:pt idx="7975">
                  <c:v>0.90350255282902414</c:v>
                </c:pt>
                <c:pt idx="7976">
                  <c:v>0.90350255282902414</c:v>
                </c:pt>
                <c:pt idx="7977">
                  <c:v>0.8721647276047273</c:v>
                </c:pt>
                <c:pt idx="7978">
                  <c:v>0.91263765129528673</c:v>
                </c:pt>
                <c:pt idx="7979">
                  <c:v>0.9119796793789563</c:v>
                </c:pt>
                <c:pt idx="7980">
                  <c:v>0.95929245066485769</c:v>
                </c:pt>
                <c:pt idx="7981">
                  <c:v>0.97647112829432281</c:v>
                </c:pt>
                <c:pt idx="7982">
                  <c:v>0.97159499533298987</c:v>
                </c:pt>
                <c:pt idx="7983">
                  <c:v>0.95376344634468535</c:v>
                </c:pt>
                <c:pt idx="7984">
                  <c:v>0.95182523449813083</c:v>
                </c:pt>
                <c:pt idx="7985">
                  <c:v>0.95508449073483725</c:v>
                </c:pt>
                <c:pt idx="7986">
                  <c:v>0.98842173449558035</c:v>
                </c:pt>
                <c:pt idx="7987">
                  <c:v>0.99594505679470768</c:v>
                </c:pt>
                <c:pt idx="7988">
                  <c:v>0.97596107254522946</c:v>
                </c:pt>
                <c:pt idx="7989">
                  <c:v>0.99093630933861077</c:v>
                </c:pt>
                <c:pt idx="7990">
                  <c:v>0.99830151435551917</c:v>
                </c:pt>
                <c:pt idx="7991">
                  <c:v>0.9937365154011335</c:v>
                </c:pt>
                <c:pt idx="7992">
                  <c:v>1.0120424162360946</c:v>
                </c:pt>
                <c:pt idx="7993">
                  <c:v>1.0224322518451268</c:v>
                </c:pt>
                <c:pt idx="7994">
                  <c:v>1.0622012986019373</c:v>
                </c:pt>
                <c:pt idx="7995">
                  <c:v>1.0891424432690493</c:v>
                </c:pt>
                <c:pt idx="7996">
                  <c:v>1.0894382756035235</c:v>
                </c:pt>
                <c:pt idx="7997">
                  <c:v>1.1086112712119434</c:v>
                </c:pt>
                <c:pt idx="7998">
                  <c:v>1.1086112712119434</c:v>
                </c:pt>
                <c:pt idx="7999">
                  <c:v>1.110794309818063</c:v>
                </c:pt>
                <c:pt idx="8000">
                  <c:v>1.1033372947663178</c:v>
                </c:pt>
                <c:pt idx="8001">
                  <c:v>1.0948958721188227</c:v>
                </c:pt>
                <c:pt idx="8002">
                  <c:v>1.0769521108657178</c:v>
                </c:pt>
                <c:pt idx="8003">
                  <c:v>1.0942225985300191</c:v>
                </c:pt>
                <c:pt idx="8004">
                  <c:v>1.0827769475203639</c:v>
                </c:pt>
                <c:pt idx="8005">
                  <c:v>1.1094936676578753</c:v>
                </c:pt>
                <c:pt idx="8006">
                  <c:v>1.0881172312133716</c:v>
                </c:pt>
                <c:pt idx="8007">
                  <c:v>1.0833380088443669</c:v>
                </c:pt>
                <c:pt idx="8008">
                  <c:v>1.0705254084271409</c:v>
                </c:pt>
                <c:pt idx="8009">
                  <c:v>1.0808081323288636</c:v>
                </c:pt>
                <c:pt idx="8010">
                  <c:v>1.0796554063359127</c:v>
                </c:pt>
                <c:pt idx="8011">
                  <c:v>1.0806653167191174</c:v>
                </c:pt>
                <c:pt idx="8012">
                  <c:v>1.0930086658471772</c:v>
                </c:pt>
                <c:pt idx="8013">
                  <c:v>1.1299367020815376</c:v>
                </c:pt>
                <c:pt idx="8014">
                  <c:v>1.1386994598509617</c:v>
                </c:pt>
                <c:pt idx="8015">
                  <c:v>1.1418414032653765</c:v>
                </c:pt>
                <c:pt idx="8016">
                  <c:v>1.1160070795737975</c:v>
                </c:pt>
                <c:pt idx="8017">
                  <c:v>1.078686300412635</c:v>
                </c:pt>
                <c:pt idx="8018">
                  <c:v>1.1088254946265628</c:v>
                </c:pt>
                <c:pt idx="8019">
                  <c:v>1.1103301590863883</c:v>
                </c:pt>
                <c:pt idx="8020">
                  <c:v>1.0921415710737183</c:v>
                </c:pt>
                <c:pt idx="8021">
                  <c:v>1.1459677542755422</c:v>
                </c:pt>
                <c:pt idx="8022">
                  <c:v>1.0979103015959648</c:v>
                </c:pt>
                <c:pt idx="8023">
                  <c:v>1.1140382643822972</c:v>
                </c:pt>
                <c:pt idx="8024">
                  <c:v>1.1175117440336226</c:v>
                </c:pt>
                <c:pt idx="8025">
                  <c:v>1.1257542449389719</c:v>
                </c:pt>
                <c:pt idx="8026">
                  <c:v>1.1297989870292824</c:v>
                </c:pt>
                <c:pt idx="8027">
                  <c:v>1.122214458040264</c:v>
                </c:pt>
                <c:pt idx="8028">
                  <c:v>1.1229132344165218</c:v>
                </c:pt>
                <c:pt idx="8029">
                  <c:v>1.0737999663363205</c:v>
                </c:pt>
                <c:pt idx="8030">
                  <c:v>1.0883008512830452</c:v>
                </c:pt>
                <c:pt idx="8031">
                  <c:v>1.1165987442427459</c:v>
                </c:pt>
                <c:pt idx="8032">
                  <c:v>1.1051632943480723</c:v>
                </c:pt>
                <c:pt idx="8033">
                  <c:v>1.1170169899570026</c:v>
                </c:pt>
                <c:pt idx="8034">
                  <c:v>1.1153491076574671</c:v>
                </c:pt>
                <c:pt idx="8035">
                  <c:v>1.1001851502369213</c:v>
                </c:pt>
                <c:pt idx="8036">
                  <c:v>1.1201691344863995</c:v>
                </c:pt>
                <c:pt idx="8037">
                  <c:v>1.1389952921854358</c:v>
                </c:pt>
                <c:pt idx="8038">
                  <c:v>1.1274323283534891</c:v>
                </c:pt>
                <c:pt idx="8039">
                  <c:v>1.1272742110712701</c:v>
                </c:pt>
                <c:pt idx="8040">
                  <c:v>1.1314719698863085</c:v>
                </c:pt>
                <c:pt idx="8041">
                  <c:v>1.1450343522547013</c:v>
                </c:pt>
                <c:pt idx="8042">
                  <c:v>1.1436878050770951</c:v>
                </c:pt>
                <c:pt idx="8043">
                  <c:v>1.1467328378991821</c:v>
                </c:pt>
                <c:pt idx="8044">
                  <c:v>1.1472938992231851</c:v>
                </c:pt>
                <c:pt idx="8045">
                  <c:v>1.1498900829860705</c:v>
                </c:pt>
                <c:pt idx="8046">
                  <c:v>1.1559801486302455</c:v>
                </c:pt>
                <c:pt idx="8047">
                  <c:v>1.1692262964342004</c:v>
                </c:pt>
                <c:pt idx="8048">
                  <c:v>1.1732965413119651</c:v>
                </c:pt>
                <c:pt idx="8049">
                  <c:v>1.1544805847279109</c:v>
                </c:pt>
                <c:pt idx="8050">
                  <c:v>1.1714195361553021</c:v>
                </c:pt>
                <c:pt idx="8051">
                  <c:v>1.1571940813130874</c:v>
                </c:pt>
                <c:pt idx="8052">
                  <c:v>1.1336346062624649</c:v>
                </c:pt>
                <c:pt idx="8053">
                  <c:v>1.1294317468899351</c:v>
                </c:pt>
                <c:pt idx="8054">
                  <c:v>1.1595964438913176</c:v>
                </c:pt>
                <c:pt idx="8055">
                  <c:v>1.1722305247963605</c:v>
                </c:pt>
                <c:pt idx="8056">
                  <c:v>1.1951626312755987</c:v>
                </c:pt>
                <c:pt idx="8057">
                  <c:v>1.1802945061895267</c:v>
                </c:pt>
                <c:pt idx="8058">
                  <c:v>1.1938262852129737</c:v>
                </c:pt>
                <c:pt idx="8059">
                  <c:v>1.2187986146885854</c:v>
                </c:pt>
                <c:pt idx="8060">
                  <c:v>1.235610052178703</c:v>
                </c:pt>
                <c:pt idx="8061">
                  <c:v>1.2385632749659536</c:v>
                </c:pt>
                <c:pt idx="8062">
                  <c:v>1.258180019076085</c:v>
                </c:pt>
                <c:pt idx="8063">
                  <c:v>1.2476830717597434</c:v>
                </c:pt>
                <c:pt idx="8064">
                  <c:v>1.2608731134312983</c:v>
                </c:pt>
                <c:pt idx="8065">
                  <c:v>1.232396700959415</c:v>
                </c:pt>
                <c:pt idx="8066">
                  <c:v>1.2295046848620559</c:v>
                </c:pt>
                <c:pt idx="8067">
                  <c:v>1.2335800302973117</c:v>
                </c:pt>
                <c:pt idx="8068">
                  <c:v>1.2591644266718354</c:v>
                </c:pt>
                <c:pt idx="8069">
                  <c:v>1.2682077151032605</c:v>
                </c:pt>
                <c:pt idx="8070">
                  <c:v>1.2483614459060375</c:v>
                </c:pt>
                <c:pt idx="8071">
                  <c:v>1.2503302610975382</c:v>
                </c:pt>
                <c:pt idx="8072">
                  <c:v>1.2271584284162258</c:v>
                </c:pt>
                <c:pt idx="8073">
                  <c:v>1.1694099165038736</c:v>
                </c:pt>
                <c:pt idx="8074">
                  <c:v>1.1747450996393907</c:v>
                </c:pt>
                <c:pt idx="8075">
                  <c:v>1.2281938415868856</c:v>
                </c:pt>
                <c:pt idx="8076">
                  <c:v>1.2152231238874411</c:v>
                </c:pt>
                <c:pt idx="8077">
                  <c:v>1.1948565978261425</c:v>
                </c:pt>
                <c:pt idx="8078">
                  <c:v>1.1884553981750203</c:v>
                </c:pt>
                <c:pt idx="8079">
                  <c:v>1.1724243459810157</c:v>
                </c:pt>
                <c:pt idx="8080">
                  <c:v>1.1870221415200684</c:v>
                </c:pt>
                <c:pt idx="8081">
                  <c:v>1.2054708579647753</c:v>
                </c:pt>
                <c:pt idx="8082">
                  <c:v>1.2222567926674386</c:v>
                </c:pt>
                <c:pt idx="8083">
                  <c:v>1.232009058590104</c:v>
                </c:pt>
                <c:pt idx="8084">
                  <c:v>1.2574251365674272</c:v>
                </c:pt>
                <c:pt idx="8085">
                  <c:v>1.2428579443733199</c:v>
                </c:pt>
                <c:pt idx="8086">
                  <c:v>1.2531151654875878</c:v>
                </c:pt>
                <c:pt idx="8087">
                  <c:v>1.302371249177535</c:v>
                </c:pt>
                <c:pt idx="8088">
                  <c:v>1.3465267753765486</c:v>
                </c:pt>
                <c:pt idx="8089">
                  <c:v>1.3608236380236365</c:v>
                </c:pt>
                <c:pt idx="8090">
                  <c:v>1.3412987039483415</c:v>
                </c:pt>
                <c:pt idx="8091">
                  <c:v>1.348566998372922</c:v>
                </c:pt>
                <c:pt idx="8092">
                  <c:v>1.3432981224847875</c:v>
                </c:pt>
                <c:pt idx="8093">
                  <c:v>1.3488628307073962</c:v>
                </c:pt>
                <c:pt idx="8094">
                  <c:v>1.3371519507082121</c:v>
                </c:pt>
                <c:pt idx="8095">
                  <c:v>1.3329184879907379</c:v>
                </c:pt>
                <c:pt idx="8096">
                  <c:v>1.3178667428349922</c:v>
                </c:pt>
                <c:pt idx="8097">
                  <c:v>1.3080685718949083</c:v>
                </c:pt>
                <c:pt idx="8098">
                  <c:v>1.3177137261102638</c:v>
                </c:pt>
                <c:pt idx="8099">
                  <c:v>1.3158979276434914</c:v>
                </c:pt>
                <c:pt idx="8100">
                  <c:v>1.2963525913382332</c:v>
                </c:pt>
                <c:pt idx="8101">
                  <c:v>1.2847539236038501</c:v>
                </c:pt>
                <c:pt idx="8102">
                  <c:v>1.2965770158678347</c:v>
                </c:pt>
                <c:pt idx="8103">
                  <c:v>1.2965770158678347</c:v>
                </c:pt>
                <c:pt idx="8104">
                  <c:v>1.2989436745436276</c:v>
                </c:pt>
                <c:pt idx="8105">
                  <c:v>1.2727574123851735</c:v>
                </c:pt>
                <c:pt idx="8106">
                  <c:v>1.3288074386530448</c:v>
                </c:pt>
                <c:pt idx="8107">
                  <c:v>1.3291440754474464</c:v>
                </c:pt>
                <c:pt idx="8108">
                  <c:v>1.3145972854833037</c:v>
                </c:pt>
                <c:pt idx="8109">
                  <c:v>1.2870287722448066</c:v>
                </c:pt>
                <c:pt idx="8110">
                  <c:v>1.2598479013756205</c:v>
                </c:pt>
                <c:pt idx="8111">
                  <c:v>1.2598479013756205</c:v>
                </c:pt>
                <c:pt idx="8112">
                  <c:v>1.2518655289023091</c:v>
                </c:pt>
                <c:pt idx="8113">
                  <c:v>1.2297240088341654</c:v>
                </c:pt>
                <c:pt idx="8114">
                  <c:v>1.2344879295306979</c:v>
                </c:pt>
                <c:pt idx="8115">
                  <c:v>1.2129686774764483</c:v>
                </c:pt>
                <c:pt idx="8116">
                  <c:v>1.1688692574098352</c:v>
                </c:pt>
                <c:pt idx="8117">
                  <c:v>1.146783843474092</c:v>
                </c:pt>
                <c:pt idx="8118">
                  <c:v>1.1464319050072169</c:v>
                </c:pt>
                <c:pt idx="8119">
                  <c:v>1.1591679970620787</c:v>
                </c:pt>
                <c:pt idx="8120">
                  <c:v>1.1387300631959074</c:v>
                </c:pt>
                <c:pt idx="8121">
                  <c:v>1.0464660787424065</c:v>
                </c:pt>
                <c:pt idx="8122">
                  <c:v>1.0517145524005778</c:v>
                </c:pt>
                <c:pt idx="8123">
                  <c:v>1.0953957267529342</c:v>
                </c:pt>
                <c:pt idx="8124">
                  <c:v>1.1171802077967121</c:v>
                </c:pt>
                <c:pt idx="8125">
                  <c:v>1.1025467083552232</c:v>
                </c:pt>
                <c:pt idx="8126">
                  <c:v>1.081399796997812</c:v>
                </c:pt>
                <c:pt idx="8127">
                  <c:v>1.0918661409692079</c:v>
                </c:pt>
                <c:pt idx="8128">
                  <c:v>1.1304875622905586</c:v>
                </c:pt>
                <c:pt idx="8129">
                  <c:v>1.1195060620125776</c:v>
                </c:pt>
                <c:pt idx="8130">
                  <c:v>1.1130079517691285</c:v>
                </c:pt>
                <c:pt idx="8131">
                  <c:v>1.1139311526749878</c:v>
                </c:pt>
                <c:pt idx="8132">
                  <c:v>1.114507515671463</c:v>
                </c:pt>
                <c:pt idx="8133">
                  <c:v>1.1120490469608328</c:v>
                </c:pt>
                <c:pt idx="8134">
                  <c:v>1.0635733485669987</c:v>
                </c:pt>
                <c:pt idx="8135">
                  <c:v>1.1140331638248062</c:v>
                </c:pt>
                <c:pt idx="8136">
                  <c:v>1.0955793468226078</c:v>
                </c:pt>
                <c:pt idx="8137">
                  <c:v>1.0911367612480043</c:v>
                </c:pt>
                <c:pt idx="8138">
                  <c:v>1.0868981979730385</c:v>
                </c:pt>
                <c:pt idx="8139">
                  <c:v>1.1125335999224717</c:v>
                </c:pt>
                <c:pt idx="8140">
                  <c:v>1.1254074070295883</c:v>
                </c:pt>
                <c:pt idx="8141">
                  <c:v>1.1258256527438451</c:v>
                </c:pt>
                <c:pt idx="8142">
                  <c:v>1.1508387866793841</c:v>
                </c:pt>
                <c:pt idx="8143">
                  <c:v>1.1587395502328404</c:v>
                </c:pt>
                <c:pt idx="8144">
                  <c:v>1.1646714985947964</c:v>
                </c:pt>
                <c:pt idx="8145">
                  <c:v>1.1646714985947964</c:v>
                </c:pt>
                <c:pt idx="8146">
                  <c:v>1.1833701423565595</c:v>
                </c:pt>
                <c:pt idx="8147">
                  <c:v>1.1969121224949886</c:v>
                </c:pt>
                <c:pt idx="8148">
                  <c:v>1.2067408967800182</c:v>
                </c:pt>
                <c:pt idx="8149">
                  <c:v>1.2067408967800182</c:v>
                </c:pt>
                <c:pt idx="8150">
                  <c:v>1.2076589971283864</c:v>
                </c:pt>
                <c:pt idx="8151">
                  <c:v>1.1878892362935272</c:v>
                </c:pt>
                <c:pt idx="8152">
                  <c:v>1.2387060905757004</c:v>
                </c:pt>
                <c:pt idx="8153">
                  <c:v>1.3023559475050623</c:v>
                </c:pt>
                <c:pt idx="8154">
                  <c:v>1.2990252834634823</c:v>
                </c:pt>
                <c:pt idx="8155">
                  <c:v>1.2756749312699878</c:v>
                </c:pt>
                <c:pt idx="8156">
                  <c:v>1.2128411635391751</c:v>
                </c:pt>
                <c:pt idx="8157">
                  <c:v>1.2124433200548821</c:v>
                </c:pt>
                <c:pt idx="8158">
                  <c:v>1.2048026849334632</c:v>
                </c:pt>
                <c:pt idx="8159">
                  <c:v>1.1712512177581011</c:v>
                </c:pt>
                <c:pt idx="8160">
                  <c:v>1.0724687208311869</c:v>
                </c:pt>
                <c:pt idx="8161">
                  <c:v>1.1003942730940492</c:v>
                </c:pt>
                <c:pt idx="8162">
                  <c:v>1.1324614780395499</c:v>
                </c:pt>
                <c:pt idx="8163">
                  <c:v>1.1335580979001003</c:v>
                </c:pt>
                <c:pt idx="8164">
                  <c:v>1.0852099134435393</c:v>
                </c:pt>
                <c:pt idx="8165">
                  <c:v>1.10995781838955</c:v>
                </c:pt>
                <c:pt idx="8166">
                  <c:v>1.1239588487021632</c:v>
                </c:pt>
                <c:pt idx="8167">
                  <c:v>1.1513080379685499</c:v>
                </c:pt>
                <c:pt idx="8168">
                  <c:v>1.1343384831962138</c:v>
                </c:pt>
                <c:pt idx="8169">
                  <c:v>1.0764930606915337</c:v>
                </c:pt>
                <c:pt idx="8170">
                  <c:v>1.0736724523990473</c:v>
                </c:pt>
                <c:pt idx="8171">
                  <c:v>1.1152062920477208</c:v>
                </c:pt>
                <c:pt idx="8172">
                  <c:v>1.135078064032399</c:v>
                </c:pt>
                <c:pt idx="8173">
                  <c:v>1.1133853930234574</c:v>
                </c:pt>
                <c:pt idx="8174">
                  <c:v>1.1037657415955566</c:v>
                </c:pt>
                <c:pt idx="8175">
                  <c:v>1.0642823260582381</c:v>
                </c:pt>
                <c:pt idx="8176">
                  <c:v>1.1100394273094052</c:v>
                </c:pt>
                <c:pt idx="8177">
                  <c:v>1.1129314434067643</c:v>
                </c:pt>
                <c:pt idx="8178">
                  <c:v>1.0774774682872836</c:v>
                </c:pt>
                <c:pt idx="8179">
                  <c:v>1.0466139949096438</c:v>
                </c:pt>
                <c:pt idx="8180">
                  <c:v>1.0065338141458859</c:v>
                </c:pt>
                <c:pt idx="8181">
                  <c:v>0.94702050934167104</c:v>
                </c:pt>
                <c:pt idx="8182">
                  <c:v>0.73547998796268454</c:v>
                </c:pt>
                <c:pt idx="8183">
                  <c:v>0.88189659129742903</c:v>
                </c:pt>
                <c:pt idx="8184">
                  <c:v>0.90967932795054507</c:v>
                </c:pt>
                <c:pt idx="8185">
                  <c:v>0.87829049715133878</c:v>
                </c:pt>
                <c:pt idx="8186">
                  <c:v>0.95177422892322139</c:v>
                </c:pt>
                <c:pt idx="8187">
                  <c:v>0.91892153812411692</c:v>
                </c:pt>
                <c:pt idx="8188">
                  <c:v>0.83220696022075225</c:v>
                </c:pt>
                <c:pt idx="8189">
                  <c:v>0.84767185053326322</c:v>
                </c:pt>
                <c:pt idx="8190">
                  <c:v>0.8220415491413211</c:v>
                </c:pt>
                <c:pt idx="8191">
                  <c:v>0.8842530488582403</c:v>
                </c:pt>
                <c:pt idx="8192">
                  <c:v>0.88140183722080834</c:v>
                </c:pt>
                <c:pt idx="8193">
                  <c:v>0.94177203568350021</c:v>
                </c:pt>
                <c:pt idx="8194">
                  <c:v>0.88319213290012599</c:v>
                </c:pt>
                <c:pt idx="8195">
                  <c:v>0.90973033352545429</c:v>
                </c:pt>
                <c:pt idx="8196">
                  <c:v>0.96715240975838657</c:v>
                </c:pt>
                <c:pt idx="8197">
                  <c:v>1.0294302167226879</c:v>
                </c:pt>
                <c:pt idx="8198">
                  <c:v>1.0045803006268583</c:v>
                </c:pt>
                <c:pt idx="8199">
                  <c:v>0.99863815114992072</c:v>
                </c:pt>
                <c:pt idx="8200">
                  <c:v>1.0258292231340889</c:v>
                </c:pt>
                <c:pt idx="8201">
                  <c:v>1.0252069551201948</c:v>
                </c:pt>
                <c:pt idx="8202">
                  <c:v>1.0423295266172592</c:v>
                </c:pt>
                <c:pt idx="8203">
                  <c:v>1.0201625037616613</c:v>
                </c:pt>
                <c:pt idx="8204">
                  <c:v>1.0273542898238777</c:v>
                </c:pt>
                <c:pt idx="8205">
                  <c:v>1.0736214468241378</c:v>
                </c:pt>
                <c:pt idx="8206">
                  <c:v>1.0812569813880657</c:v>
                </c:pt>
                <c:pt idx="8207">
                  <c:v>1.0368464273145057</c:v>
                </c:pt>
                <c:pt idx="8208">
                  <c:v>1.0671692415981067</c:v>
                </c:pt>
                <c:pt idx="8209">
                  <c:v>1.0604671090550197</c:v>
                </c:pt>
                <c:pt idx="8210">
                  <c:v>1.0277113288482429</c:v>
                </c:pt>
                <c:pt idx="8211">
                  <c:v>1.0127564942848255</c:v>
                </c:pt>
                <c:pt idx="8212">
                  <c:v>0.98296413798028115</c:v>
                </c:pt>
                <c:pt idx="8213">
                  <c:v>0.99102811937344759</c:v>
                </c:pt>
                <c:pt idx="8214">
                  <c:v>1.025951636513871</c:v>
                </c:pt>
                <c:pt idx="8215">
                  <c:v>0.99956135205577978</c:v>
                </c:pt>
                <c:pt idx="8216">
                  <c:v>1.0094105285707728</c:v>
                </c:pt>
                <c:pt idx="8217">
                  <c:v>0.99875546397221204</c:v>
                </c:pt>
                <c:pt idx="8218">
                  <c:v>0.99875546397221204</c:v>
                </c:pt>
                <c:pt idx="8219">
                  <c:v>0.97522149170904382</c:v>
                </c:pt>
                <c:pt idx="8220">
                  <c:v>0.95544663031669375</c:v>
                </c:pt>
                <c:pt idx="8221">
                  <c:v>0.93725804230402399</c:v>
                </c:pt>
                <c:pt idx="8222">
                  <c:v>0.88430915499064056</c:v>
                </c:pt>
                <c:pt idx="8223">
                  <c:v>0.83297204384439238</c:v>
                </c:pt>
                <c:pt idx="8224">
                  <c:v>0.81092743436857639</c:v>
                </c:pt>
                <c:pt idx="8225">
                  <c:v>0.79816073896876949</c:v>
                </c:pt>
                <c:pt idx="8226">
                  <c:v>0.79942567722652091</c:v>
                </c:pt>
                <c:pt idx="8227">
                  <c:v>0.774315632698654</c:v>
                </c:pt>
                <c:pt idx="8228">
                  <c:v>0.74177917646398761</c:v>
                </c:pt>
                <c:pt idx="8229">
                  <c:v>0.74177917646398761</c:v>
                </c:pt>
                <c:pt idx="8230">
                  <c:v>0.73080787730098895</c:v>
                </c:pt>
                <c:pt idx="8231">
                  <c:v>0.68620350204277347</c:v>
                </c:pt>
                <c:pt idx="8232">
                  <c:v>0.68553022845396994</c:v>
                </c:pt>
                <c:pt idx="8233">
                  <c:v>0.64943358309063193</c:v>
                </c:pt>
                <c:pt idx="8234">
                  <c:v>0.64169603737688519</c:v>
                </c:pt>
                <c:pt idx="8235">
                  <c:v>0.64058411584386188</c:v>
                </c:pt>
                <c:pt idx="8236">
                  <c:v>0.61532615514875788</c:v>
                </c:pt>
                <c:pt idx="8237">
                  <c:v>0.6859943791856451</c:v>
                </c:pt>
                <c:pt idx="8238">
                  <c:v>0.68273512294893823</c:v>
                </c:pt>
                <c:pt idx="8239">
                  <c:v>0.71934182406136982</c:v>
                </c:pt>
                <c:pt idx="8240">
                  <c:v>0.720418041691957</c:v>
                </c:pt>
                <c:pt idx="8241">
                  <c:v>0.69627710308736757</c:v>
                </c:pt>
                <c:pt idx="8242">
                  <c:v>0.70226005702423278</c:v>
                </c:pt>
                <c:pt idx="8243">
                  <c:v>0.75402561499971954</c:v>
                </c:pt>
                <c:pt idx="8244">
                  <c:v>0.73006319590731272</c:v>
                </c:pt>
                <c:pt idx="8245">
                  <c:v>0.71630189179677339</c:v>
                </c:pt>
                <c:pt idx="8246">
                  <c:v>0.7453750694950958</c:v>
                </c:pt>
                <c:pt idx="8247">
                  <c:v>0.73291950810223572</c:v>
                </c:pt>
                <c:pt idx="8248">
                  <c:v>0.76377278036489393</c:v>
                </c:pt>
                <c:pt idx="8249">
                  <c:v>0.7442937513070178</c:v>
                </c:pt>
                <c:pt idx="8250">
                  <c:v>0.75499982148048805</c:v>
                </c:pt>
                <c:pt idx="8251">
                  <c:v>0.7418250814814058</c:v>
                </c:pt>
                <c:pt idx="8252">
                  <c:v>0.7701127733261246</c:v>
                </c:pt>
                <c:pt idx="8253">
                  <c:v>0.75003697904180933</c:v>
                </c:pt>
                <c:pt idx="8254">
                  <c:v>0.71579693660517107</c:v>
                </c:pt>
                <c:pt idx="8255">
                  <c:v>0.69319126580535251</c:v>
                </c:pt>
                <c:pt idx="8256">
                  <c:v>0.652657135424902</c:v>
                </c:pt>
                <c:pt idx="8257">
                  <c:v>0.61104678741386453</c:v>
                </c:pt>
                <c:pt idx="8258">
                  <c:v>0.63243342497334964</c:v>
                </c:pt>
                <c:pt idx="8259">
                  <c:v>0.63534074274318186</c:v>
                </c:pt>
                <c:pt idx="8260">
                  <c:v>0.63534074274318186</c:v>
                </c:pt>
                <c:pt idx="8261">
                  <c:v>0.60618595612500448</c:v>
                </c:pt>
                <c:pt idx="8262">
                  <c:v>0.64818904706284397</c:v>
                </c:pt>
                <c:pt idx="8263">
                  <c:v>0.61133751919084744</c:v>
                </c:pt>
                <c:pt idx="8264">
                  <c:v>0.58613056407065289</c:v>
                </c:pt>
                <c:pt idx="8265">
                  <c:v>0.61299009981791031</c:v>
                </c:pt>
                <c:pt idx="8266">
                  <c:v>0.64256313215034422</c:v>
                </c:pt>
                <c:pt idx="8267">
                  <c:v>0.66739774657370066</c:v>
                </c:pt>
                <c:pt idx="8268">
                  <c:v>0.6617565299887278</c:v>
                </c:pt>
                <c:pt idx="8269">
                  <c:v>0.62606282866717344</c:v>
                </c:pt>
                <c:pt idx="8270">
                  <c:v>0.61924338330179496</c:v>
                </c:pt>
                <c:pt idx="8271">
                  <c:v>0.57726579515141019</c:v>
                </c:pt>
                <c:pt idx="8272">
                  <c:v>0.59075166915743904</c:v>
                </c:pt>
                <c:pt idx="8273">
                  <c:v>0.64261923828274425</c:v>
                </c:pt>
                <c:pt idx="8274">
                  <c:v>0.67305426483114594</c:v>
                </c:pt>
                <c:pt idx="8275">
                  <c:v>0.64815844371789844</c:v>
                </c:pt>
                <c:pt idx="8276">
                  <c:v>0.59903497452271548</c:v>
                </c:pt>
                <c:pt idx="8277">
                  <c:v>0.59153205445355184</c:v>
                </c:pt>
                <c:pt idx="8278">
                  <c:v>0.55147737647724915</c:v>
                </c:pt>
                <c:pt idx="8279">
                  <c:v>0.55738892260924122</c:v>
                </c:pt>
                <c:pt idx="8280">
                  <c:v>0.60482410727492519</c:v>
                </c:pt>
                <c:pt idx="8281">
                  <c:v>0.61423973640318885</c:v>
                </c:pt>
                <c:pt idx="8282">
                  <c:v>0.62894974420704197</c:v>
                </c:pt>
                <c:pt idx="8283">
                  <c:v>0.61790703723917018</c:v>
                </c:pt>
                <c:pt idx="8284">
                  <c:v>0.64242541709808898</c:v>
                </c:pt>
                <c:pt idx="8285">
                  <c:v>0.62687381730823177</c:v>
                </c:pt>
                <c:pt idx="8286">
                  <c:v>0.6056248948010019</c:v>
                </c:pt>
                <c:pt idx="8287">
                  <c:v>0.6028960965433523</c:v>
                </c:pt>
                <c:pt idx="8288">
                  <c:v>0.61771831661200571</c:v>
                </c:pt>
                <c:pt idx="8289">
                  <c:v>0.67006533814145897</c:v>
                </c:pt>
                <c:pt idx="8290">
                  <c:v>0.68496916712996736</c:v>
                </c:pt>
                <c:pt idx="8291">
                  <c:v>0.66278684260189658</c:v>
                </c:pt>
                <c:pt idx="8292">
                  <c:v>0.65143810218456899</c:v>
                </c:pt>
                <c:pt idx="8293">
                  <c:v>0.63807974211581331</c:v>
                </c:pt>
                <c:pt idx="8294">
                  <c:v>0.61633096497447171</c:v>
                </c:pt>
                <c:pt idx="8295">
                  <c:v>0.6590277317310782</c:v>
                </c:pt>
                <c:pt idx="8296">
                  <c:v>0.64763818685382324</c:v>
                </c:pt>
                <c:pt idx="8297">
                  <c:v>0.65739555333397948</c:v>
                </c:pt>
                <c:pt idx="8298">
                  <c:v>0.68759595423779829</c:v>
                </c:pt>
                <c:pt idx="8299">
                  <c:v>0.69746043242526401</c:v>
                </c:pt>
                <c:pt idx="8300">
                  <c:v>0.69746043242526401</c:v>
                </c:pt>
                <c:pt idx="8301">
                  <c:v>0.69739922573537294</c:v>
                </c:pt>
                <c:pt idx="8302">
                  <c:v>0.64645485751592635</c:v>
                </c:pt>
                <c:pt idx="8303">
                  <c:v>0.6628378481768058</c:v>
                </c:pt>
                <c:pt idx="8304">
                  <c:v>0.63713613897999055</c:v>
                </c:pt>
                <c:pt idx="8305">
                  <c:v>0.60447216880805077</c:v>
                </c:pt>
                <c:pt idx="8306">
                  <c:v>0.62086026002642081</c:v>
                </c:pt>
                <c:pt idx="8307">
                  <c:v>0.58550829605675903</c:v>
                </c:pt>
                <c:pt idx="8308">
                  <c:v>0.59663261194448558</c:v>
                </c:pt>
                <c:pt idx="8309">
                  <c:v>0.56806948999525653</c:v>
                </c:pt>
                <c:pt idx="8310">
                  <c:v>0.53925134017148069</c:v>
                </c:pt>
                <c:pt idx="8311">
                  <c:v>0.50183365041799055</c:v>
                </c:pt>
                <c:pt idx="8312">
                  <c:v>0.49509581397246705</c:v>
                </c:pt>
                <c:pt idx="8313">
                  <c:v>0.43089509683408389</c:v>
                </c:pt>
                <c:pt idx="8314">
                  <c:v>0.47311751174403383</c:v>
                </c:pt>
                <c:pt idx="8315">
                  <c:v>0.42136725544101972</c:v>
                </c:pt>
                <c:pt idx="8316">
                  <c:v>0.43757682714720714</c:v>
                </c:pt>
                <c:pt idx="8317">
                  <c:v>0.44124412798318846</c:v>
                </c:pt>
                <c:pt idx="8318">
                  <c:v>0.50142050526122506</c:v>
                </c:pt>
                <c:pt idx="8319">
                  <c:v>0.52812192372626332</c:v>
                </c:pt>
                <c:pt idx="8320">
                  <c:v>0.48642486623787984</c:v>
                </c:pt>
                <c:pt idx="8321">
                  <c:v>0.4951672217773404</c:v>
                </c:pt>
                <c:pt idx="8322">
                  <c:v>0.50638334769990356</c:v>
                </c:pt>
                <c:pt idx="8323">
                  <c:v>0.46935330031572464</c:v>
                </c:pt>
                <c:pt idx="8324">
                  <c:v>0.49665148400720205</c:v>
                </c:pt>
                <c:pt idx="8325">
                  <c:v>0.46740488735418784</c:v>
                </c:pt>
                <c:pt idx="8326">
                  <c:v>0.47908006345093535</c:v>
                </c:pt>
                <c:pt idx="8327">
                  <c:v>0.48776631285799543</c:v>
                </c:pt>
                <c:pt idx="8328">
                  <c:v>0.42856924261821816</c:v>
                </c:pt>
                <c:pt idx="8329">
                  <c:v>0.40436709732373766</c:v>
                </c:pt>
                <c:pt idx="8330">
                  <c:v>0.42958425355891405</c:v>
                </c:pt>
                <c:pt idx="8331">
                  <c:v>0.41582805000586576</c:v>
                </c:pt>
                <c:pt idx="8332">
                  <c:v>0.36130819098527467</c:v>
                </c:pt>
                <c:pt idx="8333">
                  <c:v>0.35915575572410052</c:v>
                </c:pt>
                <c:pt idx="8334">
                  <c:v>0.36807663077574393</c:v>
                </c:pt>
                <c:pt idx="8335">
                  <c:v>0.43006880652055268</c:v>
                </c:pt>
                <c:pt idx="8336">
                  <c:v>0.39980209836935177</c:v>
                </c:pt>
                <c:pt idx="8337">
                  <c:v>0.39851675788163643</c:v>
                </c:pt>
                <c:pt idx="8338">
                  <c:v>0.38608159871874004</c:v>
                </c:pt>
                <c:pt idx="8339">
                  <c:v>0.36071142575883552</c:v>
                </c:pt>
                <c:pt idx="8340">
                  <c:v>0.36302707885971941</c:v>
                </c:pt>
                <c:pt idx="8341">
                  <c:v>0.35844167767537005</c:v>
                </c:pt>
                <c:pt idx="8342">
                  <c:v>0.34000826290313535</c:v>
                </c:pt>
                <c:pt idx="8343">
                  <c:v>0.37820633795273828</c:v>
                </c:pt>
                <c:pt idx="8344">
                  <c:v>0.3948086525857275</c:v>
                </c:pt>
                <c:pt idx="8345">
                  <c:v>0.40824352101684713</c:v>
                </c:pt>
                <c:pt idx="8346">
                  <c:v>0.37863478478197665</c:v>
                </c:pt>
                <c:pt idx="8347">
                  <c:v>0.40710099613887785</c:v>
                </c:pt>
                <c:pt idx="8348">
                  <c:v>0.39240629000749783</c:v>
                </c:pt>
                <c:pt idx="8349">
                  <c:v>0.41370111753214633</c:v>
                </c:pt>
                <c:pt idx="8350">
                  <c:v>0.42436128268819795</c:v>
                </c:pt>
                <c:pt idx="8351">
                  <c:v>0.46734878122178758</c:v>
                </c:pt>
                <c:pt idx="8352">
                  <c:v>0.48623104505322434</c:v>
                </c:pt>
                <c:pt idx="8353">
                  <c:v>0.48815905578479724</c:v>
                </c:pt>
                <c:pt idx="8354">
                  <c:v>0.51536542944143804</c:v>
                </c:pt>
                <c:pt idx="8355">
                  <c:v>0.51536542944143804</c:v>
                </c:pt>
                <c:pt idx="8356">
                  <c:v>0.55254339299285404</c:v>
                </c:pt>
                <c:pt idx="8357">
                  <c:v>0.53831793815064</c:v>
                </c:pt>
                <c:pt idx="8358">
                  <c:v>0.57946923598749334</c:v>
                </c:pt>
                <c:pt idx="8359">
                  <c:v>0.59611235508041038</c:v>
                </c:pt>
                <c:pt idx="8360">
                  <c:v>0.62235472337126452</c:v>
                </c:pt>
                <c:pt idx="8361">
                  <c:v>0.62173755591486168</c:v>
                </c:pt>
                <c:pt idx="8362">
                  <c:v>0.6673671432287549</c:v>
                </c:pt>
                <c:pt idx="8363">
                  <c:v>0.6673671432287549</c:v>
                </c:pt>
                <c:pt idx="8364">
                  <c:v>0.72015281270242837</c:v>
                </c:pt>
                <c:pt idx="8365">
                  <c:v>0.74546687952993285</c:v>
                </c:pt>
                <c:pt idx="8366">
                  <c:v>0.71745971834721534</c:v>
                </c:pt>
                <c:pt idx="8367">
                  <c:v>0.6849793682449492</c:v>
                </c:pt>
                <c:pt idx="8368">
                  <c:v>0.68398986009170804</c:v>
                </c:pt>
                <c:pt idx="8369">
                  <c:v>0.66255221695731348</c:v>
                </c:pt>
                <c:pt idx="8370">
                  <c:v>0.69436439402826733</c:v>
                </c:pt>
                <c:pt idx="8371">
                  <c:v>0.69028394803552029</c:v>
                </c:pt>
                <c:pt idx="8372">
                  <c:v>0.73178208378175746</c:v>
                </c:pt>
                <c:pt idx="8373">
                  <c:v>0.70520307869650156</c:v>
                </c:pt>
                <c:pt idx="8374">
                  <c:v>0.71255808259842812</c:v>
                </c:pt>
                <c:pt idx="8375">
                  <c:v>0.71261928928831919</c:v>
                </c:pt>
                <c:pt idx="8376">
                  <c:v>0.74233513723049915</c:v>
                </c:pt>
                <c:pt idx="8377">
                  <c:v>0.70985988768572428</c:v>
                </c:pt>
                <c:pt idx="8378">
                  <c:v>0.72276939869527745</c:v>
                </c:pt>
                <c:pt idx="8379">
                  <c:v>0.70999250218048826</c:v>
                </c:pt>
                <c:pt idx="8380">
                  <c:v>0.71203272517686189</c:v>
                </c:pt>
                <c:pt idx="8381">
                  <c:v>0.70216824698939595</c:v>
                </c:pt>
                <c:pt idx="8382">
                  <c:v>0.70661083256399926</c:v>
                </c:pt>
                <c:pt idx="8383">
                  <c:v>0.73144034642986488</c:v>
                </c:pt>
                <c:pt idx="8384">
                  <c:v>0.76037580907593205</c:v>
                </c:pt>
                <c:pt idx="8385">
                  <c:v>0.76303830008619955</c:v>
                </c:pt>
                <c:pt idx="8386">
                  <c:v>0.73260837409528867</c:v>
                </c:pt>
                <c:pt idx="8387">
                  <c:v>0.71759233284197976</c:v>
                </c:pt>
                <c:pt idx="8388">
                  <c:v>0.71950504190107978</c:v>
                </c:pt>
                <c:pt idx="8389">
                  <c:v>0.73919319381608406</c:v>
                </c:pt>
                <c:pt idx="8390">
                  <c:v>0.76178356294342975</c:v>
                </c:pt>
                <c:pt idx="8391">
                  <c:v>0.75583631290900111</c:v>
                </c:pt>
                <c:pt idx="8392">
                  <c:v>0.75604033520863845</c:v>
                </c:pt>
                <c:pt idx="8393">
                  <c:v>0.74183018203889683</c:v>
                </c:pt>
                <c:pt idx="8394">
                  <c:v>0.74380919834537917</c:v>
                </c:pt>
                <c:pt idx="8395">
                  <c:v>0.77766669897019747</c:v>
                </c:pt>
                <c:pt idx="8396">
                  <c:v>0.76761860071305787</c:v>
                </c:pt>
                <c:pt idx="8397">
                  <c:v>0.79997653743554187</c:v>
                </c:pt>
                <c:pt idx="8398">
                  <c:v>0.82979949708503131</c:v>
                </c:pt>
                <c:pt idx="8399">
                  <c:v>0.83077880412329064</c:v>
                </c:pt>
                <c:pt idx="8400">
                  <c:v>0.83077880412329064</c:v>
                </c:pt>
                <c:pt idx="8401">
                  <c:v>0.88643608746435976</c:v>
                </c:pt>
                <c:pt idx="8402">
                  <c:v>0.91159713756713634</c:v>
                </c:pt>
                <c:pt idx="8403">
                  <c:v>0.88867523220287992</c:v>
                </c:pt>
                <c:pt idx="8404">
                  <c:v>0.90450736265473819</c:v>
                </c:pt>
                <c:pt idx="8405">
                  <c:v>0.8972543699026303</c:v>
                </c:pt>
                <c:pt idx="8406">
                  <c:v>0.87858632948581272</c:v>
                </c:pt>
                <c:pt idx="8407">
                  <c:v>0.88720627164549093</c:v>
                </c:pt>
                <c:pt idx="8408">
                  <c:v>0.86411604788403373</c:v>
                </c:pt>
                <c:pt idx="8409">
                  <c:v>0.86655921492219101</c:v>
                </c:pt>
                <c:pt idx="8410">
                  <c:v>0.89697383924062901</c:v>
                </c:pt>
                <c:pt idx="8411">
                  <c:v>0.89248024809111648</c:v>
                </c:pt>
                <c:pt idx="8412">
                  <c:v>0.86056095931285315</c:v>
                </c:pt>
                <c:pt idx="8413">
                  <c:v>0.88558429436337405</c:v>
                </c:pt>
                <c:pt idx="8414">
                  <c:v>0.88547718265606434</c:v>
                </c:pt>
                <c:pt idx="8415">
                  <c:v>0.86409564565407004</c:v>
                </c:pt>
                <c:pt idx="8416">
                  <c:v>0.87635228530478382</c:v>
                </c:pt>
                <c:pt idx="8417">
                  <c:v>0.84644771673543939</c:v>
                </c:pt>
                <c:pt idx="8418">
                  <c:v>0.87787735199457306</c:v>
                </c:pt>
                <c:pt idx="8419">
                  <c:v>0.88017770342298407</c:v>
                </c:pt>
                <c:pt idx="8420">
                  <c:v>0.83937324349551412</c:v>
                </c:pt>
                <c:pt idx="8421">
                  <c:v>0.84540210244979774</c:v>
                </c:pt>
                <c:pt idx="8422">
                  <c:v>0.86099450669958233</c:v>
                </c:pt>
                <c:pt idx="8423">
                  <c:v>0.87042543750031887</c:v>
                </c:pt>
                <c:pt idx="8424">
                  <c:v>0.82288314112732519</c:v>
                </c:pt>
                <c:pt idx="8425">
                  <c:v>0.82806530753811414</c:v>
                </c:pt>
                <c:pt idx="8426">
                  <c:v>0.82744814008171108</c:v>
                </c:pt>
                <c:pt idx="8427">
                  <c:v>0.84457581213626653</c:v>
                </c:pt>
                <c:pt idx="8428">
                  <c:v>0.84011282433169954</c:v>
                </c:pt>
                <c:pt idx="8429">
                  <c:v>0.83394625032516045</c:v>
                </c:pt>
                <c:pt idx="8430">
                  <c:v>0.80103235283616514</c:v>
                </c:pt>
              </c:numCache>
            </c:numRef>
          </c:val>
          <c:smooth val="0"/>
          <c:extLst>
            <c:ext xmlns:c16="http://schemas.microsoft.com/office/drawing/2014/chart" uri="{C3380CC4-5D6E-409C-BE32-E72D297353CC}">
              <c16:uniqueId val="{00000001-DA0C-46BD-8F8B-2139DB9A8272}"/>
            </c:ext>
          </c:extLst>
        </c:ser>
        <c:dLbls>
          <c:showLegendKey val="0"/>
          <c:showVal val="0"/>
          <c:showCatName val="0"/>
          <c:showSerName val="0"/>
          <c:showPercent val="0"/>
          <c:showBubbleSize val="0"/>
        </c:dLbls>
        <c:smooth val="0"/>
        <c:axId val="2030774255"/>
        <c:axId val="2030771759"/>
      </c:lineChart>
      <c:dateAx>
        <c:axId val="2030774255"/>
        <c:scaling>
          <c:orientation val="minMax"/>
          <c:min val="38353"/>
        </c:scaling>
        <c:delete val="0"/>
        <c:axPos val="b"/>
        <c:numFmt formatCode="yyyy" sourceLinked="0"/>
        <c:majorTickMark val="none"/>
        <c:minorTickMark val="none"/>
        <c:tickLblPos val="low"/>
        <c:spPr>
          <a:noFill/>
          <a:ln w="9525" cap="flat" cmpd="sng" algn="ctr">
            <a:solidFill>
              <a:srgbClr val="000000">
                <a:lumMod val="100000"/>
              </a:srgb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Calibri" panose="020F0502020204030204" pitchFamily="34" charset="0"/>
                <a:ea typeface="+mn-ea"/>
                <a:cs typeface="+mn-cs"/>
              </a:defRPr>
            </a:pPr>
            <a:endParaRPr lang="pl-PL"/>
          </a:p>
        </c:txPr>
        <c:crossAx val="2030771759"/>
        <c:crosses val="autoZero"/>
        <c:auto val="1"/>
        <c:lblOffset val="100"/>
        <c:baseTimeUnit val="days"/>
      </c:dateAx>
      <c:valAx>
        <c:axId val="2030771759"/>
        <c:scaling>
          <c:orientation val="minMax"/>
          <c:min val="-1"/>
        </c:scaling>
        <c:delete val="0"/>
        <c:axPos val="l"/>
        <c:numFmt formatCode="General" sourceLinked="1"/>
        <c:majorTickMark val="out"/>
        <c:minorTickMark val="none"/>
        <c:tickLblPos val="nextTo"/>
        <c:spPr>
          <a:noFill/>
          <a:ln>
            <a:solidFill>
              <a:srgbClr val="000000">
                <a:lumMod val="100000"/>
              </a:srgbClr>
            </a:solidFill>
          </a:ln>
          <a:effectLst/>
        </c:spPr>
        <c:txPr>
          <a:bodyPr rot="-60000000" spcFirstLastPara="1" vertOverflow="ellipsis" vert="horz" wrap="square" anchor="ctr" anchorCtr="1"/>
          <a:lstStyle/>
          <a:p>
            <a:pPr>
              <a:defRPr sz="1000" b="0" i="0" u="none" strike="noStrike" kern="1200" baseline="0">
                <a:solidFill>
                  <a:srgbClr val="000000"/>
                </a:solidFill>
                <a:latin typeface="Calibri" panose="020F0502020204030204" pitchFamily="34" charset="0"/>
                <a:ea typeface="+mn-ea"/>
                <a:cs typeface="+mn-cs"/>
              </a:defRPr>
            </a:pPr>
            <a:endParaRPr lang="pl-PL"/>
          </a:p>
        </c:txPr>
        <c:crossAx val="20307742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rgbClr val="000000"/>
              </a:solidFill>
              <a:latin typeface="Calibri" panose="020F0502020204030204" pitchFamily="34" charset="0"/>
              <a:ea typeface="+mn-ea"/>
              <a:cs typeface="+mn-cs"/>
            </a:defRPr>
          </a:pPr>
          <a:endParaRPr lang="pl-P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000">
          <a:latin typeface="Calibri" panose="020F0502020204030204" pitchFamily="34" charset="0"/>
        </a:defRPr>
      </a:pPr>
      <a:endParaRPr lang="pl-P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Calibri" panose="020F0502020204030204" pitchFamily="34" charset="0"/>
                <a:ea typeface="+mn-ea"/>
                <a:cs typeface="+mn-cs"/>
              </a:defRPr>
            </a:pPr>
            <a:r>
              <a:rPr lang="pl-PL"/>
              <a:t>Total population (millions)</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Calibri" panose="020F0502020204030204" pitchFamily="34" charset="0"/>
              <a:ea typeface="+mn-ea"/>
              <a:cs typeface="+mn-cs"/>
            </a:defRPr>
          </a:pPr>
          <a:endParaRPr lang="pl-PL"/>
        </a:p>
      </c:txPr>
    </c:title>
    <c:autoTitleDeleted val="0"/>
    <c:plotArea>
      <c:layout/>
      <c:lineChart>
        <c:grouping val="standard"/>
        <c:varyColors val="0"/>
        <c:ser>
          <c:idx val="0"/>
          <c:order val="0"/>
          <c:spPr>
            <a:ln w="28575" cap="rnd">
              <a:solidFill>
                <a:srgbClr val="D71920"/>
              </a:solidFill>
              <a:round/>
            </a:ln>
            <a:effectLst/>
          </c:spPr>
          <c:marker>
            <c:symbol val="none"/>
          </c:marker>
          <c:cat>
            <c:numRef>
              <c:f>Arkusz2!$A$2:$A$152</c:f>
              <c:numCache>
                <c:formatCode>General</c:formatCode>
                <c:ptCount val="151"/>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pt idx="67">
                  <c:v>2017</c:v>
                </c:pt>
                <c:pt idx="68">
                  <c:v>2018</c:v>
                </c:pt>
                <c:pt idx="69">
                  <c:v>2019</c:v>
                </c:pt>
                <c:pt idx="70">
                  <c:v>2020</c:v>
                </c:pt>
                <c:pt idx="71">
                  <c:v>2021</c:v>
                </c:pt>
                <c:pt idx="72">
                  <c:v>2022</c:v>
                </c:pt>
                <c:pt idx="73">
                  <c:v>2023</c:v>
                </c:pt>
                <c:pt idx="74">
                  <c:v>2024</c:v>
                </c:pt>
                <c:pt idx="75">
                  <c:v>2025</c:v>
                </c:pt>
                <c:pt idx="76">
                  <c:v>2026</c:v>
                </c:pt>
                <c:pt idx="77">
                  <c:v>2027</c:v>
                </c:pt>
                <c:pt idx="78">
                  <c:v>2028</c:v>
                </c:pt>
                <c:pt idx="79">
                  <c:v>2029</c:v>
                </c:pt>
                <c:pt idx="80">
                  <c:v>2030</c:v>
                </c:pt>
                <c:pt idx="81">
                  <c:v>2031</c:v>
                </c:pt>
                <c:pt idx="82">
                  <c:v>2032</c:v>
                </c:pt>
                <c:pt idx="83">
                  <c:v>2033</c:v>
                </c:pt>
                <c:pt idx="84">
                  <c:v>2034</c:v>
                </c:pt>
                <c:pt idx="85">
                  <c:v>2035</c:v>
                </c:pt>
                <c:pt idx="86">
                  <c:v>2036</c:v>
                </c:pt>
                <c:pt idx="87">
                  <c:v>2037</c:v>
                </c:pt>
                <c:pt idx="88">
                  <c:v>2038</c:v>
                </c:pt>
                <c:pt idx="89">
                  <c:v>2039</c:v>
                </c:pt>
                <c:pt idx="90">
                  <c:v>2040</c:v>
                </c:pt>
                <c:pt idx="91">
                  <c:v>2041</c:v>
                </c:pt>
                <c:pt idx="92">
                  <c:v>2042</c:v>
                </c:pt>
                <c:pt idx="93">
                  <c:v>2043</c:v>
                </c:pt>
                <c:pt idx="94">
                  <c:v>2044</c:v>
                </c:pt>
                <c:pt idx="95">
                  <c:v>2045</c:v>
                </c:pt>
                <c:pt idx="96">
                  <c:v>2046</c:v>
                </c:pt>
                <c:pt idx="97">
                  <c:v>2047</c:v>
                </c:pt>
                <c:pt idx="98">
                  <c:v>2048</c:v>
                </c:pt>
                <c:pt idx="99">
                  <c:v>2049</c:v>
                </c:pt>
                <c:pt idx="100">
                  <c:v>2050</c:v>
                </c:pt>
                <c:pt idx="101">
                  <c:v>2051</c:v>
                </c:pt>
                <c:pt idx="102">
                  <c:v>2052</c:v>
                </c:pt>
                <c:pt idx="103">
                  <c:v>2053</c:v>
                </c:pt>
                <c:pt idx="104">
                  <c:v>2054</c:v>
                </c:pt>
                <c:pt idx="105">
                  <c:v>2055</c:v>
                </c:pt>
                <c:pt idx="106">
                  <c:v>2056</c:v>
                </c:pt>
                <c:pt idx="107">
                  <c:v>2057</c:v>
                </c:pt>
                <c:pt idx="108">
                  <c:v>2058</c:v>
                </c:pt>
                <c:pt idx="109">
                  <c:v>2059</c:v>
                </c:pt>
                <c:pt idx="110">
                  <c:v>2060</c:v>
                </c:pt>
                <c:pt idx="111">
                  <c:v>2061</c:v>
                </c:pt>
                <c:pt idx="112">
                  <c:v>2062</c:v>
                </c:pt>
                <c:pt idx="113">
                  <c:v>2063</c:v>
                </c:pt>
                <c:pt idx="114">
                  <c:v>2064</c:v>
                </c:pt>
                <c:pt idx="115">
                  <c:v>2065</c:v>
                </c:pt>
                <c:pt idx="116">
                  <c:v>2066</c:v>
                </c:pt>
                <c:pt idx="117">
                  <c:v>2067</c:v>
                </c:pt>
                <c:pt idx="118">
                  <c:v>2068</c:v>
                </c:pt>
                <c:pt idx="119">
                  <c:v>2069</c:v>
                </c:pt>
                <c:pt idx="120">
                  <c:v>2070</c:v>
                </c:pt>
                <c:pt idx="121">
                  <c:v>2071</c:v>
                </c:pt>
                <c:pt idx="122">
                  <c:v>2072</c:v>
                </c:pt>
                <c:pt idx="123">
                  <c:v>2073</c:v>
                </c:pt>
                <c:pt idx="124">
                  <c:v>2074</c:v>
                </c:pt>
                <c:pt idx="125">
                  <c:v>2075</c:v>
                </c:pt>
                <c:pt idx="126">
                  <c:v>2076</c:v>
                </c:pt>
                <c:pt idx="127">
                  <c:v>2077</c:v>
                </c:pt>
                <c:pt idx="128">
                  <c:v>2078</c:v>
                </c:pt>
                <c:pt idx="129">
                  <c:v>2079</c:v>
                </c:pt>
                <c:pt idx="130">
                  <c:v>2080</c:v>
                </c:pt>
                <c:pt idx="131">
                  <c:v>2081</c:v>
                </c:pt>
                <c:pt idx="132">
                  <c:v>2082</c:v>
                </c:pt>
                <c:pt idx="133">
                  <c:v>2083</c:v>
                </c:pt>
                <c:pt idx="134">
                  <c:v>2084</c:v>
                </c:pt>
                <c:pt idx="135">
                  <c:v>2085</c:v>
                </c:pt>
                <c:pt idx="136">
                  <c:v>2086</c:v>
                </c:pt>
                <c:pt idx="137">
                  <c:v>2087</c:v>
                </c:pt>
                <c:pt idx="138">
                  <c:v>2088</c:v>
                </c:pt>
                <c:pt idx="139">
                  <c:v>2089</c:v>
                </c:pt>
                <c:pt idx="140">
                  <c:v>2090</c:v>
                </c:pt>
                <c:pt idx="141">
                  <c:v>2091</c:v>
                </c:pt>
                <c:pt idx="142">
                  <c:v>2092</c:v>
                </c:pt>
                <c:pt idx="143">
                  <c:v>2093</c:v>
                </c:pt>
                <c:pt idx="144">
                  <c:v>2094</c:v>
                </c:pt>
                <c:pt idx="145">
                  <c:v>2095</c:v>
                </c:pt>
                <c:pt idx="146">
                  <c:v>2096</c:v>
                </c:pt>
                <c:pt idx="147">
                  <c:v>2097</c:v>
                </c:pt>
                <c:pt idx="148">
                  <c:v>2098</c:v>
                </c:pt>
                <c:pt idx="149">
                  <c:v>2099</c:v>
                </c:pt>
                <c:pt idx="150">
                  <c:v>2100</c:v>
                </c:pt>
              </c:numCache>
            </c:numRef>
          </c:cat>
          <c:val>
            <c:numRef>
              <c:f>Arkusz2!$B$2:$B$152</c:f>
              <c:numCache>
                <c:formatCode>#\ ###\ ###\ ##0;\-#\ ###\ ###\ ##0;0</c:formatCode>
                <c:ptCount val="151"/>
                <c:pt idx="0">
                  <c:v>24563.596000000001</c:v>
                </c:pt>
                <c:pt idx="1">
                  <c:v>25008.876</c:v>
                </c:pt>
                <c:pt idx="2">
                  <c:v>25475.671999999999</c:v>
                </c:pt>
                <c:pt idx="3">
                  <c:v>25933.411</c:v>
                </c:pt>
                <c:pt idx="4">
                  <c:v>26402.912</c:v>
                </c:pt>
                <c:pt idx="5">
                  <c:v>26857.794999999998</c:v>
                </c:pt>
                <c:pt idx="6">
                  <c:v>27340.603999999999</c:v>
                </c:pt>
                <c:pt idx="7">
                  <c:v>27823.446</c:v>
                </c:pt>
                <c:pt idx="8">
                  <c:v>28328.722000000002</c:v>
                </c:pt>
                <c:pt idx="9">
                  <c:v>28839.257000000001</c:v>
                </c:pt>
                <c:pt idx="10">
                  <c:v>29296.983</c:v>
                </c:pt>
                <c:pt idx="11">
                  <c:v>29722.823</c:v>
                </c:pt>
                <c:pt idx="12">
                  <c:v>30103.64</c:v>
                </c:pt>
                <c:pt idx="13">
                  <c:v>30440.199000000001</c:v>
                </c:pt>
                <c:pt idx="14">
                  <c:v>30776.437999999998</c:v>
                </c:pt>
                <c:pt idx="15">
                  <c:v>31079.307000000001</c:v>
                </c:pt>
                <c:pt idx="16">
                  <c:v>31368.855</c:v>
                </c:pt>
                <c:pt idx="17">
                  <c:v>31640.809000000001</c:v>
                </c:pt>
                <c:pt idx="18">
                  <c:v>31891.116000000002</c:v>
                </c:pt>
                <c:pt idx="19">
                  <c:v>32142.624</c:v>
                </c:pt>
                <c:pt idx="20">
                  <c:v>32381.491000000002</c:v>
                </c:pt>
                <c:pt idx="21">
                  <c:v>32584.395</c:v>
                </c:pt>
                <c:pt idx="22">
                  <c:v>32837.091999999997</c:v>
                </c:pt>
                <c:pt idx="23">
                  <c:v>33121.703999999998</c:v>
                </c:pt>
                <c:pt idx="24">
                  <c:v>33418.313000000002</c:v>
                </c:pt>
                <c:pt idx="25">
                  <c:v>33739.053</c:v>
                </c:pt>
                <c:pt idx="26">
                  <c:v>34060.485999999997</c:v>
                </c:pt>
                <c:pt idx="27">
                  <c:v>34398.925999999999</c:v>
                </c:pt>
                <c:pt idx="28">
                  <c:v>34724.237000000001</c:v>
                </c:pt>
                <c:pt idx="29">
                  <c:v>35017.160000000003</c:v>
                </c:pt>
                <c:pt idx="30">
                  <c:v>35359.553999999996</c:v>
                </c:pt>
                <c:pt idx="31">
                  <c:v>35683.303999999996</c:v>
                </c:pt>
                <c:pt idx="32">
                  <c:v>36018.885000000002</c:v>
                </c:pt>
                <c:pt idx="33">
                  <c:v>36358.402999999998</c:v>
                </c:pt>
                <c:pt idx="34">
                  <c:v>36713.877999999997</c:v>
                </c:pt>
                <c:pt idx="35">
                  <c:v>37039.241000000002</c:v>
                </c:pt>
                <c:pt idx="36">
                  <c:v>37319.078000000001</c:v>
                </c:pt>
                <c:pt idx="37">
                  <c:v>37554.517</c:v>
                </c:pt>
                <c:pt idx="38">
                  <c:v>37754.305</c:v>
                </c:pt>
                <c:pt idx="39">
                  <c:v>37869.847000000002</c:v>
                </c:pt>
                <c:pt idx="40">
                  <c:v>38008.178999999996</c:v>
                </c:pt>
                <c:pt idx="41">
                  <c:v>38120.33</c:v>
                </c:pt>
                <c:pt idx="42">
                  <c:v>38214.432999999997</c:v>
                </c:pt>
                <c:pt idx="43">
                  <c:v>38290.120000000003</c:v>
                </c:pt>
                <c:pt idx="44">
                  <c:v>38348.472999999998</c:v>
                </c:pt>
                <c:pt idx="45">
                  <c:v>38402.445</c:v>
                </c:pt>
                <c:pt idx="46">
                  <c:v>38401.51</c:v>
                </c:pt>
                <c:pt idx="47">
                  <c:v>38401.305999999997</c:v>
                </c:pt>
                <c:pt idx="48">
                  <c:v>38390.953000000001</c:v>
                </c:pt>
                <c:pt idx="49">
                  <c:v>38369.027999999998</c:v>
                </c:pt>
                <c:pt idx="50">
                  <c:v>38340.883999999998</c:v>
                </c:pt>
                <c:pt idx="51">
                  <c:v>38667.978000000003</c:v>
                </c:pt>
                <c:pt idx="52">
                  <c:v>38657.745999999999</c:v>
                </c:pt>
                <c:pt idx="53">
                  <c:v>38637.207000000002</c:v>
                </c:pt>
                <c:pt idx="54">
                  <c:v>38605.855000000003</c:v>
                </c:pt>
                <c:pt idx="55">
                  <c:v>38586.228999999999</c:v>
                </c:pt>
                <c:pt idx="56">
                  <c:v>38565.593000000001</c:v>
                </c:pt>
                <c:pt idx="57">
                  <c:v>38528.766000000003</c:v>
                </c:pt>
                <c:pt idx="58">
                  <c:v>38514.981</c:v>
                </c:pt>
                <c:pt idx="59">
                  <c:v>38530.784</c:v>
                </c:pt>
                <c:pt idx="60">
                  <c:v>38579.785000000003</c:v>
                </c:pt>
                <c:pt idx="61">
                  <c:v>38614.921000000002</c:v>
                </c:pt>
                <c:pt idx="62">
                  <c:v>38626.773000000001</c:v>
                </c:pt>
                <c:pt idx="63">
                  <c:v>38624.974000000002</c:v>
                </c:pt>
                <c:pt idx="64">
                  <c:v>38589.731</c:v>
                </c:pt>
                <c:pt idx="65">
                  <c:v>38574.014000000003</c:v>
                </c:pt>
                <c:pt idx="66">
                  <c:v>38532.277999999998</c:v>
                </c:pt>
                <c:pt idx="67">
                  <c:v>38531.947</c:v>
                </c:pt>
                <c:pt idx="68">
                  <c:v>38533.677000000003</c:v>
                </c:pt>
                <c:pt idx="69">
                  <c:v>38509.235999999997</c:v>
                </c:pt>
                <c:pt idx="70">
                  <c:v>38477.966</c:v>
                </c:pt>
                <c:pt idx="71">
                  <c:v>38378.767</c:v>
                </c:pt>
                <c:pt idx="72">
                  <c:v>38236.684000000001</c:v>
                </c:pt>
                <c:pt idx="73">
                  <c:v>41477.607000000004</c:v>
                </c:pt>
                <c:pt idx="74">
                  <c:v>40574.527999999998</c:v>
                </c:pt>
                <c:pt idx="75">
                  <c:v>39868.923000000003</c:v>
                </c:pt>
                <c:pt idx="76">
                  <c:v>39364.536</c:v>
                </c:pt>
                <c:pt idx="77">
                  <c:v>39120.618000000002</c:v>
                </c:pt>
                <c:pt idx="78">
                  <c:v>38974.690999999999</c:v>
                </c:pt>
                <c:pt idx="79">
                  <c:v>38872.999000000003</c:v>
                </c:pt>
                <c:pt idx="80">
                  <c:v>38761.374000000003</c:v>
                </c:pt>
                <c:pt idx="81">
                  <c:v>38639.661999999997</c:v>
                </c:pt>
                <c:pt idx="82">
                  <c:v>38508.207000000002</c:v>
                </c:pt>
                <c:pt idx="83">
                  <c:v>38366.826999999997</c:v>
                </c:pt>
                <c:pt idx="84">
                  <c:v>38215.196000000004</c:v>
                </c:pt>
                <c:pt idx="85">
                  <c:v>38055.402000000002</c:v>
                </c:pt>
                <c:pt idx="86">
                  <c:v>37887.680999999997</c:v>
                </c:pt>
                <c:pt idx="87">
                  <c:v>37711.688999999998</c:v>
                </c:pt>
                <c:pt idx="88">
                  <c:v>37528.902999999998</c:v>
                </c:pt>
                <c:pt idx="89">
                  <c:v>37339.78</c:v>
                </c:pt>
                <c:pt idx="90">
                  <c:v>37143.762000000002</c:v>
                </c:pt>
                <c:pt idx="91">
                  <c:v>36942.527999999998</c:v>
                </c:pt>
                <c:pt idx="92">
                  <c:v>36738.47</c:v>
                </c:pt>
                <c:pt idx="93">
                  <c:v>36530.512000000002</c:v>
                </c:pt>
                <c:pt idx="94">
                  <c:v>36319.860999999997</c:v>
                </c:pt>
                <c:pt idx="95">
                  <c:v>36108.148999999998</c:v>
                </c:pt>
                <c:pt idx="96">
                  <c:v>35894.271999999997</c:v>
                </c:pt>
                <c:pt idx="97">
                  <c:v>35680.703000000001</c:v>
                </c:pt>
                <c:pt idx="98">
                  <c:v>35467.190999999999</c:v>
                </c:pt>
                <c:pt idx="99">
                  <c:v>35252.591</c:v>
                </c:pt>
                <c:pt idx="100">
                  <c:v>35038.688999999998</c:v>
                </c:pt>
                <c:pt idx="101">
                  <c:v>34825.989000000001</c:v>
                </c:pt>
                <c:pt idx="102">
                  <c:v>34611.631000000001</c:v>
                </c:pt>
                <c:pt idx="103">
                  <c:v>34397.612000000001</c:v>
                </c:pt>
                <c:pt idx="104">
                  <c:v>34182.849000000002</c:v>
                </c:pt>
                <c:pt idx="105">
                  <c:v>33967.084000000003</c:v>
                </c:pt>
                <c:pt idx="106">
                  <c:v>33750.118999999999</c:v>
                </c:pt>
                <c:pt idx="107">
                  <c:v>33529.809000000001</c:v>
                </c:pt>
                <c:pt idx="108">
                  <c:v>33306.601999999999</c:v>
                </c:pt>
                <c:pt idx="109">
                  <c:v>33078.961000000003</c:v>
                </c:pt>
                <c:pt idx="110">
                  <c:v>32845.974000000002</c:v>
                </c:pt>
                <c:pt idx="111">
                  <c:v>32607.51</c:v>
                </c:pt>
                <c:pt idx="112">
                  <c:v>32362.518</c:v>
                </c:pt>
                <c:pt idx="113">
                  <c:v>32111.723999999998</c:v>
                </c:pt>
                <c:pt idx="114">
                  <c:v>31855.917000000001</c:v>
                </c:pt>
                <c:pt idx="115">
                  <c:v>31593.535</c:v>
                </c:pt>
                <c:pt idx="116">
                  <c:v>31324.75</c:v>
                </c:pt>
                <c:pt idx="117">
                  <c:v>31050.601999999999</c:v>
                </c:pt>
                <c:pt idx="118">
                  <c:v>30772.126</c:v>
                </c:pt>
                <c:pt idx="119">
                  <c:v>30489.407999999999</c:v>
                </c:pt>
                <c:pt idx="120">
                  <c:v>30202.437999999998</c:v>
                </c:pt>
                <c:pt idx="121">
                  <c:v>29913.991999999998</c:v>
                </c:pt>
                <c:pt idx="122">
                  <c:v>29624.429</c:v>
                </c:pt>
                <c:pt idx="123">
                  <c:v>29334.521000000001</c:v>
                </c:pt>
                <c:pt idx="124">
                  <c:v>29044.902999999998</c:v>
                </c:pt>
                <c:pt idx="125">
                  <c:v>28756.261999999999</c:v>
                </c:pt>
                <c:pt idx="126">
                  <c:v>28470.071</c:v>
                </c:pt>
                <c:pt idx="127">
                  <c:v>28187.288</c:v>
                </c:pt>
                <c:pt idx="128">
                  <c:v>27908.629000000001</c:v>
                </c:pt>
                <c:pt idx="129">
                  <c:v>27634.076000000001</c:v>
                </c:pt>
                <c:pt idx="130">
                  <c:v>27366.038</c:v>
                </c:pt>
                <c:pt idx="131">
                  <c:v>27103.998</c:v>
                </c:pt>
                <c:pt idx="132">
                  <c:v>26847.931</c:v>
                </c:pt>
                <c:pt idx="133">
                  <c:v>26598.406999999999</c:v>
                </c:pt>
                <c:pt idx="134">
                  <c:v>26355.469000000001</c:v>
                </c:pt>
                <c:pt idx="135">
                  <c:v>26119.232</c:v>
                </c:pt>
                <c:pt idx="136">
                  <c:v>25888.788</c:v>
                </c:pt>
                <c:pt idx="137">
                  <c:v>25665.025000000001</c:v>
                </c:pt>
                <c:pt idx="138">
                  <c:v>25446.799999999999</c:v>
                </c:pt>
                <c:pt idx="139">
                  <c:v>25233.915000000001</c:v>
                </c:pt>
                <c:pt idx="140">
                  <c:v>25026.877</c:v>
                </c:pt>
                <c:pt idx="141">
                  <c:v>24825.539000000001</c:v>
                </c:pt>
                <c:pt idx="142">
                  <c:v>24628.99</c:v>
                </c:pt>
                <c:pt idx="143">
                  <c:v>24436.731</c:v>
                </c:pt>
                <c:pt idx="144">
                  <c:v>24247.826000000001</c:v>
                </c:pt>
                <c:pt idx="145">
                  <c:v>24061.744999999999</c:v>
                </c:pt>
                <c:pt idx="146">
                  <c:v>23878.704000000002</c:v>
                </c:pt>
                <c:pt idx="147">
                  <c:v>23698.39</c:v>
                </c:pt>
                <c:pt idx="148">
                  <c:v>23520.78</c:v>
                </c:pt>
                <c:pt idx="149">
                  <c:v>23344.838</c:v>
                </c:pt>
                <c:pt idx="150">
                  <c:v>23169.477999999999</c:v>
                </c:pt>
              </c:numCache>
            </c:numRef>
          </c:val>
          <c:smooth val="0"/>
          <c:extLst>
            <c:ext xmlns:c16="http://schemas.microsoft.com/office/drawing/2014/chart" uri="{C3380CC4-5D6E-409C-BE32-E72D297353CC}">
              <c16:uniqueId val="{00000000-F500-4A10-A179-027852E74563}"/>
            </c:ext>
          </c:extLst>
        </c:ser>
        <c:dLbls>
          <c:showLegendKey val="0"/>
          <c:showVal val="0"/>
          <c:showCatName val="0"/>
          <c:showSerName val="0"/>
          <c:showPercent val="0"/>
          <c:showBubbleSize val="0"/>
        </c:dLbls>
        <c:smooth val="0"/>
        <c:axId val="1823586031"/>
        <c:axId val="1823587279"/>
      </c:lineChart>
      <c:catAx>
        <c:axId val="1823586031"/>
        <c:scaling>
          <c:orientation val="minMax"/>
        </c:scaling>
        <c:delete val="0"/>
        <c:axPos val="b"/>
        <c:numFmt formatCode="General" sourceLinked="1"/>
        <c:majorTickMark val="none"/>
        <c:minorTickMark val="none"/>
        <c:tickLblPos val="low"/>
        <c:spPr>
          <a:noFill/>
          <a:ln w="9525" cap="flat" cmpd="sng" algn="ctr">
            <a:solidFill>
              <a:srgbClr val="000000">
                <a:lumMod val="100000"/>
              </a:srgb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Calibri" panose="020F0502020204030204" pitchFamily="34" charset="0"/>
                <a:ea typeface="+mn-ea"/>
                <a:cs typeface="+mn-cs"/>
              </a:defRPr>
            </a:pPr>
            <a:endParaRPr lang="pl-PL"/>
          </a:p>
        </c:txPr>
        <c:crossAx val="1823587279"/>
        <c:crosses val="autoZero"/>
        <c:auto val="1"/>
        <c:lblAlgn val="ctr"/>
        <c:lblOffset val="100"/>
        <c:tickLblSkip val="20"/>
        <c:tickMarkSkip val="100"/>
        <c:noMultiLvlLbl val="0"/>
      </c:catAx>
      <c:valAx>
        <c:axId val="1823587279"/>
        <c:scaling>
          <c:orientation val="minMax"/>
          <c:min val="20000"/>
        </c:scaling>
        <c:delete val="0"/>
        <c:axPos val="l"/>
        <c:numFmt formatCode="#\ ###\ ###\ ##0;\-#\ ###\ ###\ ##0;0" sourceLinked="1"/>
        <c:majorTickMark val="out"/>
        <c:minorTickMark val="none"/>
        <c:tickLblPos val="nextTo"/>
        <c:spPr>
          <a:noFill/>
          <a:ln>
            <a:solidFill>
              <a:srgbClr val="000000">
                <a:lumMod val="100000"/>
              </a:srgbClr>
            </a:solidFill>
          </a:ln>
          <a:effectLst/>
        </c:spPr>
        <c:txPr>
          <a:bodyPr rot="-60000000" spcFirstLastPara="1" vertOverflow="ellipsis" vert="horz" wrap="square" anchor="ctr" anchorCtr="1"/>
          <a:lstStyle/>
          <a:p>
            <a:pPr>
              <a:defRPr sz="1000" b="0" i="0" u="none" strike="noStrike" kern="1200" baseline="0">
                <a:solidFill>
                  <a:schemeClr val="tx1"/>
                </a:solidFill>
                <a:latin typeface="Calibri" panose="020F0502020204030204" pitchFamily="34" charset="0"/>
                <a:ea typeface="+mn-ea"/>
                <a:cs typeface="+mn-cs"/>
              </a:defRPr>
            </a:pPr>
            <a:endParaRPr lang="pl-PL"/>
          </a:p>
        </c:txPr>
        <c:crossAx val="1823586031"/>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000">
          <a:solidFill>
            <a:schemeClr val="tx1"/>
          </a:solidFill>
          <a:latin typeface="Calibri" panose="020F0502020204030204" pitchFamily="34" charset="0"/>
        </a:defRPr>
      </a:pPr>
      <a:endParaRPr lang="pl-P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Calibri" panose="020F0502020204030204" pitchFamily="34" charset="0"/>
                <a:ea typeface="+mn-ea"/>
                <a:cs typeface="+mn-cs"/>
              </a:defRPr>
            </a:pPr>
            <a:r>
              <a:rPr lang="pl-PL">
                <a:solidFill>
                  <a:schemeClr val="tx1"/>
                </a:solidFill>
              </a:rPr>
              <a:t>NIIP as % of GDP</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Calibri" panose="020F0502020204030204" pitchFamily="34" charset="0"/>
              <a:ea typeface="+mn-ea"/>
              <a:cs typeface="+mn-cs"/>
            </a:defRPr>
          </a:pPr>
          <a:endParaRPr lang="pl-PL"/>
        </a:p>
      </c:txPr>
    </c:title>
    <c:autoTitleDeleted val="0"/>
    <c:plotArea>
      <c:layout/>
      <c:lineChart>
        <c:grouping val="standard"/>
        <c:varyColors val="0"/>
        <c:ser>
          <c:idx val="0"/>
          <c:order val="0"/>
          <c:spPr>
            <a:ln w="28575" cap="rnd">
              <a:solidFill>
                <a:srgbClr val="D71920"/>
              </a:solidFill>
              <a:round/>
            </a:ln>
            <a:effectLst/>
          </c:spPr>
          <c:marker>
            <c:symbol val="none"/>
          </c:marker>
          <c:cat>
            <c:numRef>
              <c:f>Arkusz3!$A$44:$A$115</c:f>
              <c:numCache>
                <c:formatCode>m/d/yyyy</c:formatCode>
                <c:ptCount val="72"/>
                <c:pt idx="0">
                  <c:v>38261</c:v>
                </c:pt>
                <c:pt idx="1">
                  <c:v>38353</c:v>
                </c:pt>
                <c:pt idx="2">
                  <c:v>38443</c:v>
                </c:pt>
                <c:pt idx="3">
                  <c:v>38534</c:v>
                </c:pt>
                <c:pt idx="4">
                  <c:v>38626</c:v>
                </c:pt>
                <c:pt idx="5">
                  <c:v>38718</c:v>
                </c:pt>
                <c:pt idx="6">
                  <c:v>38808</c:v>
                </c:pt>
                <c:pt idx="7">
                  <c:v>38899</c:v>
                </c:pt>
                <c:pt idx="8">
                  <c:v>38991</c:v>
                </c:pt>
                <c:pt idx="9">
                  <c:v>39083</c:v>
                </c:pt>
                <c:pt idx="10">
                  <c:v>39173</c:v>
                </c:pt>
                <c:pt idx="11">
                  <c:v>39264</c:v>
                </c:pt>
                <c:pt idx="12">
                  <c:v>39356</c:v>
                </c:pt>
                <c:pt idx="13">
                  <c:v>39448</c:v>
                </c:pt>
                <c:pt idx="14">
                  <c:v>39539</c:v>
                </c:pt>
                <c:pt idx="15">
                  <c:v>39630</c:v>
                </c:pt>
                <c:pt idx="16">
                  <c:v>39722</c:v>
                </c:pt>
                <c:pt idx="17">
                  <c:v>39814</c:v>
                </c:pt>
                <c:pt idx="18">
                  <c:v>39904</c:v>
                </c:pt>
                <c:pt idx="19">
                  <c:v>39995</c:v>
                </c:pt>
                <c:pt idx="20">
                  <c:v>40087</c:v>
                </c:pt>
                <c:pt idx="21">
                  <c:v>40179</c:v>
                </c:pt>
                <c:pt idx="22">
                  <c:v>40269</c:v>
                </c:pt>
                <c:pt idx="23">
                  <c:v>40360</c:v>
                </c:pt>
                <c:pt idx="24">
                  <c:v>40452</c:v>
                </c:pt>
                <c:pt idx="25">
                  <c:v>40544</c:v>
                </c:pt>
                <c:pt idx="26">
                  <c:v>40634</c:v>
                </c:pt>
                <c:pt idx="27">
                  <c:v>40725</c:v>
                </c:pt>
                <c:pt idx="28">
                  <c:v>40817</c:v>
                </c:pt>
                <c:pt idx="29">
                  <c:v>40909</c:v>
                </c:pt>
                <c:pt idx="30">
                  <c:v>41000</c:v>
                </c:pt>
                <c:pt idx="31">
                  <c:v>41091</c:v>
                </c:pt>
                <c:pt idx="32">
                  <c:v>41183</c:v>
                </c:pt>
                <c:pt idx="33">
                  <c:v>41275</c:v>
                </c:pt>
                <c:pt idx="34">
                  <c:v>41365</c:v>
                </c:pt>
                <c:pt idx="35">
                  <c:v>41456</c:v>
                </c:pt>
                <c:pt idx="36">
                  <c:v>41548</c:v>
                </c:pt>
                <c:pt idx="37">
                  <c:v>41640</c:v>
                </c:pt>
                <c:pt idx="38">
                  <c:v>41730</c:v>
                </c:pt>
                <c:pt idx="39">
                  <c:v>41821</c:v>
                </c:pt>
                <c:pt idx="40">
                  <c:v>41913</c:v>
                </c:pt>
                <c:pt idx="41">
                  <c:v>42005</c:v>
                </c:pt>
                <c:pt idx="42">
                  <c:v>42095</c:v>
                </c:pt>
                <c:pt idx="43">
                  <c:v>42186</c:v>
                </c:pt>
                <c:pt idx="44">
                  <c:v>42278</c:v>
                </c:pt>
                <c:pt idx="45">
                  <c:v>42370</c:v>
                </c:pt>
                <c:pt idx="46">
                  <c:v>42461</c:v>
                </c:pt>
                <c:pt idx="47">
                  <c:v>42552</c:v>
                </c:pt>
                <c:pt idx="48">
                  <c:v>42644</c:v>
                </c:pt>
                <c:pt idx="49">
                  <c:v>42736</c:v>
                </c:pt>
                <c:pt idx="50">
                  <c:v>42826</c:v>
                </c:pt>
                <c:pt idx="51">
                  <c:v>42917</c:v>
                </c:pt>
                <c:pt idx="52">
                  <c:v>43009</c:v>
                </c:pt>
                <c:pt idx="53">
                  <c:v>43101</c:v>
                </c:pt>
                <c:pt idx="54">
                  <c:v>43191</c:v>
                </c:pt>
                <c:pt idx="55">
                  <c:v>43282</c:v>
                </c:pt>
                <c:pt idx="56">
                  <c:v>43374</c:v>
                </c:pt>
                <c:pt idx="57">
                  <c:v>43466</c:v>
                </c:pt>
                <c:pt idx="58">
                  <c:v>43556</c:v>
                </c:pt>
                <c:pt idx="59">
                  <c:v>43647</c:v>
                </c:pt>
                <c:pt idx="60">
                  <c:v>43739</c:v>
                </c:pt>
                <c:pt idx="61">
                  <c:v>43831</c:v>
                </c:pt>
                <c:pt idx="62">
                  <c:v>43922</c:v>
                </c:pt>
                <c:pt idx="63">
                  <c:v>44013</c:v>
                </c:pt>
                <c:pt idx="64">
                  <c:v>44105</c:v>
                </c:pt>
                <c:pt idx="65">
                  <c:v>44197</c:v>
                </c:pt>
                <c:pt idx="66">
                  <c:v>44287</c:v>
                </c:pt>
                <c:pt idx="67">
                  <c:v>44378</c:v>
                </c:pt>
                <c:pt idx="68">
                  <c:v>44470</c:v>
                </c:pt>
                <c:pt idx="69">
                  <c:v>44562</c:v>
                </c:pt>
                <c:pt idx="70">
                  <c:v>44652</c:v>
                </c:pt>
                <c:pt idx="71">
                  <c:v>44743</c:v>
                </c:pt>
              </c:numCache>
            </c:numRef>
          </c:cat>
          <c:val>
            <c:numRef>
              <c:f>Arkusz3!$E$44:$E$115</c:f>
              <c:numCache>
                <c:formatCode>0%</c:formatCode>
                <c:ptCount val="72"/>
                <c:pt idx="0">
                  <c:v>-1.6159394492909158</c:v>
                </c:pt>
                <c:pt idx="1">
                  <c:v>-1.6142168593911577</c:v>
                </c:pt>
                <c:pt idx="2">
                  <c:v>-1.6024369706090527</c:v>
                </c:pt>
                <c:pt idx="3">
                  <c:v>-1.5941023699611054</c:v>
                </c:pt>
                <c:pt idx="4">
                  <c:v>-1.6113933934766722</c:v>
                </c:pt>
                <c:pt idx="5">
                  <c:v>-1.6326740477452635</c:v>
                </c:pt>
                <c:pt idx="6">
                  <c:v>-1.6673506134544982</c:v>
                </c:pt>
                <c:pt idx="7">
                  <c:v>-1.6910304550498987</c:v>
                </c:pt>
                <c:pt idx="8">
                  <c:v>-1.7085337666832301</c:v>
                </c:pt>
                <c:pt idx="9">
                  <c:v>-1.7287386241506491</c:v>
                </c:pt>
                <c:pt idx="10">
                  <c:v>-1.7615106282643054</c:v>
                </c:pt>
                <c:pt idx="11">
                  <c:v>-1.8027371219127384</c:v>
                </c:pt>
                <c:pt idx="12">
                  <c:v>-1.8386684044813932</c:v>
                </c:pt>
                <c:pt idx="13">
                  <c:v>-1.8791682457520853</c:v>
                </c:pt>
                <c:pt idx="14">
                  <c:v>-1.907363501420176</c:v>
                </c:pt>
                <c:pt idx="15">
                  <c:v>-1.9357640965993068</c:v>
                </c:pt>
                <c:pt idx="16">
                  <c:v>-2.0024169371999205</c:v>
                </c:pt>
                <c:pt idx="17">
                  <c:v>-2.0886384890110952</c:v>
                </c:pt>
                <c:pt idx="18">
                  <c:v>-2.1706430946964193</c:v>
                </c:pt>
                <c:pt idx="19">
                  <c:v>-2.2461685474975388</c:v>
                </c:pt>
                <c:pt idx="20">
                  <c:v>-2.2610686481677558</c:v>
                </c:pt>
                <c:pt idx="21">
                  <c:v>-2.2674497217145397</c:v>
                </c:pt>
                <c:pt idx="22">
                  <c:v>-2.264659957495037</c:v>
                </c:pt>
                <c:pt idx="23">
                  <c:v>-2.2909214277389172</c:v>
                </c:pt>
                <c:pt idx="24">
                  <c:v>-2.3428095563552387</c:v>
                </c:pt>
                <c:pt idx="25">
                  <c:v>-2.4054370067399242</c:v>
                </c:pt>
                <c:pt idx="26">
                  <c:v>-2.470985742505408</c:v>
                </c:pt>
                <c:pt idx="27">
                  <c:v>-2.4869264465693739</c:v>
                </c:pt>
                <c:pt idx="28">
                  <c:v>-2.4619431970761765</c:v>
                </c:pt>
                <c:pt idx="29">
                  <c:v>-2.4708755262463353</c:v>
                </c:pt>
                <c:pt idx="30">
                  <c:v>-2.4616211075183094</c:v>
                </c:pt>
                <c:pt idx="31">
                  <c:v>-2.478102808938722</c:v>
                </c:pt>
                <c:pt idx="32">
                  <c:v>-2.5193446638415518</c:v>
                </c:pt>
                <c:pt idx="33">
                  <c:v>-2.5371374004921501</c:v>
                </c:pt>
                <c:pt idx="34">
                  <c:v>-2.5696014522033082</c:v>
                </c:pt>
                <c:pt idx="35">
                  <c:v>-2.6122122656314617</c:v>
                </c:pt>
                <c:pt idx="36">
                  <c:v>-2.6362783391906723</c:v>
                </c:pt>
                <c:pt idx="37">
                  <c:v>-2.6696611982224794</c:v>
                </c:pt>
                <c:pt idx="38">
                  <c:v>-2.6967091304347353</c:v>
                </c:pt>
                <c:pt idx="39">
                  <c:v>-2.7145385533629911</c:v>
                </c:pt>
                <c:pt idx="40">
                  <c:v>-2.7241886530521242</c:v>
                </c:pt>
                <c:pt idx="41">
                  <c:v>-2.7009076500052163</c:v>
                </c:pt>
                <c:pt idx="42">
                  <c:v>-2.6749107507257857</c:v>
                </c:pt>
                <c:pt idx="43">
                  <c:v>-2.622236292232242</c:v>
                </c:pt>
                <c:pt idx="44">
                  <c:v>-2.5405433399179351</c:v>
                </c:pt>
                <c:pt idx="45">
                  <c:v>-2.4926711219579412</c:v>
                </c:pt>
                <c:pt idx="46">
                  <c:v>-2.4392802102607201</c:v>
                </c:pt>
                <c:pt idx="47">
                  <c:v>-2.4112805183196264</c:v>
                </c:pt>
                <c:pt idx="48">
                  <c:v>-2.4032307364750398</c:v>
                </c:pt>
                <c:pt idx="49">
                  <c:v>-2.3770125907315234</c:v>
                </c:pt>
                <c:pt idx="50">
                  <c:v>-2.3785093616143351</c:v>
                </c:pt>
                <c:pt idx="51">
                  <c:v>-2.364424793034118</c:v>
                </c:pt>
                <c:pt idx="52">
                  <c:v>-2.3724664160288591</c:v>
                </c:pt>
                <c:pt idx="53">
                  <c:v>-2.3546782794362078</c:v>
                </c:pt>
                <c:pt idx="54">
                  <c:v>-2.3039995157159021</c:v>
                </c:pt>
                <c:pt idx="55">
                  <c:v>-2.2617009808079991</c:v>
                </c:pt>
                <c:pt idx="56">
                  <c:v>-2.2146497889167938</c:v>
                </c:pt>
                <c:pt idx="57">
                  <c:v>-2.1642226637098725</c:v>
                </c:pt>
                <c:pt idx="58">
                  <c:v>-2.1290260802992118</c:v>
                </c:pt>
                <c:pt idx="59">
                  <c:v>-2.0710167963358788</c:v>
                </c:pt>
                <c:pt idx="60">
                  <c:v>-2.0217063432671529</c:v>
                </c:pt>
                <c:pt idx="61">
                  <c:v>-1.9432785776407824</c:v>
                </c:pt>
                <c:pt idx="62">
                  <c:v>-1.9051034851777386</c:v>
                </c:pt>
                <c:pt idx="63">
                  <c:v>-1.8402135365280858</c:v>
                </c:pt>
                <c:pt idx="64">
                  <c:v>-1.7916711349094294</c:v>
                </c:pt>
                <c:pt idx="65">
                  <c:v>-1.7350845236284294</c:v>
                </c:pt>
                <c:pt idx="66">
                  <c:v>-1.652823349224033</c:v>
                </c:pt>
                <c:pt idx="67">
                  <c:v>-1.6022521185338729</c:v>
                </c:pt>
                <c:pt idx="68">
                  <c:v>-1.5616787516370407</c:v>
                </c:pt>
                <c:pt idx="69">
                  <c:v>-1.5222010350788109</c:v>
                </c:pt>
                <c:pt idx="70">
                  <c:v>-1.4621744415691453</c:v>
                </c:pt>
                <c:pt idx="71">
                  <c:v>-1.3901881745057094</c:v>
                </c:pt>
              </c:numCache>
            </c:numRef>
          </c:val>
          <c:smooth val="0"/>
          <c:extLst>
            <c:ext xmlns:c16="http://schemas.microsoft.com/office/drawing/2014/chart" uri="{C3380CC4-5D6E-409C-BE32-E72D297353CC}">
              <c16:uniqueId val="{00000000-CEB9-49E3-AD53-F55F6E33F926}"/>
            </c:ext>
          </c:extLst>
        </c:ser>
        <c:dLbls>
          <c:showLegendKey val="0"/>
          <c:showVal val="0"/>
          <c:showCatName val="0"/>
          <c:showSerName val="0"/>
          <c:showPercent val="0"/>
          <c:showBubbleSize val="0"/>
        </c:dLbls>
        <c:smooth val="0"/>
        <c:axId val="1727605311"/>
        <c:axId val="1727607391"/>
      </c:lineChart>
      <c:dateAx>
        <c:axId val="1727605311"/>
        <c:scaling>
          <c:orientation val="minMax"/>
          <c:min val="38353"/>
        </c:scaling>
        <c:delete val="0"/>
        <c:axPos val="b"/>
        <c:numFmt formatCode="yyyy" sourceLinked="0"/>
        <c:majorTickMark val="none"/>
        <c:minorTickMark val="none"/>
        <c:tickLblPos val="low"/>
        <c:spPr>
          <a:noFill/>
          <a:ln w="9525" cap="flat" cmpd="sng" algn="ctr">
            <a:solidFill>
              <a:srgbClr val="000000">
                <a:lumMod val="100000"/>
              </a:srgb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Calibri" panose="020F0502020204030204" pitchFamily="34" charset="0"/>
                <a:ea typeface="+mn-ea"/>
                <a:cs typeface="+mn-cs"/>
              </a:defRPr>
            </a:pPr>
            <a:endParaRPr lang="pl-PL"/>
          </a:p>
        </c:txPr>
        <c:crossAx val="1727607391"/>
        <c:crosses val="autoZero"/>
        <c:auto val="1"/>
        <c:lblOffset val="100"/>
        <c:baseTimeUnit val="months"/>
        <c:majorUnit val="24"/>
        <c:majorTimeUnit val="months"/>
      </c:dateAx>
      <c:valAx>
        <c:axId val="1727607391"/>
        <c:scaling>
          <c:orientation val="minMax"/>
        </c:scaling>
        <c:delete val="0"/>
        <c:axPos val="l"/>
        <c:numFmt formatCode="0%" sourceLinked="1"/>
        <c:majorTickMark val="out"/>
        <c:minorTickMark val="none"/>
        <c:tickLblPos val="nextTo"/>
        <c:spPr>
          <a:noFill/>
          <a:ln>
            <a:solidFill>
              <a:srgbClr val="000000">
                <a:lumMod val="100000"/>
              </a:srgbClr>
            </a:solidFill>
          </a:ln>
          <a:effectLst/>
        </c:spPr>
        <c:txPr>
          <a:bodyPr rot="-60000000" spcFirstLastPara="1" vertOverflow="ellipsis" vert="horz" wrap="square" anchor="ctr" anchorCtr="1"/>
          <a:lstStyle/>
          <a:p>
            <a:pPr>
              <a:defRPr sz="1000" b="0" i="0" u="none" strike="noStrike" kern="1200" baseline="0">
                <a:solidFill>
                  <a:srgbClr val="000000"/>
                </a:solidFill>
                <a:latin typeface="Calibri" panose="020F0502020204030204" pitchFamily="34" charset="0"/>
                <a:ea typeface="+mn-ea"/>
                <a:cs typeface="+mn-cs"/>
              </a:defRPr>
            </a:pPr>
            <a:endParaRPr lang="pl-PL"/>
          </a:p>
        </c:txPr>
        <c:crossAx val="172760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000">
          <a:latin typeface="Calibri" panose="020F0502020204030204" pitchFamily="34" charset="0"/>
        </a:defRPr>
      </a:pPr>
      <a:endParaRPr lang="pl-P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Calibri" panose="020F0502020204030204" pitchFamily="34" charset="0"/>
                <a:ea typeface="+mn-ea"/>
                <a:cs typeface="+mn-cs"/>
              </a:defRPr>
            </a:pPr>
            <a:r>
              <a:rPr lang="pl-PL" dirty="0" err="1"/>
              <a:t>Poland’s</a:t>
            </a:r>
            <a:r>
              <a:rPr lang="pl-PL" dirty="0"/>
              <a:t> </a:t>
            </a:r>
            <a:r>
              <a:rPr lang="pl-PL" dirty="0" err="1"/>
              <a:t>energy</a:t>
            </a:r>
            <a:r>
              <a:rPr lang="pl-PL" baseline="0" dirty="0"/>
              <a:t> mix</a:t>
            </a:r>
            <a:endParaRPr lang="pl-PL"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Calibri" panose="020F0502020204030204" pitchFamily="34" charset="0"/>
              <a:ea typeface="+mn-ea"/>
              <a:cs typeface="+mn-cs"/>
            </a:defRPr>
          </a:pPr>
          <a:endParaRPr lang="pl-PL"/>
        </a:p>
      </c:txPr>
    </c:title>
    <c:autoTitleDeleted val="0"/>
    <c:plotArea>
      <c:layout/>
      <c:pieChart>
        <c:varyColors val="1"/>
        <c:ser>
          <c:idx val="0"/>
          <c:order val="0"/>
          <c:dPt>
            <c:idx val="0"/>
            <c:bubble3D val="0"/>
            <c:spPr>
              <a:solidFill>
                <a:schemeClr val="tx1"/>
              </a:solidFill>
              <a:ln w="19050">
                <a:solidFill>
                  <a:schemeClr val="tx1"/>
                </a:solidFill>
              </a:ln>
              <a:effectLst/>
            </c:spPr>
            <c:extLst>
              <c:ext xmlns:c16="http://schemas.microsoft.com/office/drawing/2014/chart" uri="{C3380CC4-5D6E-409C-BE32-E72D297353CC}">
                <c16:uniqueId val="{00000001-636A-4088-94D3-EAE12C18B2DA}"/>
              </c:ext>
            </c:extLst>
          </c:dPt>
          <c:dPt>
            <c:idx val="1"/>
            <c:bubble3D val="0"/>
            <c:spPr>
              <a:solidFill>
                <a:srgbClr val="18A4DB"/>
              </a:solidFill>
              <a:ln w="19050">
                <a:solidFill>
                  <a:srgbClr val="18A4DB"/>
                </a:solidFill>
              </a:ln>
              <a:effectLst/>
            </c:spPr>
            <c:extLst>
              <c:ext xmlns:c16="http://schemas.microsoft.com/office/drawing/2014/chart" uri="{C3380CC4-5D6E-409C-BE32-E72D297353CC}">
                <c16:uniqueId val="{00000003-636A-4088-94D3-EAE12C18B2DA}"/>
              </c:ext>
            </c:extLst>
          </c:dPt>
          <c:dPt>
            <c:idx val="2"/>
            <c:bubble3D val="0"/>
            <c:spPr>
              <a:solidFill>
                <a:srgbClr val="C00000"/>
              </a:solidFill>
              <a:ln w="19050">
                <a:solidFill>
                  <a:srgbClr val="C00000"/>
                </a:solidFill>
              </a:ln>
              <a:effectLst/>
            </c:spPr>
            <c:extLst>
              <c:ext xmlns:c16="http://schemas.microsoft.com/office/drawing/2014/chart" uri="{C3380CC4-5D6E-409C-BE32-E72D297353CC}">
                <c16:uniqueId val="{00000005-636A-4088-94D3-EAE12C18B2DA}"/>
              </c:ext>
            </c:extLst>
          </c:dPt>
          <c:dPt>
            <c:idx val="3"/>
            <c:bubble3D val="0"/>
            <c:spPr>
              <a:solidFill>
                <a:srgbClr val="92D050"/>
              </a:solidFill>
              <a:ln w="19050">
                <a:solidFill>
                  <a:srgbClr val="92D050"/>
                </a:solidFill>
              </a:ln>
              <a:effectLst/>
            </c:spPr>
            <c:extLst>
              <c:ext xmlns:c16="http://schemas.microsoft.com/office/drawing/2014/chart" uri="{C3380CC4-5D6E-409C-BE32-E72D297353CC}">
                <c16:uniqueId val="{00000007-636A-4088-94D3-EAE12C18B2DA}"/>
              </c:ext>
            </c:extLst>
          </c:dPt>
          <c:dPt>
            <c:idx val="4"/>
            <c:bubble3D val="0"/>
            <c:spPr>
              <a:solidFill>
                <a:srgbClr val="C8DB16"/>
              </a:solidFill>
              <a:ln w="19050">
                <a:solidFill>
                  <a:srgbClr val="C8DB16"/>
                </a:solidFill>
              </a:ln>
              <a:effectLst/>
            </c:spPr>
            <c:extLst>
              <c:ext xmlns:c16="http://schemas.microsoft.com/office/drawing/2014/chart" uri="{C3380CC4-5D6E-409C-BE32-E72D297353CC}">
                <c16:uniqueId val="{00000009-636A-4088-94D3-EAE12C18B2DA}"/>
              </c:ext>
            </c:extLst>
          </c:dPt>
          <c:dLbls>
            <c:dLbl>
              <c:idx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Calibri" panose="020F0502020204030204" pitchFamily="34" charset="0"/>
                      <a:ea typeface="+mn-ea"/>
                      <a:cs typeface="+mn-cs"/>
                    </a:defRPr>
                  </a:pPr>
                  <a:endParaRPr lang="pl-PL"/>
                </a:p>
              </c:txPr>
              <c:showLegendKey val="0"/>
              <c:showVal val="0"/>
              <c:showCatName val="1"/>
              <c:showSerName val="0"/>
              <c:showPercent val="1"/>
              <c:showBubbleSize val="0"/>
              <c:extLst>
                <c:ext xmlns:c16="http://schemas.microsoft.com/office/drawing/2014/chart" uri="{C3380CC4-5D6E-409C-BE32-E72D297353CC}">
                  <c16:uniqueId val="{00000001-636A-4088-94D3-EAE12C18B2DA}"/>
                </c:ext>
              </c:extLst>
            </c:dLbl>
            <c:dLbl>
              <c:idx val="1"/>
              <c:showLegendKey val="0"/>
              <c:showVal val="0"/>
              <c:showCatName val="1"/>
              <c:showSerName val="0"/>
              <c:showPercent val="1"/>
              <c:showBubbleSize val="0"/>
              <c:extLst>
                <c:ext xmlns:c15="http://schemas.microsoft.com/office/drawing/2012/chart" uri="{CE6537A1-D6FC-4f65-9D91-7224C49458BB}">
                  <c15:layout>
                    <c:manualLayout>
                      <c:w val="0.44804301376544797"/>
                      <c:h val="0.17941722853203959"/>
                    </c:manualLayout>
                  </c15:layout>
                </c:ext>
                <c:ext xmlns:c16="http://schemas.microsoft.com/office/drawing/2014/chart" uri="{C3380CC4-5D6E-409C-BE32-E72D297353CC}">
                  <c16:uniqueId val="{00000003-636A-4088-94D3-EAE12C18B2DA}"/>
                </c:ext>
              </c:extLst>
            </c:dLbl>
            <c:dLbl>
              <c:idx val="2"/>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Calibri" panose="020F0502020204030204" pitchFamily="34" charset="0"/>
                      <a:ea typeface="+mn-ea"/>
                      <a:cs typeface="+mn-cs"/>
                    </a:defRPr>
                  </a:pPr>
                  <a:endParaRPr lang="pl-PL"/>
                </a:p>
              </c:txPr>
              <c:showLegendKey val="0"/>
              <c:showVal val="0"/>
              <c:showCatName val="1"/>
              <c:showSerName val="0"/>
              <c:showPercent val="1"/>
              <c:showBubbleSize val="0"/>
              <c:extLst>
                <c:ext xmlns:c16="http://schemas.microsoft.com/office/drawing/2014/chart" uri="{C3380CC4-5D6E-409C-BE32-E72D297353CC}">
                  <c16:uniqueId val="{00000005-636A-4088-94D3-EAE12C18B2DA}"/>
                </c:ext>
              </c:extLst>
            </c:dLbl>
            <c:dLbl>
              <c:idx val="3"/>
              <c:layout>
                <c:manualLayout>
                  <c:x val="-9.7400655166401728E-2"/>
                  <c:y val="5.5561498713612323E-2"/>
                </c:manualLayout>
              </c:layout>
              <c:showLegendKey val="0"/>
              <c:showVal val="0"/>
              <c:showCatName val="1"/>
              <c:showSerName val="0"/>
              <c:showPercent val="1"/>
              <c:showBubbleSize val="0"/>
              <c:extLst>
                <c:ext xmlns:c15="http://schemas.microsoft.com/office/drawing/2012/chart" uri="{CE6537A1-D6FC-4f65-9D91-7224C49458BB}">
                  <c15:layout>
                    <c:manualLayout>
                      <c:w val="0.4125636108084561"/>
                      <c:h val="0.2160324527231649"/>
                    </c:manualLayout>
                  </c15:layout>
                </c:ext>
                <c:ext xmlns:c16="http://schemas.microsoft.com/office/drawing/2014/chart" uri="{C3380CC4-5D6E-409C-BE32-E72D297353CC}">
                  <c16:uniqueId val="{00000007-636A-4088-94D3-EAE12C18B2DA}"/>
                </c:ext>
              </c:extLst>
            </c:dLbl>
            <c:dLbl>
              <c:idx val="4"/>
              <c:delete val="1"/>
              <c:extLst>
                <c:ext xmlns:c15="http://schemas.microsoft.com/office/drawing/2012/chart" uri="{CE6537A1-D6FC-4f65-9D91-7224C49458BB}"/>
                <c:ext xmlns:c16="http://schemas.microsoft.com/office/drawing/2014/chart" uri="{C3380CC4-5D6E-409C-BE32-E72D297353CC}">
                  <c16:uniqueId val="{00000009-636A-4088-94D3-EAE12C18B2DA}"/>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Calibri" panose="020F0502020204030204" pitchFamily="34" charset="0"/>
                    <a:ea typeface="+mn-ea"/>
                    <a:cs typeface="+mn-cs"/>
                  </a:defRPr>
                </a:pPr>
                <a:endParaRPr lang="pl-PL"/>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usz4!$A$4:$A$8</c:f>
              <c:strCache>
                <c:ptCount val="5"/>
                <c:pt idx="0">
                  <c:v>Coal</c:v>
                </c:pt>
                <c:pt idx="1">
                  <c:v>Natural gas</c:v>
                </c:pt>
                <c:pt idx="2">
                  <c:v>Oil</c:v>
                </c:pt>
                <c:pt idx="3">
                  <c:v>Renewables</c:v>
                </c:pt>
                <c:pt idx="4">
                  <c:v>Other</c:v>
                </c:pt>
              </c:strCache>
            </c:strRef>
          </c:cat>
          <c:val>
            <c:numRef>
              <c:f>Arkusz4!$B$4:$B$8</c:f>
              <c:numCache>
                <c:formatCode>#\ ##0.##########</c:formatCode>
                <c:ptCount val="5"/>
                <c:pt idx="0">
                  <c:v>45913.985000000001</c:v>
                </c:pt>
                <c:pt idx="1">
                  <c:v>18230.683000000001</c:v>
                </c:pt>
                <c:pt idx="2">
                  <c:v>30711.138999999999</c:v>
                </c:pt>
                <c:pt idx="3" formatCode="#\ ##0.000">
                  <c:v>13081.85</c:v>
                </c:pt>
                <c:pt idx="4" formatCode="#\ ##0.000">
                  <c:v>1093.6870000000001</c:v>
                </c:pt>
              </c:numCache>
            </c:numRef>
          </c:val>
          <c:extLst>
            <c:ext xmlns:c16="http://schemas.microsoft.com/office/drawing/2014/chart" uri="{C3380CC4-5D6E-409C-BE32-E72D297353CC}">
              <c16:uniqueId val="{0000000A-636A-4088-94D3-EAE12C18B2DA}"/>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000">
          <a:solidFill>
            <a:schemeClr val="tx1"/>
          </a:solidFill>
          <a:latin typeface="Calibri" panose="020F0502020204030204" pitchFamily="34" charset="0"/>
        </a:defRPr>
      </a:pPr>
      <a:endParaRPr lang="pl-P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solidFill>
                <a:latin typeface="Calibri" panose="020F0502020204030204" pitchFamily="34" charset="0"/>
                <a:ea typeface="+mn-ea"/>
                <a:cs typeface="+mn-cs"/>
              </a:defRPr>
            </a:pPr>
            <a:r>
              <a:rPr lang="pl-PL" dirty="0" err="1"/>
              <a:t>Economic</a:t>
            </a:r>
            <a:r>
              <a:rPr lang="pl-PL" baseline="0" dirty="0"/>
              <a:t> </a:t>
            </a:r>
            <a:r>
              <a:rPr lang="pl-PL" baseline="0" dirty="0" err="1"/>
              <a:t>convergence</a:t>
            </a:r>
            <a:endParaRPr lang="pl-PL" dirty="0"/>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solidFill>
              <a:latin typeface="Calibri" panose="020F0502020204030204" pitchFamily="34" charset="0"/>
              <a:ea typeface="+mn-ea"/>
              <a:cs typeface="+mn-cs"/>
            </a:defRPr>
          </a:pPr>
          <a:endParaRPr lang="pl-PL"/>
        </a:p>
      </c:txPr>
    </c:title>
    <c:autoTitleDeleted val="0"/>
    <c:plotArea>
      <c:layout/>
      <c:scatterChart>
        <c:scatterStyle val="lineMarker"/>
        <c:varyColors val="0"/>
        <c:ser>
          <c:idx val="0"/>
          <c:order val="0"/>
          <c:tx>
            <c:strRef>
              <c:f>[challenges.xlsx]Data!$I$4</c:f>
              <c:strCache>
                <c:ptCount val="1"/>
                <c:pt idx="0">
                  <c:v>zmiana</c:v>
                </c:pt>
              </c:strCache>
            </c:strRef>
          </c:tx>
          <c:spPr>
            <a:ln w="25400" cap="rnd">
              <a:noFill/>
              <a:round/>
            </a:ln>
            <a:effectLst/>
          </c:spPr>
          <c:marker>
            <c:symbol val="circle"/>
            <c:size val="5"/>
            <c:spPr>
              <a:solidFill>
                <a:srgbClr val="D71920"/>
              </a:solidFill>
              <a:ln w="9525">
                <a:solidFill>
                  <a:srgbClr val="D71920"/>
                </a:solidFill>
                <a:prstDash val="solid"/>
              </a:ln>
              <a:effectLst/>
            </c:spPr>
          </c:marker>
          <c:dPt>
            <c:idx val="137"/>
            <c:marker>
              <c:symbol val="diamond"/>
              <c:size val="9"/>
              <c:spPr>
                <a:solidFill>
                  <a:schemeClr val="tx1"/>
                </a:solidFill>
                <a:ln w="9525">
                  <a:solidFill>
                    <a:schemeClr val="tx1"/>
                  </a:solidFill>
                  <a:prstDash val="solid"/>
                </a:ln>
                <a:effectLst/>
              </c:spPr>
            </c:marker>
            <c:bubble3D val="0"/>
            <c:extLst>
              <c:ext xmlns:c16="http://schemas.microsoft.com/office/drawing/2014/chart" uri="{C3380CC4-5D6E-409C-BE32-E72D297353CC}">
                <c16:uniqueId val="{00000000-5FB8-4F23-AC70-AFFE158D2C44}"/>
              </c:ext>
            </c:extLst>
          </c:dPt>
          <c:dLbls>
            <c:dLbl>
              <c:idx val="137"/>
              <c:layout>
                <c:manualLayout>
                  <c:x val="0.12709052756040071"/>
                  <c:y val="-0.27313044243308326"/>
                </c:manualLayout>
              </c:layout>
              <c:tx>
                <c:rich>
                  <a:bodyPr/>
                  <a:lstStyle/>
                  <a:p>
                    <a:r>
                      <a:rPr lang="en-US" dirty="0"/>
                      <a:t>Poland</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FB8-4F23-AC70-AFFE158D2C44}"/>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alibri" panose="020F0502020204030204" pitchFamily="34" charset="0"/>
                    <a:ea typeface="+mn-ea"/>
                    <a:cs typeface="+mn-cs"/>
                  </a:defRPr>
                </a:pPr>
                <a:endParaRPr lang="pl-PL"/>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1]Data!$E$5:$E$192</c:f>
              <c:numCache>
                <c:formatCode>General</c:formatCode>
                <c:ptCount val="188"/>
                <c:pt idx="0">
                  <c:v>30823.482503317002</c:v>
                </c:pt>
                <c:pt idx="1">
                  <c:v>5768.5646118267869</c:v>
                </c:pt>
                <c:pt idx="2">
                  <c:v>4827.9054317375112</c:v>
                </c:pt>
                <c:pt idx="3">
                  <c:v>105893.62605786968</c:v>
                </c:pt>
                <c:pt idx="4">
                  <c:v>14136.525400580345</c:v>
                </c:pt>
                <c:pt idx="5">
                  <c:v>5153.2982105075562</c:v>
                </c:pt>
                <c:pt idx="6">
                  <c:v>15264.629614241187</c:v>
                </c:pt>
                <c:pt idx="7">
                  <c:v>31006.100226642011</c:v>
                </c:pt>
                <c:pt idx="8">
                  <c:v>37494.560412986444</c:v>
                </c:pt>
                <c:pt idx="9">
                  <c:v>7616.9102750611291</c:v>
                </c:pt>
                <c:pt idx="10">
                  <c:v>1175.1550858816449</c:v>
                </c:pt>
                <c:pt idx="11">
                  <c:v>35506.926514654057</c:v>
                </c:pt>
                <c:pt idx="12">
                  <c:v>2109.5593345394223</c:v>
                </c:pt>
                <c:pt idx="13">
                  <c:v>981.84476188342057</c:v>
                </c:pt>
                <c:pt idx="14">
                  <c:v>1730.3689449932542</c:v>
                </c:pt>
                <c:pt idx="15">
                  <c:v>12509.961937480279</c:v>
                </c:pt>
                <c:pt idx="16">
                  <c:v>36997.735601611668</c:v>
                </c:pt>
                <c:pt idx="17">
                  <c:v>36041.03822497771</c:v>
                </c:pt>
                <c:pt idx="18">
                  <c:v>1730.2883791739173</c:v>
                </c:pt>
                <c:pt idx="19">
                  <c:v>8895.1727025419168</c:v>
                </c:pt>
                <c:pt idx="20">
                  <c:v>6396.5007194636337</c:v>
                </c:pt>
                <c:pt idx="21">
                  <c:v>65961.406278066701</c:v>
                </c:pt>
                <c:pt idx="22">
                  <c:v>4437.8668273270378</c:v>
                </c:pt>
                <c:pt idx="23">
                  <c:v>10401.842444851271</c:v>
                </c:pt>
                <c:pt idx="24">
                  <c:v>14097.395549570976</c:v>
                </c:pt>
                <c:pt idx="25">
                  <c:v>70358.724094287812</c:v>
                </c:pt>
                <c:pt idx="26">
                  <c:v>2737.9930533341835</c:v>
                </c:pt>
                <c:pt idx="27">
                  <c:v>9164.8720715927975</c:v>
                </c:pt>
                <c:pt idx="28">
                  <c:v>1200.6133902403101</c:v>
                </c:pt>
                <c:pt idx="29">
                  <c:v>36910.477860823965</c:v>
                </c:pt>
                <c:pt idx="30">
                  <c:v>56982.460971538087</c:v>
                </c:pt>
                <c:pt idx="31">
                  <c:v>9701.8237908063929</c:v>
                </c:pt>
                <c:pt idx="32">
                  <c:v>1423.8963479071274</c:v>
                </c:pt>
                <c:pt idx="33">
                  <c:v>4276.7057145794461</c:v>
                </c:pt>
                <c:pt idx="34">
                  <c:v>3483.1868621115023</c:v>
                </c:pt>
                <c:pt idx="35">
                  <c:v>1750.1697386890201</c:v>
                </c:pt>
                <c:pt idx="36">
                  <c:v>5007.3192447228221</c:v>
                </c:pt>
                <c:pt idx="37">
                  <c:v>8434.9593357497743</c:v>
                </c:pt>
                <c:pt idx="38">
                  <c:v>2922.7122521188508</c:v>
                </c:pt>
                <c:pt idx="39">
                  <c:v>1620.9842194765436</c:v>
                </c:pt>
                <c:pt idx="40">
                  <c:v>9810.5513067105585</c:v>
                </c:pt>
                <c:pt idx="41">
                  <c:v>10277.02162283647</c:v>
                </c:pt>
                <c:pt idx="42">
                  <c:v>25237.115234375</c:v>
                </c:pt>
                <c:pt idx="43">
                  <c:v>23585.181493805441</c:v>
                </c:pt>
                <c:pt idx="44">
                  <c:v>36699.48170331632</c:v>
                </c:pt>
                <c:pt idx="45">
                  <c:v>7855.8210423105993</c:v>
                </c:pt>
                <c:pt idx="46">
                  <c:v>39027.978736514757</c:v>
                </c:pt>
                <c:pt idx="47">
                  <c:v>6207.1121127923116</c:v>
                </c:pt>
                <c:pt idx="48">
                  <c:v>8828.8744734948596</c:v>
                </c:pt>
                <c:pt idx="49">
                  <c:v>8120.0011610789352</c:v>
                </c:pt>
                <c:pt idx="50">
                  <c:v>5971.7765136959151</c:v>
                </c:pt>
                <c:pt idx="51">
                  <c:v>32700.222246914942</c:v>
                </c:pt>
                <c:pt idx="52">
                  <c:v>27528.413246760509</c:v>
                </c:pt>
                <c:pt idx="53">
                  <c:v>12730.717414221443</c:v>
                </c:pt>
                <c:pt idx="54">
                  <c:v>767.17041855734772</c:v>
                </c:pt>
                <c:pt idx="55">
                  <c:v>32939.383288061821</c:v>
                </c:pt>
                <c:pt idx="56">
                  <c:v>7889.8785772564815</c:v>
                </c:pt>
                <c:pt idx="57">
                  <c:v>33843.020394950217</c:v>
                </c:pt>
                <c:pt idx="58">
                  <c:v>2925.3079246777697</c:v>
                </c:pt>
                <c:pt idx="59">
                  <c:v>17559.006114196382</c:v>
                </c:pt>
                <c:pt idx="60">
                  <c:v>31537.84779273588</c:v>
                </c:pt>
                <c:pt idx="61">
                  <c:v>11135.46288927975</c:v>
                </c:pt>
                <c:pt idx="62">
                  <c:v>2299.6387937395848</c:v>
                </c:pt>
                <c:pt idx="63">
                  <c:v>1507.1985217234267</c:v>
                </c:pt>
                <c:pt idx="64">
                  <c:v>2080.1580848814669</c:v>
                </c:pt>
                <c:pt idx="65">
                  <c:v>1998.1732063570071</c:v>
                </c:pt>
                <c:pt idx="66">
                  <c:v>936.4197507129827</c:v>
                </c:pt>
                <c:pt idx="67">
                  <c:v>24262.842580859186</c:v>
                </c:pt>
                <c:pt idx="68">
                  <c:v>8571.9030255539783</c:v>
                </c:pt>
                <c:pt idx="69">
                  <c:v>5561.0706841265501</c:v>
                </c:pt>
                <c:pt idx="70">
                  <c:v>4818.3879951868394</c:v>
                </c:pt>
                <c:pt idx="71">
                  <c:v>31819.960668819036</c:v>
                </c:pt>
                <c:pt idx="72">
                  <c:v>28797.690019131507</c:v>
                </c:pt>
                <c:pt idx="73">
                  <c:v>3912.7020452640654</c:v>
                </c:pt>
                <c:pt idx="74">
                  <c:v>15073.546489292592</c:v>
                </c:pt>
                <c:pt idx="75">
                  <c:v>3598.9822459010998</c:v>
                </c:pt>
                <c:pt idx="76">
                  <c:v>16429.70107948493</c:v>
                </c:pt>
                <c:pt idx="77">
                  <c:v>4519.7227942107356</c:v>
                </c:pt>
                <c:pt idx="78">
                  <c:v>1819.021596512878</c:v>
                </c:pt>
                <c:pt idx="79">
                  <c:v>26706.255806671237</c:v>
                </c:pt>
                <c:pt idx="80">
                  <c:v>9442.2481163952762</c:v>
                </c:pt>
                <c:pt idx="81">
                  <c:v>7449.4716551937199</c:v>
                </c:pt>
                <c:pt idx="82">
                  <c:v>33666.180499257927</c:v>
                </c:pt>
                <c:pt idx="83">
                  <c:v>26668.619112510863</c:v>
                </c:pt>
                <c:pt idx="84">
                  <c:v>36585.679902874122</c:v>
                </c:pt>
                <c:pt idx="85">
                  <c:v>8692.5022349189512</c:v>
                </c:pt>
                <c:pt idx="86">
                  <c:v>8127.6265059965817</c:v>
                </c:pt>
                <c:pt idx="87">
                  <c:v>32846.389607023179</c:v>
                </c:pt>
                <c:pt idx="88">
                  <c:v>13475.639897665089</c:v>
                </c:pt>
                <c:pt idx="89">
                  <c:v>3655.3620568927563</c:v>
                </c:pt>
                <c:pt idx="90">
                  <c:v>5158.3175693885651</c:v>
                </c:pt>
                <c:pt idx="91">
                  <c:v>1716.8409577648265</c:v>
                </c:pt>
                <c:pt idx="92">
                  <c:v>2045.2368255831893</c:v>
                </c:pt>
                <c:pt idx="93">
                  <c:v>14178.570921956722</c:v>
                </c:pt>
                <c:pt idx="94">
                  <c:v>12656.396062165355</c:v>
                </c:pt>
                <c:pt idx="95">
                  <c:v>41446.963751150128</c:v>
                </c:pt>
                <c:pt idx="96">
                  <c:v>1939.0862386128717</c:v>
                </c:pt>
                <c:pt idx="97">
                  <c:v>5862.8365981220859</c:v>
                </c:pt>
                <c:pt idx="98">
                  <c:v>11419.099824765217</c:v>
                </c:pt>
                <c:pt idx="99">
                  <c:v>1360.999546129585</c:v>
                </c:pt>
                <c:pt idx="100">
                  <c:v>4011.6562009414688</c:v>
                </c:pt>
                <c:pt idx="101">
                  <c:v>1265.9189095531283</c:v>
                </c:pt>
                <c:pt idx="102">
                  <c:v>10640.360031461289</c:v>
                </c:pt>
                <c:pt idx="103">
                  <c:v>70860.819123950932</c:v>
                </c:pt>
                <c:pt idx="104">
                  <c:v>9599.1460051205431</c:v>
                </c:pt>
                <c:pt idx="105">
                  <c:v>47880.27372522415</c:v>
                </c:pt>
                <c:pt idx="106">
                  <c:v>3595.33374023438</c:v>
                </c:pt>
                <c:pt idx="107">
                  <c:v>5694.43590946124</c:v>
                </c:pt>
                <c:pt idx="108">
                  <c:v>1808.7435387390806</c:v>
                </c:pt>
                <c:pt idx="109">
                  <c:v>10430.788645885888</c:v>
                </c:pt>
                <c:pt idx="110">
                  <c:v>15355.627550946059</c:v>
                </c:pt>
                <c:pt idx="111">
                  <c:v>3426.3810823504468</c:v>
                </c:pt>
                <c:pt idx="112">
                  <c:v>11113.229788712186</c:v>
                </c:pt>
                <c:pt idx="113">
                  <c:v>1336.5719053960077</c:v>
                </c:pt>
                <c:pt idx="114">
                  <c:v>16130.711495169608</c:v>
                </c:pt>
                <c:pt idx="115">
                  <c:v>581.61331120780835</c:v>
                </c:pt>
                <c:pt idx="116">
                  <c:v>5030.073252081067</c:v>
                </c:pt>
                <c:pt idx="117">
                  <c:v>460.12369668051059</c:v>
                </c:pt>
                <c:pt idx="118">
                  <c:v>4611.9411870703461</c:v>
                </c:pt>
                <c:pt idx="119">
                  <c:v>8233.9119117983391</c:v>
                </c:pt>
                <c:pt idx="120">
                  <c:v>939.17627776097686</c:v>
                </c:pt>
                <c:pt idx="121">
                  <c:v>10607.769371718477</c:v>
                </c:pt>
                <c:pt idx="122">
                  <c:v>39657.761679407173</c:v>
                </c:pt>
                <c:pt idx="123">
                  <c:v>6223.4529914911573</c:v>
                </c:pt>
                <c:pt idx="124">
                  <c:v>1077.9114647422323</c:v>
                </c:pt>
                <c:pt idx="125">
                  <c:v>3259.5811750902931</c:v>
                </c:pt>
                <c:pt idx="126">
                  <c:v>3409.7759323466007</c:v>
                </c:pt>
                <c:pt idx="127">
                  <c:v>36461.419019642395</c:v>
                </c:pt>
                <c:pt idx="128">
                  <c:v>42136.603167745619</c:v>
                </c:pt>
                <c:pt idx="129">
                  <c:v>1554.602043004501</c:v>
                </c:pt>
                <c:pt idx="130">
                  <c:v>28031.997148203202</c:v>
                </c:pt>
                <c:pt idx="131">
                  <c:v>30462.201084273798</c:v>
                </c:pt>
                <c:pt idx="132">
                  <c:v>3061.5333876404916</c:v>
                </c:pt>
                <c:pt idx="133">
                  <c:v>10817.844803257278</c:v>
                </c:pt>
                <c:pt idx="134">
                  <c:v>5240.257623332549</c:v>
                </c:pt>
                <c:pt idx="135">
                  <c:v>4232.4775945668443</c:v>
                </c:pt>
                <c:pt idx="136">
                  <c:v>2907.3514133312374</c:v>
                </c:pt>
                <c:pt idx="137">
                  <c:v>11259.437453994326</c:v>
                </c:pt>
                <c:pt idx="138">
                  <c:v>21595.983987921623</c:v>
                </c:pt>
                <c:pt idx="139">
                  <c:v>23556.856207493605</c:v>
                </c:pt>
                <c:pt idx="140">
                  <c:v>8818.629370589535</c:v>
                </c:pt>
                <c:pt idx="141">
                  <c:v>79400.433413321618</c:v>
                </c:pt>
                <c:pt idx="142">
                  <c:v>13378.490753538857</c:v>
                </c:pt>
                <c:pt idx="143">
                  <c:v>21482.748046875</c:v>
                </c:pt>
                <c:pt idx="144">
                  <c:v>932.65756024433949</c:v>
                </c:pt>
                <c:pt idx="145">
                  <c:v>1963.0358444145415</c:v>
                </c:pt>
                <c:pt idx="146">
                  <c:v>41984.827689672871</c:v>
                </c:pt>
                <c:pt idx="147">
                  <c:v>2756.53002929688</c:v>
                </c:pt>
                <c:pt idx="148">
                  <c:v>2469.6031881917183</c:v>
                </c:pt>
                <c:pt idx="149">
                  <c:v>37289.751703769885</c:v>
                </c:pt>
                <c:pt idx="150">
                  <c:v>2192.0650268313707</c:v>
                </c:pt>
                <c:pt idx="151">
                  <c:v>1451.2540375003521</c:v>
                </c:pt>
                <c:pt idx="152">
                  <c:v>5191.9714568216586</c:v>
                </c:pt>
                <c:pt idx="153">
                  <c:v>66407.513921218488</c:v>
                </c:pt>
                <c:pt idx="154">
                  <c:v>7753.5868976041384</c:v>
                </c:pt>
                <c:pt idx="155">
                  <c:v>2929.145598036268</c:v>
                </c:pt>
                <c:pt idx="156">
                  <c:v>2930.7515424484218</c:v>
                </c:pt>
                <c:pt idx="157">
                  <c:v>13633.750792756404</c:v>
                </c:pt>
                <c:pt idx="158">
                  <c:v>11663.99233078896</c:v>
                </c:pt>
                <c:pt idx="159">
                  <c:v>21480.327975746997</c:v>
                </c:pt>
                <c:pt idx="160">
                  <c:v>34156.820297142476</c:v>
                </c:pt>
                <c:pt idx="161">
                  <c:v>4909.2663055547209</c:v>
                </c:pt>
                <c:pt idx="162">
                  <c:v>14884.887775945965</c:v>
                </c:pt>
                <c:pt idx="163">
                  <c:v>1027.244422576789</c:v>
                </c:pt>
                <c:pt idx="164">
                  <c:v>1740.310286081401</c:v>
                </c:pt>
                <c:pt idx="165">
                  <c:v>7273.0591047422349</c:v>
                </c:pt>
                <c:pt idx="166">
                  <c:v>3990.900601504632</c:v>
                </c:pt>
                <c:pt idx="167">
                  <c:v>7137.6037201332883</c:v>
                </c:pt>
                <c:pt idx="168">
                  <c:v>2314.8099935592704</c:v>
                </c:pt>
                <c:pt idx="169">
                  <c:v>3625.4367968826928</c:v>
                </c:pt>
                <c:pt idx="170">
                  <c:v>9766.8178931273778</c:v>
                </c:pt>
                <c:pt idx="171">
                  <c:v>5659.9074172201681</c:v>
                </c:pt>
                <c:pt idx="172">
                  <c:v>12535.919639384436</c:v>
                </c:pt>
                <c:pt idx="173">
                  <c:v>2703.2469159002021</c:v>
                </c:pt>
                <c:pt idx="174">
                  <c:v>1338.98095703125</c:v>
                </c:pt>
                <c:pt idx="175">
                  <c:v>901.66080949603452</c:v>
                </c:pt>
                <c:pt idx="176">
                  <c:v>16428.48046875</c:v>
                </c:pt>
                <c:pt idx="177">
                  <c:v>11039.807413063583</c:v>
                </c:pt>
                <c:pt idx="178">
                  <c:v>40456.24090541125</c:v>
                </c:pt>
                <c:pt idx="179">
                  <c:v>3638.8768403072199</c:v>
                </c:pt>
                <c:pt idx="180">
                  <c:v>6499.7763541198474</c:v>
                </c:pt>
                <c:pt idx="181">
                  <c:v>2099.3946490320727</c:v>
                </c:pt>
                <c:pt idx="182">
                  <c:v>2774.0902624874666</c:v>
                </c:pt>
                <c:pt idx="183">
                  <c:v>3655.8884997294103</c:v>
                </c:pt>
                <c:pt idx="184">
                  <c:v>10391.964137206865</c:v>
                </c:pt>
                <c:pt idx="185">
                  <c:v>2290.0392259546384</c:v>
                </c:pt>
                <c:pt idx="186">
                  <c:v>2704.7572993949125</c:v>
                </c:pt>
              </c:numCache>
            </c:numRef>
          </c:xVal>
          <c:yVal>
            <c:numRef>
              <c:f>[1]Data!$I$5:$I$192</c:f>
              <c:numCache>
                <c:formatCode>0.0%</c:formatCode>
                <c:ptCount val="188"/>
                <c:pt idx="0">
                  <c:v>7.2716733027766711E-3</c:v>
                </c:pt>
                <c:pt idx="1">
                  <c:v>7.4967351528054671E-4</c:v>
                </c:pt>
                <c:pt idx="2">
                  <c:v>3.5006253021272693E-2</c:v>
                </c:pt>
                <c:pt idx="3">
                  <c:v>-1.2969845163452343E-2</c:v>
                </c:pt>
                <c:pt idx="4">
                  <c:v>1.3229089320883736E-2</c:v>
                </c:pt>
                <c:pt idx="5">
                  <c:v>3.2166514773398491E-2</c:v>
                </c:pt>
                <c:pt idx="6">
                  <c:v>7.0695037062824539E-3</c:v>
                </c:pt>
                <c:pt idx="7">
                  <c:v>1.4901043525178848E-2</c:v>
                </c:pt>
                <c:pt idx="8">
                  <c:v>1.1535688213283768E-2</c:v>
                </c:pt>
                <c:pt idx="9">
                  <c:v>2.01711700912377E-2</c:v>
                </c:pt>
                <c:pt idx="10">
                  <c:v>-1.5839295015453225E-2</c:v>
                </c:pt>
                <c:pt idx="11">
                  <c:v>1.1834936906011784E-2</c:v>
                </c:pt>
                <c:pt idx="12">
                  <c:v>1.4287134187564998E-2</c:v>
                </c:pt>
                <c:pt idx="13">
                  <c:v>2.5236628210550949E-2</c:v>
                </c:pt>
                <c:pt idx="14">
                  <c:v>3.9136500576579136E-2</c:v>
                </c:pt>
                <c:pt idx="15">
                  <c:v>2.1093809273152964E-2</c:v>
                </c:pt>
                <c:pt idx="16">
                  <c:v>9.0670776339698556E-3</c:v>
                </c:pt>
                <c:pt idx="17">
                  <c:v>-5.4998173970811637E-3</c:v>
                </c:pt>
                <c:pt idx="18">
                  <c:v>8.1865766064550982E-2</c:v>
                </c:pt>
                <c:pt idx="19">
                  <c:v>2.5241611593379121E-2</c:v>
                </c:pt>
                <c:pt idx="20">
                  <c:v>9.8842854898977262E-3</c:v>
                </c:pt>
                <c:pt idx="21">
                  <c:v>6.1544941833553413E-3</c:v>
                </c:pt>
                <c:pt idx="22">
                  <c:v>1.8792164026763203E-2</c:v>
                </c:pt>
                <c:pt idx="23">
                  <c:v>1.0634734571359328E-2</c:v>
                </c:pt>
                <c:pt idx="24">
                  <c:v>-7.685182026540005E-4</c:v>
                </c:pt>
                <c:pt idx="25">
                  <c:v>-4.898817705619285E-3</c:v>
                </c:pt>
                <c:pt idx="26">
                  <c:v>4.4142074451221758E-2</c:v>
                </c:pt>
                <c:pt idx="27">
                  <c:v>1.5176823910822757E-2</c:v>
                </c:pt>
                <c:pt idx="28">
                  <c:v>-1.1191930500497271E-2</c:v>
                </c:pt>
                <c:pt idx="29">
                  <c:v>1.0473377386514882E-2</c:v>
                </c:pt>
                <c:pt idx="30">
                  <c:v>6.9112357446641237E-3</c:v>
                </c:pt>
                <c:pt idx="31">
                  <c:v>3.0595190802648498E-2</c:v>
                </c:pt>
                <c:pt idx="32">
                  <c:v>8.1753104983234293E-2</c:v>
                </c:pt>
                <c:pt idx="33">
                  <c:v>6.8746292544330512E-3</c:v>
                </c:pt>
                <c:pt idx="34">
                  <c:v>1.8927469765688265E-3</c:v>
                </c:pt>
                <c:pt idx="35">
                  <c:v>-1.5154465923583826E-2</c:v>
                </c:pt>
                <c:pt idx="36">
                  <c:v>-1.3565258267500546E-2</c:v>
                </c:pt>
                <c:pt idx="37">
                  <c:v>1.7398347682989979E-2</c:v>
                </c:pt>
                <c:pt idx="38">
                  <c:v>3.1146502732255499E-3</c:v>
                </c:pt>
                <c:pt idx="39">
                  <c:v>4.2359139284271707E-2</c:v>
                </c:pt>
                <c:pt idx="40">
                  <c:v>2.4370625770906207E-2</c:v>
                </c:pt>
                <c:pt idx="41">
                  <c:v>1.3468894465018977E-2</c:v>
                </c:pt>
                <c:pt idx="42">
                  <c:v>1.5818376376884213E-2</c:v>
                </c:pt>
                <c:pt idx="43">
                  <c:v>1.7228483601180677E-2</c:v>
                </c:pt>
                <c:pt idx="44">
                  <c:v>1.1658475607144281E-2</c:v>
                </c:pt>
                <c:pt idx="45">
                  <c:v>1.0223500537285268E-2</c:v>
                </c:pt>
                <c:pt idx="46">
                  <c:v>1.2436704144405342E-2</c:v>
                </c:pt>
                <c:pt idx="47">
                  <c:v>3.4936002554406986E-2</c:v>
                </c:pt>
                <c:pt idx="48">
                  <c:v>7.0081888754063293E-3</c:v>
                </c:pt>
                <c:pt idx="49">
                  <c:v>8.5674103416963909E-3</c:v>
                </c:pt>
                <c:pt idx="50">
                  <c:v>2.0872011055783402E-2</c:v>
                </c:pt>
                <c:pt idx="51">
                  <c:v>1.0936344676726772E-2</c:v>
                </c:pt>
                <c:pt idx="52">
                  <c:v>1.0052609464684892E-2</c:v>
                </c:pt>
                <c:pt idx="53">
                  <c:v>4.2055826579295408E-2</c:v>
                </c:pt>
                <c:pt idx="54">
                  <c:v>3.5173575914774657E-2</c:v>
                </c:pt>
                <c:pt idx="55">
                  <c:v>1.2328660497973321E-2</c:v>
                </c:pt>
                <c:pt idx="56">
                  <c:v>8.5455132185339178E-3</c:v>
                </c:pt>
                <c:pt idx="57">
                  <c:v>8.9389955451049108E-3</c:v>
                </c:pt>
                <c:pt idx="58">
                  <c:v>3.9178837868267813E-3</c:v>
                </c:pt>
                <c:pt idx="59">
                  <c:v>-7.4689818180443401E-3</c:v>
                </c:pt>
                <c:pt idx="60">
                  <c:v>1.1155546371830916E-2</c:v>
                </c:pt>
                <c:pt idx="61">
                  <c:v>1.0360933860087851E-2</c:v>
                </c:pt>
                <c:pt idx="62">
                  <c:v>2.7244243129424639E-2</c:v>
                </c:pt>
                <c:pt idx="63">
                  <c:v>1.7674904625214927E-2</c:v>
                </c:pt>
                <c:pt idx="64">
                  <c:v>-5.4002174400546998E-5</c:v>
                </c:pt>
                <c:pt idx="65">
                  <c:v>-2.7201007506254538E-3</c:v>
                </c:pt>
                <c:pt idx="66">
                  <c:v>8.9712490588732541E-2</c:v>
                </c:pt>
                <c:pt idx="67">
                  <c:v>6.1774808026000549E-3</c:v>
                </c:pt>
                <c:pt idx="68">
                  <c:v>1.473400526359514E-2</c:v>
                </c:pt>
                <c:pt idx="69">
                  <c:v>1.4899156518292989E-2</c:v>
                </c:pt>
                <c:pt idx="70">
                  <c:v>4.8488805554504522E-2</c:v>
                </c:pt>
                <c:pt idx="71">
                  <c:v>1.4300359218173186E-2</c:v>
                </c:pt>
                <c:pt idx="72">
                  <c:v>2.319251935383293E-2</c:v>
                </c:pt>
                <c:pt idx="73">
                  <c:v>1.1109937773311707E-2</c:v>
                </c:pt>
                <c:pt idx="74">
                  <c:v>2.7837792420481566E-2</c:v>
                </c:pt>
                <c:pt idx="75">
                  <c:v>-7.0465722884102133E-3</c:v>
                </c:pt>
                <c:pt idx="76">
                  <c:v>2.3340200800840316E-2</c:v>
                </c:pt>
                <c:pt idx="77">
                  <c:v>3.0601527101902892E-2</c:v>
                </c:pt>
                <c:pt idx="78">
                  <c:v>4.1056836631342852E-2</c:v>
                </c:pt>
                <c:pt idx="79">
                  <c:v>4.2924725803481945E-2</c:v>
                </c:pt>
                <c:pt idx="80">
                  <c:v>1.4579274062487713E-2</c:v>
                </c:pt>
                <c:pt idx="81">
                  <c:v>5.7946708907676836E-3</c:v>
                </c:pt>
                <c:pt idx="82">
                  <c:v>1.7363729014183482E-2</c:v>
                </c:pt>
                <c:pt idx="83">
                  <c:v>1.7018718715194669E-2</c:v>
                </c:pt>
                <c:pt idx="84">
                  <c:v>4.2694347137863797E-3</c:v>
                </c:pt>
                <c:pt idx="85">
                  <c:v>3.0967951266287486E-3</c:v>
                </c:pt>
                <c:pt idx="86">
                  <c:v>3.95929935596806E-3</c:v>
                </c:pt>
                <c:pt idx="87">
                  <c:v>6.787222469621268E-3</c:v>
                </c:pt>
                <c:pt idx="88">
                  <c:v>2.0885585032185849E-2</c:v>
                </c:pt>
                <c:pt idx="89">
                  <c:v>8.1762838863401743E-3</c:v>
                </c:pt>
                <c:pt idx="90">
                  <c:v>-2.1502934209297608E-3</c:v>
                </c:pt>
                <c:pt idx="91">
                  <c:v>3.2615022922775516E-2</c:v>
                </c:pt>
                <c:pt idx="92">
                  <c:v>-1.6962817566588129E-3</c:v>
                </c:pt>
                <c:pt idx="93">
                  <c:v>1.971933407301063E-2</c:v>
                </c:pt>
                <c:pt idx="94">
                  <c:v>3.9877405338339722E-2</c:v>
                </c:pt>
                <c:pt idx="95">
                  <c:v>2.0025214692942495E-3</c:v>
                </c:pt>
                <c:pt idx="96">
                  <c:v>4.4652951930565621E-2</c:v>
                </c:pt>
                <c:pt idx="97">
                  <c:v>2.5140851020765353E-2</c:v>
                </c:pt>
                <c:pt idx="98">
                  <c:v>4.1708858048015163E-3</c:v>
                </c:pt>
                <c:pt idx="99">
                  <c:v>1.1410680018095309E-2</c:v>
                </c:pt>
                <c:pt idx="100">
                  <c:v>3.8376051017216639E-2</c:v>
                </c:pt>
                <c:pt idx="101">
                  <c:v>1.8768828391805936E-2</c:v>
                </c:pt>
                <c:pt idx="102">
                  <c:v>4.9587026051186145E-2</c:v>
                </c:pt>
                <c:pt idx="103">
                  <c:v>1.5434789067007237E-2</c:v>
                </c:pt>
                <c:pt idx="104">
                  <c:v>4.5702634239434436E-2</c:v>
                </c:pt>
                <c:pt idx="105">
                  <c:v>9.4997019673015437E-3</c:v>
                </c:pt>
                <c:pt idx="106">
                  <c:v>2.5541927001019094E-2</c:v>
                </c:pt>
                <c:pt idx="107">
                  <c:v>3.3903789543486607E-2</c:v>
                </c:pt>
                <c:pt idx="108">
                  <c:v>-6.5942134097414229E-3</c:v>
                </c:pt>
                <c:pt idx="109">
                  <c:v>2.1987993635282255E-2</c:v>
                </c:pt>
                <c:pt idx="110">
                  <c:v>6.8193511075587132E-3</c:v>
                </c:pt>
                <c:pt idx="111">
                  <c:v>1.7459115320276553E-2</c:v>
                </c:pt>
                <c:pt idx="112">
                  <c:v>1.2364609006788374E-2</c:v>
                </c:pt>
                <c:pt idx="113">
                  <c:v>1.4529605760804643E-2</c:v>
                </c:pt>
                <c:pt idx="114">
                  <c:v>3.2334396927413245E-2</c:v>
                </c:pt>
                <c:pt idx="115">
                  <c:v>6.2379786857378772E-2</c:v>
                </c:pt>
                <c:pt idx="116">
                  <c:v>2.6644161316308423E-2</c:v>
                </c:pt>
                <c:pt idx="117">
                  <c:v>3.1119459564471041E-2</c:v>
                </c:pt>
                <c:pt idx="118">
                  <c:v>4.3995306123296718E-3</c:v>
                </c:pt>
                <c:pt idx="119">
                  <c:v>2.964123899893667E-2</c:v>
                </c:pt>
                <c:pt idx="120">
                  <c:v>1.4551384084507069E-2</c:v>
                </c:pt>
                <c:pt idx="121">
                  <c:v>2.8821340303621934E-2</c:v>
                </c:pt>
                <c:pt idx="122">
                  <c:v>1.4083740528518573E-2</c:v>
                </c:pt>
                <c:pt idx="123">
                  <c:v>1.2075275709331645E-2</c:v>
                </c:pt>
                <c:pt idx="124">
                  <c:v>3.0059836387572592E-3</c:v>
                </c:pt>
                <c:pt idx="125">
                  <c:v>1.2965986466589419E-2</c:v>
                </c:pt>
                <c:pt idx="126">
                  <c:v>1.5843430260811475E-2</c:v>
                </c:pt>
                <c:pt idx="127">
                  <c:v>1.3846892908321529E-2</c:v>
                </c:pt>
                <c:pt idx="128">
                  <c:v>1.3959227408209873E-2</c:v>
                </c:pt>
                <c:pt idx="129">
                  <c:v>2.8593470396580001E-2</c:v>
                </c:pt>
                <c:pt idx="130">
                  <c:v>1.3397875265720449E-2</c:v>
                </c:pt>
                <c:pt idx="131">
                  <c:v>3.7101814573965441E-3</c:v>
                </c:pt>
                <c:pt idx="132">
                  <c:v>1.6888049036575259E-2</c:v>
                </c:pt>
                <c:pt idx="133">
                  <c:v>3.1337443562964529E-2</c:v>
                </c:pt>
                <c:pt idx="134">
                  <c:v>2.7577452416725157E-2</c:v>
                </c:pt>
                <c:pt idx="135">
                  <c:v>2.0469851531186967E-2</c:v>
                </c:pt>
                <c:pt idx="136">
                  <c:v>7.3701472852669703E-3</c:v>
                </c:pt>
                <c:pt idx="137">
                  <c:v>3.5999231653743191E-2</c:v>
                </c:pt>
                <c:pt idx="138">
                  <c:v>1.2983977823588067E-2</c:v>
                </c:pt>
                <c:pt idx="139">
                  <c:v>1.1228975998310409E-2</c:v>
                </c:pt>
                <c:pt idx="140">
                  <c:v>1.3833176420374071E-2</c:v>
                </c:pt>
                <c:pt idx="141">
                  <c:v>7.1442390151588153E-3</c:v>
                </c:pt>
                <c:pt idx="142">
                  <c:v>2.637677974189967E-2</c:v>
                </c:pt>
                <c:pt idx="143">
                  <c:v>8.2692640762414005E-3</c:v>
                </c:pt>
                <c:pt idx="144">
                  <c:v>2.7744384501906527E-2</c:v>
                </c:pt>
                <c:pt idx="145">
                  <c:v>3.710926020771077E-2</c:v>
                </c:pt>
                <c:pt idx="146">
                  <c:v>1.706560588424999E-3</c:v>
                </c:pt>
                <c:pt idx="147">
                  <c:v>9.2503054442130139E-3</c:v>
                </c:pt>
                <c:pt idx="148">
                  <c:v>1.0915120061993688E-2</c:v>
                </c:pt>
                <c:pt idx="149">
                  <c:v>3.319610896683689E-2</c:v>
                </c:pt>
                <c:pt idx="150">
                  <c:v>2.9157675543605155E-3</c:v>
                </c:pt>
                <c:pt idx="151">
                  <c:v>3.3405657339447004E-3</c:v>
                </c:pt>
                <c:pt idx="152">
                  <c:v>1.7642143305855784E-2</c:v>
                </c:pt>
                <c:pt idx="153">
                  <c:v>-6.8090358739342216E-3</c:v>
                </c:pt>
                <c:pt idx="154">
                  <c:v>3.5393654271421937E-2</c:v>
                </c:pt>
                <c:pt idx="155">
                  <c:v>7.4537818243163301E-3</c:v>
                </c:pt>
                <c:pt idx="156">
                  <c:v>7.4543281090331259E-3</c:v>
                </c:pt>
                <c:pt idx="157">
                  <c:v>2.497786219106013E-3</c:v>
                </c:pt>
                <c:pt idx="158">
                  <c:v>3.4068611534945337E-2</c:v>
                </c:pt>
                <c:pt idx="159">
                  <c:v>2.3329212215748907E-2</c:v>
                </c:pt>
                <c:pt idx="160">
                  <c:v>1.4188374167797724E-2</c:v>
                </c:pt>
                <c:pt idx="161">
                  <c:v>1.8610566755071556E-2</c:v>
                </c:pt>
                <c:pt idx="162">
                  <c:v>2.0796323612320089E-2</c:v>
                </c:pt>
                <c:pt idx="163">
                  <c:v>1.0291310006908638E-2</c:v>
                </c:pt>
                <c:pt idx="164">
                  <c:v>6.2575046059096806E-3</c:v>
                </c:pt>
                <c:pt idx="165">
                  <c:v>2.7032618047911683E-2</c:v>
                </c:pt>
                <c:pt idx="166">
                  <c:v>-6.9317980191430095E-4</c:v>
                </c:pt>
                <c:pt idx="167">
                  <c:v>2.5047886583642098E-2</c:v>
                </c:pt>
                <c:pt idx="168">
                  <c:v>3.5929093980591409E-2</c:v>
                </c:pt>
                <c:pt idx="169">
                  <c:v>1.6615120209512169E-2</c:v>
                </c:pt>
                <c:pt idx="170">
                  <c:v>2.7178949092942384E-2</c:v>
                </c:pt>
                <c:pt idx="171">
                  <c:v>1.9188036164041078E-2</c:v>
                </c:pt>
                <c:pt idx="172">
                  <c:v>2.9177796921528998E-2</c:v>
                </c:pt>
                <c:pt idx="173">
                  <c:v>1.8916476613738409E-2</c:v>
                </c:pt>
                <c:pt idx="174">
                  <c:v>2.0728765412169725E-2</c:v>
                </c:pt>
                <c:pt idx="175">
                  <c:v>2.8937408779162066E-2</c:v>
                </c:pt>
                <c:pt idx="176">
                  <c:v>-7.4227481791033778E-3</c:v>
                </c:pt>
                <c:pt idx="177">
                  <c:v>2.2923904620866242E-2</c:v>
                </c:pt>
                <c:pt idx="178">
                  <c:v>1.42723925970627E-2</c:v>
                </c:pt>
                <c:pt idx="179">
                  <c:v>2.3844168415583455E-2</c:v>
                </c:pt>
                <c:pt idx="180">
                  <c:v>2.356287878395813E-2</c:v>
                </c:pt>
                <c:pt idx="181">
                  <c:v>5.1989609918070112E-2</c:v>
                </c:pt>
                <c:pt idx="182">
                  <c:v>1.0043156291228428E-4</c:v>
                </c:pt>
                <c:pt idx="183">
                  <c:v>1.3040377048596286E-2</c:v>
                </c:pt>
                <c:pt idx="184">
                  <c:v>7.7683770457555035E-3</c:v>
                </c:pt>
                <c:pt idx="185">
                  <c:v>1.0871571830883831E-2</c:v>
                </c:pt>
                <c:pt idx="186">
                  <c:v>-7.6545854100907862E-3</c:v>
                </c:pt>
              </c:numCache>
            </c:numRef>
          </c:yVal>
          <c:smooth val="0"/>
          <c:extLst>
            <c:ext xmlns:c16="http://schemas.microsoft.com/office/drawing/2014/chart" uri="{C3380CC4-5D6E-409C-BE32-E72D297353CC}">
              <c16:uniqueId val="{00000001-5FB8-4F23-AC70-AFFE158D2C44}"/>
            </c:ext>
          </c:extLst>
        </c:ser>
        <c:dLbls>
          <c:showLegendKey val="0"/>
          <c:showVal val="0"/>
          <c:showCatName val="0"/>
          <c:showSerName val="0"/>
          <c:showPercent val="0"/>
          <c:showBubbleSize val="0"/>
        </c:dLbls>
        <c:axId val="1889668031"/>
        <c:axId val="1889675519"/>
      </c:scatterChart>
      <c:valAx>
        <c:axId val="1889668031"/>
        <c:scaling>
          <c:logBase val="10"/>
          <c:orientation val="minMax"/>
          <c:min val="100"/>
        </c:scaling>
        <c:delete val="0"/>
        <c:axPos val="b"/>
        <c:title>
          <c:tx>
            <c:rich>
              <a:bodyPr rot="0" spcFirstLastPara="1" vertOverflow="ellipsis" vert="horz" wrap="square" anchor="ctr" anchorCtr="1"/>
              <a:lstStyle/>
              <a:p>
                <a:pPr>
                  <a:defRPr sz="1600" b="0" i="0" u="none" strike="noStrike" kern="1200" baseline="0">
                    <a:solidFill>
                      <a:schemeClr val="tx1"/>
                    </a:solidFill>
                    <a:latin typeface="Calibri" panose="020F0502020204030204" pitchFamily="34" charset="0"/>
                    <a:ea typeface="+mn-ea"/>
                    <a:cs typeface="+mn-cs"/>
                  </a:defRPr>
                </a:pPr>
                <a:r>
                  <a:rPr lang="pl-PL" dirty="0"/>
                  <a:t>GDP per capita in 1990 ($</a:t>
                </a:r>
                <a:r>
                  <a:rPr lang="pl-PL" baseline="0" dirty="0"/>
                  <a:t> PPP)</a:t>
                </a:r>
                <a:endParaRPr lang="pl-PL" dirty="0"/>
              </a:p>
            </c:rich>
          </c:tx>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alibri" panose="020F0502020204030204" pitchFamily="34" charset="0"/>
                  <a:ea typeface="+mn-ea"/>
                  <a:cs typeface="+mn-cs"/>
                </a:defRPr>
              </a:pPr>
              <a:endParaRPr lang="pl-PL"/>
            </a:p>
          </c:txPr>
        </c:title>
        <c:numFmt formatCode="General" sourceLinked="1"/>
        <c:majorTickMark val="out"/>
        <c:minorTickMark val="none"/>
        <c:tickLblPos val="low"/>
        <c:spPr>
          <a:noFill/>
          <a:ln w="9525" cap="flat" cmpd="sng" algn="ctr">
            <a:solidFill>
              <a:srgbClr val="000000">
                <a:lumMod val="100000"/>
              </a:srgb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alibri" panose="020F0502020204030204" pitchFamily="34" charset="0"/>
                <a:ea typeface="+mn-ea"/>
                <a:cs typeface="+mn-cs"/>
              </a:defRPr>
            </a:pPr>
            <a:endParaRPr lang="pl-PL"/>
          </a:p>
        </c:txPr>
        <c:crossAx val="1889675519"/>
        <c:crosses val="autoZero"/>
        <c:crossBetween val="midCat"/>
      </c:valAx>
      <c:valAx>
        <c:axId val="1889675519"/>
        <c:scaling>
          <c:orientation val="minMax"/>
          <c:min val="-2.0000000000000004E-2"/>
        </c:scaling>
        <c:delete val="0"/>
        <c:axPos val="l"/>
        <c:title>
          <c:tx>
            <c:rich>
              <a:bodyPr rot="-5400000" spcFirstLastPara="1" vertOverflow="ellipsis" vert="horz" wrap="square" anchor="ctr" anchorCtr="1"/>
              <a:lstStyle/>
              <a:p>
                <a:pPr>
                  <a:defRPr sz="1600" b="0" i="0" u="none" strike="noStrike" kern="1200" baseline="0">
                    <a:solidFill>
                      <a:schemeClr val="tx1"/>
                    </a:solidFill>
                    <a:latin typeface="Calibri" panose="020F0502020204030204" pitchFamily="34" charset="0"/>
                    <a:ea typeface="+mn-ea"/>
                    <a:cs typeface="+mn-cs"/>
                  </a:defRPr>
                </a:pPr>
                <a:r>
                  <a:rPr lang="pl-PL" dirty="0" err="1"/>
                  <a:t>Average</a:t>
                </a:r>
                <a:r>
                  <a:rPr lang="pl-PL" dirty="0"/>
                  <a:t> </a:t>
                </a:r>
                <a:r>
                  <a:rPr lang="pl-PL" dirty="0" err="1"/>
                  <a:t>annual</a:t>
                </a:r>
                <a:r>
                  <a:rPr lang="pl-PL" dirty="0"/>
                  <a:t> </a:t>
                </a:r>
                <a:r>
                  <a:rPr lang="pl-PL" dirty="0" err="1"/>
                  <a:t>growth</a:t>
                </a:r>
                <a:r>
                  <a:rPr lang="pl-PL" dirty="0"/>
                  <a:t> </a:t>
                </a:r>
                <a:r>
                  <a:rPr lang="pl-PL" dirty="0" err="1"/>
                  <a:t>since</a:t>
                </a:r>
                <a:r>
                  <a:rPr lang="pl-PL" dirty="0"/>
                  <a:t> 1990</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solidFill>
                  <a:latin typeface="Calibri" panose="020F0502020204030204" pitchFamily="34" charset="0"/>
                  <a:ea typeface="+mn-ea"/>
                  <a:cs typeface="+mn-cs"/>
                </a:defRPr>
              </a:pPr>
              <a:endParaRPr lang="pl-PL"/>
            </a:p>
          </c:txPr>
        </c:title>
        <c:numFmt formatCode="0.0%" sourceLinked="1"/>
        <c:majorTickMark val="out"/>
        <c:minorTickMark val="none"/>
        <c:tickLblPos val="nextTo"/>
        <c:spPr>
          <a:noFill/>
          <a:ln w="9525" cap="flat" cmpd="sng" algn="ctr">
            <a:solidFill>
              <a:srgbClr val="000000">
                <a:lumMod val="100000"/>
              </a:srgb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alibri" panose="020F0502020204030204" pitchFamily="34" charset="0"/>
                <a:ea typeface="+mn-ea"/>
                <a:cs typeface="+mn-cs"/>
              </a:defRPr>
            </a:pPr>
            <a:endParaRPr lang="pl-PL"/>
          </a:p>
        </c:txPr>
        <c:crossAx val="188966803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600">
          <a:solidFill>
            <a:schemeClr val="tx1"/>
          </a:solidFill>
          <a:latin typeface="Calibri" panose="020F0502020204030204" pitchFamily="34" charset="0"/>
        </a:defRPr>
      </a:pPr>
      <a:endParaRPr lang="pl-P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solidFill>
                <a:latin typeface="Calibri" panose="020F0502020204030204" pitchFamily="34" charset="0"/>
                <a:ea typeface="+mn-ea"/>
                <a:cs typeface="+mn-cs"/>
              </a:defRPr>
            </a:pPr>
            <a:r>
              <a:rPr lang="pl-PL" dirty="0"/>
              <a:t>GDP (</a:t>
            </a:r>
            <a:r>
              <a:rPr lang="pl-PL" dirty="0" err="1"/>
              <a:t>quarterly</a:t>
            </a:r>
            <a:r>
              <a:rPr lang="pl-PL" dirty="0"/>
              <a:t>,</a:t>
            </a:r>
            <a:r>
              <a:rPr lang="pl-PL" baseline="0" dirty="0"/>
              <a:t> PLN </a:t>
            </a:r>
            <a:r>
              <a:rPr lang="pl-PL" baseline="0" dirty="0" err="1"/>
              <a:t>bn</a:t>
            </a:r>
            <a:r>
              <a:rPr lang="pl-PL" baseline="0" dirty="0"/>
              <a:t>)</a:t>
            </a:r>
            <a:endParaRPr lang="pl-PL" dirty="0"/>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solidFill>
              <a:latin typeface="Calibri" panose="020F0502020204030204" pitchFamily="34" charset="0"/>
              <a:ea typeface="+mn-ea"/>
              <a:cs typeface="+mn-cs"/>
            </a:defRPr>
          </a:pPr>
          <a:endParaRPr lang="pl-PL"/>
        </a:p>
      </c:txPr>
    </c:title>
    <c:autoTitleDeleted val="0"/>
    <c:plotArea>
      <c:layout/>
      <c:lineChart>
        <c:grouping val="standard"/>
        <c:varyColors val="0"/>
        <c:ser>
          <c:idx val="0"/>
          <c:order val="0"/>
          <c:tx>
            <c:strRef>
              <c:f>'yy-qq'!$G$1</c:f>
              <c:strCache>
                <c:ptCount val="1"/>
                <c:pt idx="0">
                  <c:v>2015_sa</c:v>
                </c:pt>
              </c:strCache>
            </c:strRef>
          </c:tx>
          <c:spPr>
            <a:ln w="28575" cap="rnd">
              <a:solidFill>
                <a:srgbClr val="D71920"/>
              </a:solidFill>
              <a:round/>
            </a:ln>
            <a:effectLst/>
          </c:spPr>
          <c:marker>
            <c:symbol val="none"/>
          </c:marker>
          <c:trendline>
            <c:spPr>
              <a:ln w="19050" cap="rnd">
                <a:solidFill>
                  <a:schemeClr val="accent1"/>
                </a:solidFill>
                <a:prstDash val="sysDot"/>
              </a:ln>
              <a:effectLst/>
            </c:spPr>
            <c:trendlineType val="power"/>
            <c:dispRSqr val="0"/>
            <c:dispEq val="0"/>
          </c:trendline>
          <c:cat>
            <c:numRef>
              <c:f>'yy-qq'!$A$2:$A$119</c:f>
              <c:numCache>
                <c:formatCode>m/d/yyyy</c:formatCode>
                <c:ptCount val="118"/>
                <c:pt idx="0">
                  <c:v>35065</c:v>
                </c:pt>
                <c:pt idx="1">
                  <c:v>35156</c:v>
                </c:pt>
                <c:pt idx="2">
                  <c:v>35247</c:v>
                </c:pt>
                <c:pt idx="3">
                  <c:v>35339</c:v>
                </c:pt>
                <c:pt idx="4">
                  <c:v>35431</c:v>
                </c:pt>
                <c:pt idx="5">
                  <c:v>35521</c:v>
                </c:pt>
                <c:pt idx="6">
                  <c:v>35612</c:v>
                </c:pt>
                <c:pt idx="7">
                  <c:v>35704</c:v>
                </c:pt>
                <c:pt idx="8">
                  <c:v>35796</c:v>
                </c:pt>
                <c:pt idx="9">
                  <c:v>35886</c:v>
                </c:pt>
                <c:pt idx="10">
                  <c:v>35977</c:v>
                </c:pt>
                <c:pt idx="11">
                  <c:v>36069</c:v>
                </c:pt>
                <c:pt idx="12">
                  <c:v>36161</c:v>
                </c:pt>
                <c:pt idx="13">
                  <c:v>36251</c:v>
                </c:pt>
                <c:pt idx="14">
                  <c:v>36342</c:v>
                </c:pt>
                <c:pt idx="15">
                  <c:v>36434</c:v>
                </c:pt>
                <c:pt idx="16">
                  <c:v>36526</c:v>
                </c:pt>
                <c:pt idx="17">
                  <c:v>36617</c:v>
                </c:pt>
                <c:pt idx="18">
                  <c:v>36708</c:v>
                </c:pt>
                <c:pt idx="19">
                  <c:v>36800</c:v>
                </c:pt>
                <c:pt idx="20">
                  <c:v>36892</c:v>
                </c:pt>
                <c:pt idx="21">
                  <c:v>36982</c:v>
                </c:pt>
                <c:pt idx="22">
                  <c:v>37073</c:v>
                </c:pt>
                <c:pt idx="23">
                  <c:v>37165</c:v>
                </c:pt>
                <c:pt idx="24">
                  <c:v>37257</c:v>
                </c:pt>
                <c:pt idx="25">
                  <c:v>37347</c:v>
                </c:pt>
                <c:pt idx="26">
                  <c:v>37438</c:v>
                </c:pt>
                <c:pt idx="27">
                  <c:v>37530</c:v>
                </c:pt>
                <c:pt idx="28">
                  <c:v>37622</c:v>
                </c:pt>
                <c:pt idx="29">
                  <c:v>37712</c:v>
                </c:pt>
                <c:pt idx="30">
                  <c:v>37803</c:v>
                </c:pt>
                <c:pt idx="31">
                  <c:v>37895</c:v>
                </c:pt>
                <c:pt idx="32">
                  <c:v>37987</c:v>
                </c:pt>
                <c:pt idx="33">
                  <c:v>38078</c:v>
                </c:pt>
                <c:pt idx="34">
                  <c:v>38169</c:v>
                </c:pt>
                <c:pt idx="35">
                  <c:v>38261</c:v>
                </c:pt>
                <c:pt idx="36">
                  <c:v>38353</c:v>
                </c:pt>
                <c:pt idx="37">
                  <c:v>38443</c:v>
                </c:pt>
                <c:pt idx="38">
                  <c:v>38534</c:v>
                </c:pt>
                <c:pt idx="39">
                  <c:v>38626</c:v>
                </c:pt>
                <c:pt idx="40">
                  <c:v>38718</c:v>
                </c:pt>
                <c:pt idx="41">
                  <c:v>38808</c:v>
                </c:pt>
                <c:pt idx="42">
                  <c:v>38899</c:v>
                </c:pt>
                <c:pt idx="43">
                  <c:v>38991</c:v>
                </c:pt>
                <c:pt idx="44">
                  <c:v>39083</c:v>
                </c:pt>
                <c:pt idx="45">
                  <c:v>39173</c:v>
                </c:pt>
                <c:pt idx="46">
                  <c:v>39264</c:v>
                </c:pt>
                <c:pt idx="47">
                  <c:v>39356</c:v>
                </c:pt>
                <c:pt idx="48">
                  <c:v>39448</c:v>
                </c:pt>
                <c:pt idx="49">
                  <c:v>39539</c:v>
                </c:pt>
                <c:pt idx="50">
                  <c:v>39630</c:v>
                </c:pt>
                <c:pt idx="51">
                  <c:v>39722</c:v>
                </c:pt>
                <c:pt idx="52">
                  <c:v>39814</c:v>
                </c:pt>
                <c:pt idx="53">
                  <c:v>39904</c:v>
                </c:pt>
                <c:pt idx="54">
                  <c:v>39995</c:v>
                </c:pt>
                <c:pt idx="55">
                  <c:v>40087</c:v>
                </c:pt>
                <c:pt idx="56">
                  <c:v>40179</c:v>
                </c:pt>
                <c:pt idx="57">
                  <c:v>40269</c:v>
                </c:pt>
                <c:pt idx="58">
                  <c:v>40360</c:v>
                </c:pt>
                <c:pt idx="59">
                  <c:v>40452</c:v>
                </c:pt>
                <c:pt idx="60">
                  <c:v>40544</c:v>
                </c:pt>
                <c:pt idx="61">
                  <c:v>40634</c:v>
                </c:pt>
                <c:pt idx="62">
                  <c:v>40725</c:v>
                </c:pt>
                <c:pt idx="63">
                  <c:v>40817</c:v>
                </c:pt>
                <c:pt idx="64">
                  <c:v>40909</c:v>
                </c:pt>
                <c:pt idx="65">
                  <c:v>41000</c:v>
                </c:pt>
                <c:pt idx="66">
                  <c:v>41091</c:v>
                </c:pt>
                <c:pt idx="67">
                  <c:v>41183</c:v>
                </c:pt>
                <c:pt idx="68">
                  <c:v>41275</c:v>
                </c:pt>
                <c:pt idx="69">
                  <c:v>41365</c:v>
                </c:pt>
                <c:pt idx="70">
                  <c:v>41456</c:v>
                </c:pt>
                <c:pt idx="71">
                  <c:v>41548</c:v>
                </c:pt>
                <c:pt idx="72">
                  <c:v>41640</c:v>
                </c:pt>
                <c:pt idx="73">
                  <c:v>41730</c:v>
                </c:pt>
                <c:pt idx="74">
                  <c:v>41821</c:v>
                </c:pt>
                <c:pt idx="75">
                  <c:v>41913</c:v>
                </c:pt>
                <c:pt idx="76">
                  <c:v>42005</c:v>
                </c:pt>
                <c:pt idx="77">
                  <c:v>42095</c:v>
                </c:pt>
                <c:pt idx="78">
                  <c:v>42186</c:v>
                </c:pt>
                <c:pt idx="79">
                  <c:v>42278</c:v>
                </c:pt>
                <c:pt idx="80">
                  <c:v>42370</c:v>
                </c:pt>
                <c:pt idx="81">
                  <c:v>42461</c:v>
                </c:pt>
                <c:pt idx="82">
                  <c:v>42552</c:v>
                </c:pt>
                <c:pt idx="83">
                  <c:v>42644</c:v>
                </c:pt>
                <c:pt idx="84">
                  <c:v>42736</c:v>
                </c:pt>
                <c:pt idx="85">
                  <c:v>42826</c:v>
                </c:pt>
                <c:pt idx="86">
                  <c:v>42917</c:v>
                </c:pt>
                <c:pt idx="87">
                  <c:v>43009</c:v>
                </c:pt>
                <c:pt idx="88">
                  <c:v>43101</c:v>
                </c:pt>
                <c:pt idx="89">
                  <c:v>43191</c:v>
                </c:pt>
                <c:pt idx="90">
                  <c:v>43282</c:v>
                </c:pt>
                <c:pt idx="91">
                  <c:v>43374</c:v>
                </c:pt>
                <c:pt idx="92">
                  <c:v>43466</c:v>
                </c:pt>
                <c:pt idx="93">
                  <c:v>43556</c:v>
                </c:pt>
                <c:pt idx="94">
                  <c:v>43647</c:v>
                </c:pt>
                <c:pt idx="95">
                  <c:v>43739</c:v>
                </c:pt>
                <c:pt idx="96">
                  <c:v>43831</c:v>
                </c:pt>
                <c:pt idx="97">
                  <c:v>43922</c:v>
                </c:pt>
                <c:pt idx="98">
                  <c:v>44013</c:v>
                </c:pt>
                <c:pt idx="99">
                  <c:v>44105</c:v>
                </c:pt>
                <c:pt idx="100">
                  <c:v>44197</c:v>
                </c:pt>
                <c:pt idx="101">
                  <c:v>44287</c:v>
                </c:pt>
                <c:pt idx="102">
                  <c:v>44378</c:v>
                </c:pt>
                <c:pt idx="103">
                  <c:v>44470</c:v>
                </c:pt>
                <c:pt idx="104">
                  <c:v>44562</c:v>
                </c:pt>
                <c:pt idx="105">
                  <c:v>44652</c:v>
                </c:pt>
                <c:pt idx="106">
                  <c:v>44743</c:v>
                </c:pt>
                <c:pt idx="107">
                  <c:v>44835</c:v>
                </c:pt>
                <c:pt idx="108">
                  <c:v>44927</c:v>
                </c:pt>
                <c:pt idx="109">
                  <c:v>45017</c:v>
                </c:pt>
                <c:pt idx="110">
                  <c:v>45108</c:v>
                </c:pt>
                <c:pt idx="111">
                  <c:v>45200</c:v>
                </c:pt>
              </c:numCache>
            </c:numRef>
          </c:cat>
          <c:val>
            <c:numRef>
              <c:f>'yy-qq'!$G$2:$G$119</c:f>
              <c:numCache>
                <c:formatCode>#\ ##0.0</c:formatCode>
                <c:ptCount val="118"/>
                <c:pt idx="0">
                  <c:v>214939.7</c:v>
                </c:pt>
                <c:pt idx="1">
                  <c:v>219244.7</c:v>
                </c:pt>
                <c:pt idx="2">
                  <c:v>221666.8</c:v>
                </c:pt>
                <c:pt idx="3">
                  <c:v>214019.6</c:v>
                </c:pt>
                <c:pt idx="4">
                  <c:v>227356.5</c:v>
                </c:pt>
                <c:pt idx="5">
                  <c:v>230527.4</c:v>
                </c:pt>
                <c:pt idx="6">
                  <c:v>231526.9</c:v>
                </c:pt>
                <c:pt idx="7">
                  <c:v>235489.7</c:v>
                </c:pt>
                <c:pt idx="8">
                  <c:v>239981.7</c:v>
                </c:pt>
                <c:pt idx="9">
                  <c:v>240064.3</c:v>
                </c:pt>
                <c:pt idx="10">
                  <c:v>242394.9</c:v>
                </c:pt>
                <c:pt idx="11">
                  <c:v>243190.7</c:v>
                </c:pt>
                <c:pt idx="12">
                  <c:v>245175.9</c:v>
                </c:pt>
                <c:pt idx="13">
                  <c:v>250252</c:v>
                </c:pt>
                <c:pt idx="14">
                  <c:v>255194.2</c:v>
                </c:pt>
                <c:pt idx="15">
                  <c:v>258923.1</c:v>
                </c:pt>
                <c:pt idx="16">
                  <c:v>260806.5</c:v>
                </c:pt>
                <c:pt idx="17">
                  <c:v>263681.7</c:v>
                </c:pt>
                <c:pt idx="18">
                  <c:v>264528.5</c:v>
                </c:pt>
                <c:pt idx="19">
                  <c:v>269257.59999999998</c:v>
                </c:pt>
                <c:pt idx="20">
                  <c:v>268383</c:v>
                </c:pt>
                <c:pt idx="21">
                  <c:v>267594.90000000002</c:v>
                </c:pt>
                <c:pt idx="22">
                  <c:v>268879.40000000002</c:v>
                </c:pt>
                <c:pt idx="23">
                  <c:v>268916.5</c:v>
                </c:pt>
                <c:pt idx="24">
                  <c:v>270727.5</c:v>
                </c:pt>
                <c:pt idx="25">
                  <c:v>272613.8</c:v>
                </c:pt>
                <c:pt idx="26">
                  <c:v>275185.59999999998</c:v>
                </c:pt>
                <c:pt idx="27">
                  <c:v>276642.59999999998</c:v>
                </c:pt>
                <c:pt idx="28">
                  <c:v>277728.7</c:v>
                </c:pt>
                <c:pt idx="29">
                  <c:v>282381</c:v>
                </c:pt>
                <c:pt idx="30">
                  <c:v>286012.5</c:v>
                </c:pt>
                <c:pt idx="31">
                  <c:v>288208.8</c:v>
                </c:pt>
                <c:pt idx="32">
                  <c:v>294670</c:v>
                </c:pt>
                <c:pt idx="33">
                  <c:v>297154.2</c:v>
                </c:pt>
                <c:pt idx="34">
                  <c:v>297031.40000000002</c:v>
                </c:pt>
                <c:pt idx="35">
                  <c:v>300086.09999999998</c:v>
                </c:pt>
                <c:pt idx="36">
                  <c:v>302194.8</c:v>
                </c:pt>
                <c:pt idx="37">
                  <c:v>303580</c:v>
                </c:pt>
                <c:pt idx="38">
                  <c:v>309348.09999999998</c:v>
                </c:pt>
                <c:pt idx="39">
                  <c:v>314745.3</c:v>
                </c:pt>
                <c:pt idx="40">
                  <c:v>319564.2</c:v>
                </c:pt>
                <c:pt idx="41">
                  <c:v>326976.59999999998</c:v>
                </c:pt>
                <c:pt idx="42">
                  <c:v>332205.90000000002</c:v>
                </c:pt>
                <c:pt idx="43">
                  <c:v>327435.59999999998</c:v>
                </c:pt>
                <c:pt idx="44">
                  <c:v>342043.6</c:v>
                </c:pt>
                <c:pt idx="45">
                  <c:v>346623.7</c:v>
                </c:pt>
                <c:pt idx="46">
                  <c:v>352649</c:v>
                </c:pt>
                <c:pt idx="47">
                  <c:v>357303.8</c:v>
                </c:pt>
                <c:pt idx="48">
                  <c:v>362258.7</c:v>
                </c:pt>
                <c:pt idx="49">
                  <c:v>364423</c:v>
                </c:pt>
                <c:pt idx="50">
                  <c:v>364521.5</c:v>
                </c:pt>
                <c:pt idx="51">
                  <c:v>365007</c:v>
                </c:pt>
                <c:pt idx="52">
                  <c:v>370183.5</c:v>
                </c:pt>
                <c:pt idx="53">
                  <c:v>370986.9</c:v>
                </c:pt>
                <c:pt idx="54">
                  <c:v>373652.4</c:v>
                </c:pt>
                <c:pt idx="55">
                  <c:v>379305.9</c:v>
                </c:pt>
                <c:pt idx="56">
                  <c:v>377682.6</c:v>
                </c:pt>
                <c:pt idx="57">
                  <c:v>383091.3</c:v>
                </c:pt>
                <c:pt idx="58">
                  <c:v>387634.6</c:v>
                </c:pt>
                <c:pt idx="59">
                  <c:v>391817.2</c:v>
                </c:pt>
                <c:pt idx="60">
                  <c:v>397848</c:v>
                </c:pt>
                <c:pt idx="61">
                  <c:v>402770.7</c:v>
                </c:pt>
                <c:pt idx="62">
                  <c:v>407293.1</c:v>
                </c:pt>
                <c:pt idx="63">
                  <c:v>410580.7</c:v>
                </c:pt>
                <c:pt idx="64">
                  <c:v>411875.2</c:v>
                </c:pt>
                <c:pt idx="65">
                  <c:v>411125.3</c:v>
                </c:pt>
                <c:pt idx="66">
                  <c:v>411289.4</c:v>
                </c:pt>
                <c:pt idx="67">
                  <c:v>411004.2</c:v>
                </c:pt>
                <c:pt idx="68">
                  <c:v>410354.7</c:v>
                </c:pt>
                <c:pt idx="69">
                  <c:v>413470.7</c:v>
                </c:pt>
                <c:pt idx="70">
                  <c:v>416516.4</c:v>
                </c:pt>
                <c:pt idx="71">
                  <c:v>418948.5</c:v>
                </c:pt>
                <c:pt idx="72">
                  <c:v>424229.6</c:v>
                </c:pt>
                <c:pt idx="73">
                  <c:v>428933.2</c:v>
                </c:pt>
                <c:pt idx="74">
                  <c:v>432366.5</c:v>
                </c:pt>
                <c:pt idx="75">
                  <c:v>436061.2</c:v>
                </c:pt>
                <c:pt idx="76">
                  <c:v>443124.7</c:v>
                </c:pt>
                <c:pt idx="77">
                  <c:v>445571.4</c:v>
                </c:pt>
                <c:pt idx="78">
                  <c:v>451508.2</c:v>
                </c:pt>
                <c:pt idx="79">
                  <c:v>455117.3</c:v>
                </c:pt>
                <c:pt idx="80">
                  <c:v>454322.3</c:v>
                </c:pt>
                <c:pt idx="81">
                  <c:v>460956.5</c:v>
                </c:pt>
                <c:pt idx="82">
                  <c:v>463595</c:v>
                </c:pt>
                <c:pt idx="83">
                  <c:v>472482.2</c:v>
                </c:pt>
                <c:pt idx="84">
                  <c:v>478198.4</c:v>
                </c:pt>
                <c:pt idx="85">
                  <c:v>482902.8</c:v>
                </c:pt>
                <c:pt idx="86">
                  <c:v>490042.6</c:v>
                </c:pt>
                <c:pt idx="87">
                  <c:v>496668.8</c:v>
                </c:pt>
                <c:pt idx="88">
                  <c:v>505690</c:v>
                </c:pt>
                <c:pt idx="89">
                  <c:v>512814.9</c:v>
                </c:pt>
                <c:pt idx="90">
                  <c:v>519191.6</c:v>
                </c:pt>
                <c:pt idx="91">
                  <c:v>524287.7</c:v>
                </c:pt>
                <c:pt idx="92">
                  <c:v>531601.4</c:v>
                </c:pt>
                <c:pt idx="93">
                  <c:v>536408.9</c:v>
                </c:pt>
                <c:pt idx="94">
                  <c:v>540397</c:v>
                </c:pt>
                <c:pt idx="95">
                  <c:v>543928.4</c:v>
                </c:pt>
                <c:pt idx="96">
                  <c:v>547954.69999999995</c:v>
                </c:pt>
                <c:pt idx="97">
                  <c:v>497509.6</c:v>
                </c:pt>
                <c:pt idx="98">
                  <c:v>531165.1</c:v>
                </c:pt>
                <c:pt idx="99">
                  <c:v>531798.6</c:v>
                </c:pt>
                <c:pt idx="100">
                  <c:v>545462.80000000005</c:v>
                </c:pt>
                <c:pt idx="101">
                  <c:v>557290.69999999995</c:v>
                </c:pt>
                <c:pt idx="102">
                  <c:v>569088.80000000005</c:v>
                </c:pt>
                <c:pt idx="103">
                  <c:v>578278.40000000002</c:v>
                </c:pt>
                <c:pt idx="104">
                  <c:v>602792.19999999995</c:v>
                </c:pt>
                <c:pt idx="105">
                  <c:v>588598.6</c:v>
                </c:pt>
                <c:pt idx="106">
                  <c:v>594448.80000000005</c:v>
                </c:pt>
                <c:pt idx="107">
                  <c:v>588261.51048255304</c:v>
                </c:pt>
                <c:pt idx="108">
                  <c:v>566847.49671590258</c:v>
                </c:pt>
                <c:pt idx="109">
                  <c:v>590254.19307435106</c:v>
                </c:pt>
                <c:pt idx="110">
                  <c:v>618013.30325571832</c:v>
                </c:pt>
                <c:pt idx="111">
                  <c:v>588716.53369558812</c:v>
                </c:pt>
              </c:numCache>
            </c:numRef>
          </c:val>
          <c:smooth val="0"/>
          <c:extLst>
            <c:ext xmlns:c16="http://schemas.microsoft.com/office/drawing/2014/chart" uri="{C3380CC4-5D6E-409C-BE32-E72D297353CC}">
              <c16:uniqueId val="{00000001-1710-42C2-94C3-E522EF32A5AA}"/>
            </c:ext>
          </c:extLst>
        </c:ser>
        <c:dLbls>
          <c:showLegendKey val="0"/>
          <c:showVal val="0"/>
          <c:showCatName val="0"/>
          <c:showSerName val="0"/>
          <c:showPercent val="0"/>
          <c:showBubbleSize val="0"/>
        </c:dLbls>
        <c:smooth val="0"/>
        <c:axId val="880715920"/>
        <c:axId val="880709680"/>
      </c:lineChart>
      <c:dateAx>
        <c:axId val="880715920"/>
        <c:scaling>
          <c:orientation val="minMax"/>
          <c:max val="44926"/>
        </c:scaling>
        <c:delete val="0"/>
        <c:axPos val="b"/>
        <c:numFmt formatCode="yyyy" sourceLinked="0"/>
        <c:majorTickMark val="none"/>
        <c:minorTickMark val="none"/>
        <c:tickLblPos val="low"/>
        <c:spPr>
          <a:noFill/>
          <a:ln w="9525" cap="flat" cmpd="sng" algn="ctr">
            <a:solidFill>
              <a:srgbClr val="000000">
                <a:lumMod val="100000"/>
              </a:srgb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alibri" panose="020F0502020204030204" pitchFamily="34" charset="0"/>
                <a:ea typeface="+mn-ea"/>
                <a:cs typeface="+mn-cs"/>
              </a:defRPr>
            </a:pPr>
            <a:endParaRPr lang="pl-PL"/>
          </a:p>
        </c:txPr>
        <c:crossAx val="880709680"/>
        <c:crosses val="autoZero"/>
        <c:auto val="1"/>
        <c:lblOffset val="100"/>
        <c:baseTimeUnit val="months"/>
        <c:majorUnit val="12"/>
        <c:majorTimeUnit val="months"/>
      </c:dateAx>
      <c:valAx>
        <c:axId val="880709680"/>
        <c:scaling>
          <c:orientation val="minMax"/>
        </c:scaling>
        <c:delete val="0"/>
        <c:axPos val="l"/>
        <c:numFmt formatCode="General" sourceLinked="0"/>
        <c:majorTickMark val="out"/>
        <c:minorTickMark val="none"/>
        <c:tickLblPos val="nextTo"/>
        <c:spPr>
          <a:noFill/>
          <a:ln>
            <a:solidFill>
              <a:srgbClr val="000000">
                <a:lumMod val="100000"/>
              </a:srgbClr>
            </a:solidFill>
          </a:ln>
          <a:effectLst/>
        </c:spPr>
        <c:txPr>
          <a:bodyPr rot="-60000000" spcFirstLastPara="1" vertOverflow="ellipsis" vert="horz" wrap="square" anchor="ctr" anchorCtr="1"/>
          <a:lstStyle/>
          <a:p>
            <a:pPr>
              <a:defRPr sz="1600" b="0" i="0" u="none" strike="noStrike" kern="1200" baseline="0">
                <a:solidFill>
                  <a:schemeClr val="tx1"/>
                </a:solidFill>
                <a:latin typeface="Calibri" panose="020F0502020204030204" pitchFamily="34" charset="0"/>
                <a:ea typeface="+mn-ea"/>
                <a:cs typeface="+mn-cs"/>
              </a:defRPr>
            </a:pPr>
            <a:endParaRPr lang="pl-PL"/>
          </a:p>
        </c:txPr>
        <c:crossAx val="880715920"/>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600">
          <a:solidFill>
            <a:schemeClr val="tx1"/>
          </a:solidFill>
          <a:latin typeface="Calibri" panose="020F0502020204030204" pitchFamily="34" charset="0"/>
        </a:defRPr>
      </a:pPr>
      <a:endParaRPr lang="pl-P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754095997536342"/>
          <c:y val="0.11854437586047678"/>
          <c:w val="0.19507071554234906"/>
          <c:h val="0.83612595871268947"/>
        </c:manualLayout>
      </c:layout>
      <c:barChart>
        <c:barDir val="bar"/>
        <c:grouping val="clustered"/>
        <c:varyColors val="0"/>
        <c:ser>
          <c:idx val="0"/>
          <c:order val="0"/>
          <c:tx>
            <c:strRef>
              <c:f>Arkusz1!$B$1</c:f>
              <c:strCache>
                <c:ptCount val="1"/>
                <c:pt idx="0">
                  <c:v>Seria 1</c:v>
                </c:pt>
              </c:strCache>
            </c:strRef>
          </c:tx>
          <c:spPr>
            <a:solidFill>
              <a:srgbClr val="C00000"/>
            </a:solidFill>
            <a:ln>
              <a:noFill/>
            </a:ln>
            <a:effectLst/>
          </c:spPr>
          <c:invertIfNegative val="0"/>
          <c:dPt>
            <c:idx val="1"/>
            <c:invertIfNegative val="0"/>
            <c:bubble3D val="0"/>
            <c:spPr>
              <a:solidFill>
                <a:srgbClr val="C00000">
                  <a:alpha val="75000"/>
                </a:srgbClr>
              </a:solidFill>
              <a:ln>
                <a:noFill/>
              </a:ln>
              <a:effectLst/>
            </c:spPr>
            <c:extLst>
              <c:ext xmlns:c16="http://schemas.microsoft.com/office/drawing/2014/chart" uri="{C3380CC4-5D6E-409C-BE32-E72D297353CC}">
                <c16:uniqueId val="{00000001-26EB-499A-B7D4-D0DE91EF32F9}"/>
              </c:ext>
            </c:extLst>
          </c:dPt>
          <c:dPt>
            <c:idx val="2"/>
            <c:invertIfNegative val="0"/>
            <c:bubble3D val="0"/>
            <c:spPr>
              <a:solidFill>
                <a:srgbClr val="C00000">
                  <a:alpha val="75000"/>
                </a:srgbClr>
              </a:solidFill>
              <a:ln>
                <a:noFill/>
              </a:ln>
              <a:effectLst/>
            </c:spPr>
            <c:extLst>
              <c:ext xmlns:c16="http://schemas.microsoft.com/office/drawing/2014/chart" uri="{C3380CC4-5D6E-409C-BE32-E72D297353CC}">
                <c16:uniqueId val="{00000003-26EB-499A-B7D4-D0DE91EF32F9}"/>
              </c:ext>
            </c:extLst>
          </c:dPt>
          <c:dPt>
            <c:idx val="3"/>
            <c:invertIfNegative val="0"/>
            <c:bubble3D val="0"/>
            <c:spPr>
              <a:solidFill>
                <a:srgbClr val="D04040"/>
              </a:solidFill>
              <a:ln>
                <a:noFill/>
              </a:ln>
              <a:effectLst/>
            </c:spPr>
            <c:extLst>
              <c:ext xmlns:c16="http://schemas.microsoft.com/office/drawing/2014/chart" uri="{C3380CC4-5D6E-409C-BE32-E72D297353CC}">
                <c16:uniqueId val="{00000005-26EB-499A-B7D4-D0DE91EF32F9}"/>
              </c:ext>
            </c:extLst>
          </c:dPt>
          <c:dPt>
            <c:idx val="4"/>
            <c:invertIfNegative val="0"/>
            <c:bubble3D val="0"/>
            <c:spPr>
              <a:solidFill>
                <a:srgbClr val="C00000">
                  <a:alpha val="50000"/>
                </a:srgbClr>
              </a:solidFill>
              <a:ln>
                <a:noFill/>
              </a:ln>
              <a:effectLst/>
            </c:spPr>
            <c:extLst>
              <c:ext xmlns:c16="http://schemas.microsoft.com/office/drawing/2014/chart" uri="{C3380CC4-5D6E-409C-BE32-E72D297353CC}">
                <c16:uniqueId val="{00000007-26EB-499A-B7D4-D0DE91EF32F9}"/>
              </c:ext>
            </c:extLst>
          </c:dPt>
          <c:dPt>
            <c:idx val="5"/>
            <c:invertIfNegative val="0"/>
            <c:bubble3D val="0"/>
            <c:spPr>
              <a:solidFill>
                <a:srgbClr val="C00000">
                  <a:alpha val="50000"/>
                </a:srgbClr>
              </a:solidFill>
              <a:ln>
                <a:noFill/>
              </a:ln>
              <a:effectLst/>
            </c:spPr>
            <c:extLst>
              <c:ext xmlns:c16="http://schemas.microsoft.com/office/drawing/2014/chart" uri="{C3380CC4-5D6E-409C-BE32-E72D297353CC}">
                <c16:uniqueId val="{00000009-26EB-499A-B7D4-D0DE91EF32F9}"/>
              </c:ext>
            </c:extLst>
          </c:dPt>
          <c:dPt>
            <c:idx val="6"/>
            <c:invertIfNegative val="0"/>
            <c:bubble3D val="0"/>
            <c:spPr>
              <a:solidFill>
                <a:srgbClr val="C00000">
                  <a:alpha val="25000"/>
                </a:srgbClr>
              </a:solidFill>
              <a:ln>
                <a:noFill/>
              </a:ln>
              <a:effectLst/>
            </c:spPr>
            <c:extLst>
              <c:ext xmlns:c16="http://schemas.microsoft.com/office/drawing/2014/chart" uri="{C3380CC4-5D6E-409C-BE32-E72D297353CC}">
                <c16:uniqueId val="{0000000B-26EB-499A-B7D4-D0DE91EF32F9}"/>
              </c:ext>
            </c:extLst>
          </c:dPt>
          <c:dPt>
            <c:idx val="7"/>
            <c:invertIfNegative val="0"/>
            <c:bubble3D val="0"/>
            <c:spPr>
              <a:solidFill>
                <a:srgbClr val="C00000">
                  <a:alpha val="25000"/>
                </a:srgbClr>
              </a:solidFill>
              <a:ln>
                <a:noFill/>
              </a:ln>
              <a:effectLst/>
            </c:spPr>
            <c:extLst>
              <c:ext xmlns:c16="http://schemas.microsoft.com/office/drawing/2014/chart" uri="{C3380CC4-5D6E-409C-BE32-E72D297353CC}">
                <c16:uniqueId val="{0000000D-26EB-499A-B7D4-D0DE91EF32F9}"/>
              </c:ext>
            </c:extLst>
          </c:dPt>
          <c:dPt>
            <c:idx val="8"/>
            <c:invertIfNegative val="0"/>
            <c:bubble3D val="0"/>
            <c:spPr>
              <a:solidFill>
                <a:srgbClr val="C00000">
                  <a:alpha val="25000"/>
                </a:srgbClr>
              </a:solidFill>
              <a:ln>
                <a:noFill/>
              </a:ln>
              <a:effectLst/>
            </c:spPr>
            <c:extLst>
              <c:ext xmlns:c16="http://schemas.microsoft.com/office/drawing/2014/chart" uri="{C3380CC4-5D6E-409C-BE32-E72D297353CC}">
                <c16:uniqueId val="{0000000F-26EB-499A-B7D4-D0DE91EF32F9}"/>
              </c:ext>
            </c:extLst>
          </c:dPt>
          <c:dPt>
            <c:idx val="9"/>
            <c:invertIfNegative val="0"/>
            <c:bubble3D val="0"/>
            <c:spPr>
              <a:solidFill>
                <a:srgbClr val="D04040"/>
              </a:solidFill>
              <a:ln>
                <a:noFill/>
              </a:ln>
              <a:effectLst/>
            </c:spPr>
            <c:extLst>
              <c:ext xmlns:c16="http://schemas.microsoft.com/office/drawing/2014/chart" uri="{C3380CC4-5D6E-409C-BE32-E72D297353CC}">
                <c16:uniqueId val="{00000011-26EB-499A-B7D4-D0DE91EF32F9}"/>
              </c:ext>
            </c:extLst>
          </c:dPt>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11</c:f>
              <c:strCache>
                <c:ptCount val="10"/>
                <c:pt idx="0">
                  <c:v>maszyny, urządzenia</c:v>
                </c:pt>
                <c:pt idx="1">
                  <c:v>art.. Rolno-spożywcze</c:v>
                </c:pt>
                <c:pt idx="2">
                  <c:v>pojazdy</c:v>
                </c:pt>
                <c:pt idx="3">
                  <c:v>metale, wyr. metalowe</c:v>
                </c:pt>
                <c:pt idx="4">
                  <c:v>prod. Chemiczne</c:v>
                </c:pt>
                <c:pt idx="5">
                  <c:v>wyr. z tw. Sztucz.</c:v>
                </c:pt>
                <c:pt idx="6">
                  <c:v>wyr. włókiennicze</c:v>
                </c:pt>
                <c:pt idx="7">
                  <c:v>produkty mineralne</c:v>
                </c:pt>
                <c:pt idx="8">
                  <c:v>papier, celuloza</c:v>
                </c:pt>
                <c:pt idx="9">
                  <c:v>pozostałe</c:v>
                </c:pt>
              </c:strCache>
            </c:strRef>
          </c:cat>
          <c:val>
            <c:numRef>
              <c:f>Arkusz1!$B$2:$B$11</c:f>
              <c:numCache>
                <c:formatCode>_-* #\ ##0_-;\-* #\ ##0_-;_-* "-"??_-;_-@_-</c:formatCode>
                <c:ptCount val="10"/>
                <c:pt idx="0">
                  <c:v>87.061601715999998</c:v>
                </c:pt>
                <c:pt idx="1">
                  <c:v>47.648488078</c:v>
                </c:pt>
                <c:pt idx="2">
                  <c:v>37.232676116999997</c:v>
                </c:pt>
                <c:pt idx="3">
                  <c:v>35.318822326000003</c:v>
                </c:pt>
                <c:pt idx="4">
                  <c:v>25.749762533999998</c:v>
                </c:pt>
                <c:pt idx="5">
                  <c:v>23.586386757</c:v>
                </c:pt>
                <c:pt idx="6">
                  <c:v>14.379554003999999</c:v>
                </c:pt>
                <c:pt idx="7">
                  <c:v>13.424036485</c:v>
                </c:pt>
                <c:pt idx="8">
                  <c:v>9.3286626389999991</c:v>
                </c:pt>
                <c:pt idx="9">
                  <c:v>50.097174394</c:v>
                </c:pt>
              </c:numCache>
            </c:numRef>
          </c:val>
          <c:extLst>
            <c:ext xmlns:c16="http://schemas.microsoft.com/office/drawing/2014/chart" uri="{C3380CC4-5D6E-409C-BE32-E72D297353CC}">
              <c16:uniqueId val="{00000012-26EB-499A-B7D4-D0DE91EF32F9}"/>
            </c:ext>
          </c:extLst>
        </c:ser>
        <c:dLbls>
          <c:showLegendKey val="0"/>
          <c:showVal val="0"/>
          <c:showCatName val="0"/>
          <c:showSerName val="0"/>
          <c:showPercent val="0"/>
          <c:showBubbleSize val="0"/>
        </c:dLbls>
        <c:gapWidth val="70"/>
        <c:axId val="1706851839"/>
        <c:axId val="1706840191"/>
      </c:barChart>
      <c:catAx>
        <c:axId val="1706851839"/>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pl-PL"/>
          </a:p>
        </c:txPr>
        <c:crossAx val="1706840191"/>
        <c:crosses val="autoZero"/>
        <c:auto val="1"/>
        <c:lblAlgn val="ctr"/>
        <c:lblOffset val="100"/>
        <c:noMultiLvlLbl val="0"/>
      </c:catAx>
      <c:valAx>
        <c:axId val="1706840191"/>
        <c:scaling>
          <c:orientation val="minMax"/>
        </c:scaling>
        <c:delete val="1"/>
        <c:axPos val="t"/>
        <c:numFmt formatCode="_-* #\ ##0_-;\-* #\ ##0_-;_-* &quot;-&quot;??_-;_-@_-" sourceLinked="1"/>
        <c:majorTickMark val="none"/>
        <c:minorTickMark val="none"/>
        <c:tickLblPos val="nextTo"/>
        <c:crossAx val="17068518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pl-P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58571841967473"/>
          <c:y val="0.18602498978756296"/>
          <c:w val="0.82876141819001115"/>
          <c:h val="0.55100028741183293"/>
        </c:manualLayout>
      </c:layout>
      <c:barChart>
        <c:barDir val="col"/>
        <c:grouping val="stacked"/>
        <c:varyColors val="0"/>
        <c:ser>
          <c:idx val="0"/>
          <c:order val="0"/>
          <c:tx>
            <c:strRef>
              <c:f>Arkusz1!$B$1</c:f>
              <c:strCache>
                <c:ptCount val="1"/>
                <c:pt idx="0">
                  <c:v>EU27 + UK</c:v>
                </c:pt>
              </c:strCache>
            </c:strRef>
          </c:tx>
          <c:spPr>
            <a:solidFill>
              <a:srgbClr val="002060"/>
            </a:solidFill>
            <a:ln>
              <a:solidFill>
                <a:schemeClr val="bg1"/>
              </a:solidFill>
            </a:ln>
            <a:effectLst/>
          </c:spPr>
          <c:invertIfNegative val="0"/>
          <c:cat>
            <c:numRef>
              <c:f>Arkusz1!$A$2:$A$8</c:f>
              <c:numCache>
                <c:formatCode>General</c:formatCode>
                <c:ptCount val="7"/>
                <c:pt idx="0">
                  <c:v>2004</c:v>
                </c:pt>
                <c:pt idx="1">
                  <c:v>2007</c:v>
                </c:pt>
                <c:pt idx="2">
                  <c:v>2010</c:v>
                </c:pt>
                <c:pt idx="3">
                  <c:v>2013</c:v>
                </c:pt>
                <c:pt idx="4">
                  <c:v>2016</c:v>
                </c:pt>
                <c:pt idx="5">
                  <c:v>2019</c:v>
                </c:pt>
                <c:pt idx="6">
                  <c:v>2022</c:v>
                </c:pt>
              </c:numCache>
            </c:numRef>
          </c:cat>
          <c:val>
            <c:numRef>
              <c:f>Arkusz1!$B$2:$B$8</c:f>
              <c:numCache>
                <c:formatCode>_-* #\ ##0_-;\-* #\ ##0_-;_-* "-"??_-;_-@_-</c:formatCode>
                <c:ptCount val="7"/>
                <c:pt idx="0" formatCode="0">
                  <c:v>48.150702723000002</c:v>
                </c:pt>
                <c:pt idx="1">
                  <c:v>80.664930781999999</c:v>
                </c:pt>
                <c:pt idx="2">
                  <c:v>95.513612511999995</c:v>
                </c:pt>
                <c:pt idx="3">
                  <c:v>116.128365395</c:v>
                </c:pt>
                <c:pt idx="4">
                  <c:v>147.51094163400001</c:v>
                </c:pt>
                <c:pt idx="5">
                  <c:v>190.240084408</c:v>
                </c:pt>
                <c:pt idx="6">
                  <c:v>276.30053402800002</c:v>
                </c:pt>
              </c:numCache>
            </c:numRef>
          </c:val>
          <c:extLst>
            <c:ext xmlns:c16="http://schemas.microsoft.com/office/drawing/2014/chart" uri="{C3380CC4-5D6E-409C-BE32-E72D297353CC}">
              <c16:uniqueId val="{00000000-DAD9-4FAA-BC13-7FFCD6617DC7}"/>
            </c:ext>
          </c:extLst>
        </c:ser>
        <c:ser>
          <c:idx val="1"/>
          <c:order val="1"/>
          <c:tx>
            <c:strRef>
              <c:f>Arkusz1!$C$1</c:f>
              <c:strCache>
                <c:ptCount val="1"/>
                <c:pt idx="0">
                  <c:v>other</c:v>
                </c:pt>
              </c:strCache>
            </c:strRef>
          </c:tx>
          <c:spPr>
            <a:solidFill>
              <a:schemeClr val="accent5">
                <a:lumMod val="60000"/>
                <a:lumOff val="40000"/>
              </a:schemeClr>
            </a:solidFill>
            <a:ln>
              <a:solidFill>
                <a:schemeClr val="bg1"/>
              </a:solidFill>
            </a:ln>
            <a:effectLst/>
          </c:spPr>
          <c:invertIfNegative val="0"/>
          <c:cat>
            <c:numRef>
              <c:f>Arkusz1!$A$2:$A$8</c:f>
              <c:numCache>
                <c:formatCode>General</c:formatCode>
                <c:ptCount val="7"/>
                <c:pt idx="0">
                  <c:v>2004</c:v>
                </c:pt>
                <c:pt idx="1">
                  <c:v>2007</c:v>
                </c:pt>
                <c:pt idx="2">
                  <c:v>2010</c:v>
                </c:pt>
                <c:pt idx="3">
                  <c:v>2013</c:v>
                </c:pt>
                <c:pt idx="4">
                  <c:v>2016</c:v>
                </c:pt>
                <c:pt idx="5">
                  <c:v>2019</c:v>
                </c:pt>
                <c:pt idx="6">
                  <c:v>2022</c:v>
                </c:pt>
              </c:numCache>
            </c:numRef>
          </c:cat>
          <c:val>
            <c:numRef>
              <c:f>Arkusz1!$C$2:$C$8</c:f>
              <c:numCache>
                <c:formatCode>_-* #\ ##0_-;\-* #\ ##0_-;_-* "-"??_-;_-@_-</c:formatCode>
                <c:ptCount val="7"/>
                <c:pt idx="0" formatCode="0">
                  <c:v>11.547248109</c:v>
                </c:pt>
                <c:pt idx="1">
                  <c:v>21.173719489</c:v>
                </c:pt>
                <c:pt idx="2">
                  <c:v>24.859445609000002</c:v>
                </c:pt>
                <c:pt idx="3">
                  <c:v>38.865598548999998</c:v>
                </c:pt>
                <c:pt idx="4">
                  <c:v>37.331942896000001</c:v>
                </c:pt>
                <c:pt idx="5">
                  <c:v>47.907386842000001</c:v>
                </c:pt>
                <c:pt idx="6">
                  <c:v>67.526631022000004</c:v>
                </c:pt>
              </c:numCache>
            </c:numRef>
          </c:val>
          <c:extLst>
            <c:ext xmlns:c16="http://schemas.microsoft.com/office/drawing/2014/chart" uri="{C3380CC4-5D6E-409C-BE32-E72D297353CC}">
              <c16:uniqueId val="{00000001-DAD9-4FAA-BC13-7FFCD6617DC7}"/>
            </c:ext>
          </c:extLst>
        </c:ser>
        <c:ser>
          <c:idx val="2"/>
          <c:order val="2"/>
          <c:tx>
            <c:strRef>
              <c:f>Arkusz1!$D$1</c:f>
              <c:strCache>
                <c:ptCount val="1"/>
                <c:pt idx="0">
                  <c:v>Seria 3</c:v>
                </c:pt>
              </c:strCache>
            </c:strRef>
          </c:tx>
          <c:spPr>
            <a:noFill/>
            <a:ln>
              <a:noFill/>
            </a:ln>
            <a:effectLst/>
          </c:spPr>
          <c:invertIfNegative val="0"/>
          <c:dLbls>
            <c:dLbl>
              <c:idx val="0"/>
              <c:layout>
                <c:manualLayout>
                  <c:x val="0"/>
                  <c:y val="-4.9865167727577561E-3"/>
                </c:manualLayout>
              </c:layout>
              <c:tx>
                <c:rich>
                  <a:bodyPr/>
                  <a:lstStyle/>
                  <a:p>
                    <a:r>
                      <a:rPr lang="en-US"/>
                      <a:t>60</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A67-4D61-8496-A86774F91040}"/>
                </c:ext>
              </c:extLst>
            </c:dLbl>
            <c:dLbl>
              <c:idx val="1"/>
              <c:tx>
                <c:rich>
                  <a:bodyPr/>
                  <a:lstStyle/>
                  <a:p>
                    <a:r>
                      <a:rPr lang="en-US"/>
                      <a:t>1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A67-4D61-8496-A86774F91040}"/>
                </c:ext>
              </c:extLst>
            </c:dLbl>
            <c:dLbl>
              <c:idx val="2"/>
              <c:tx>
                <c:rich>
                  <a:bodyPr/>
                  <a:lstStyle/>
                  <a:p>
                    <a:r>
                      <a:rPr lang="en-US"/>
                      <a:t>120</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A67-4D61-8496-A86774F91040}"/>
                </c:ext>
              </c:extLst>
            </c:dLbl>
            <c:dLbl>
              <c:idx val="3"/>
              <c:tx>
                <c:rich>
                  <a:bodyPr/>
                  <a:lstStyle/>
                  <a:p>
                    <a:r>
                      <a:rPr lang="en-US"/>
                      <a:t>1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A67-4D61-8496-A86774F91040}"/>
                </c:ext>
              </c:extLst>
            </c:dLbl>
            <c:dLbl>
              <c:idx val="4"/>
              <c:tx>
                <c:rich>
                  <a:bodyPr/>
                  <a:lstStyle/>
                  <a:p>
                    <a:r>
                      <a:rPr lang="en-US"/>
                      <a:t>185</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A67-4D61-8496-A86774F91040}"/>
                </c:ext>
              </c:extLst>
            </c:dLbl>
            <c:dLbl>
              <c:idx val="5"/>
              <c:tx>
                <c:rich>
                  <a:bodyPr/>
                  <a:lstStyle/>
                  <a:p>
                    <a:r>
                      <a:rPr lang="en-US"/>
                      <a:t>238</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A67-4D61-8496-A86774F91040}"/>
                </c:ext>
              </c:extLst>
            </c:dLbl>
            <c:dLbl>
              <c:idx val="6"/>
              <c:tx>
                <c:rich>
                  <a:bodyPr/>
                  <a:lstStyle/>
                  <a:p>
                    <a:r>
                      <a:rPr lang="en-US"/>
                      <a:t>344</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A67-4D61-8496-A86774F910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Arial" panose="020B0604020202020204" pitchFamily="34" charset="0"/>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usz1!$A$2:$A$8</c:f>
              <c:numCache>
                <c:formatCode>General</c:formatCode>
                <c:ptCount val="7"/>
                <c:pt idx="0">
                  <c:v>2004</c:v>
                </c:pt>
                <c:pt idx="1">
                  <c:v>2007</c:v>
                </c:pt>
                <c:pt idx="2">
                  <c:v>2010</c:v>
                </c:pt>
                <c:pt idx="3">
                  <c:v>2013</c:v>
                </c:pt>
                <c:pt idx="4">
                  <c:v>2016</c:v>
                </c:pt>
                <c:pt idx="5">
                  <c:v>2019</c:v>
                </c:pt>
                <c:pt idx="6">
                  <c:v>2022</c:v>
                </c:pt>
              </c:numCache>
            </c:numRef>
          </c:cat>
          <c:val>
            <c:numRef>
              <c:f>Arkusz1!$D$2:$D$8</c:f>
              <c:numCache>
                <c:formatCode>General</c:formatCode>
                <c:ptCount val="7"/>
                <c:pt idx="0">
                  <c:v>40</c:v>
                </c:pt>
                <c:pt idx="1">
                  <c:v>40</c:v>
                </c:pt>
                <c:pt idx="2">
                  <c:v>40</c:v>
                </c:pt>
                <c:pt idx="3">
                  <c:v>40</c:v>
                </c:pt>
                <c:pt idx="4">
                  <c:v>40</c:v>
                </c:pt>
                <c:pt idx="5">
                  <c:v>40</c:v>
                </c:pt>
                <c:pt idx="6">
                  <c:v>40</c:v>
                </c:pt>
              </c:numCache>
            </c:numRef>
          </c:val>
          <c:extLst>
            <c:ext xmlns:c16="http://schemas.microsoft.com/office/drawing/2014/chart" uri="{C3380CC4-5D6E-409C-BE32-E72D297353CC}">
              <c16:uniqueId val="{00000001-0A67-4D61-8496-A86774F91040}"/>
            </c:ext>
          </c:extLst>
        </c:ser>
        <c:dLbls>
          <c:showLegendKey val="0"/>
          <c:showVal val="0"/>
          <c:showCatName val="0"/>
          <c:showSerName val="0"/>
          <c:showPercent val="0"/>
          <c:showBubbleSize val="0"/>
        </c:dLbls>
        <c:gapWidth val="70"/>
        <c:overlap val="100"/>
        <c:axId val="1697456463"/>
        <c:axId val="1697460623"/>
      </c:barChart>
      <c:catAx>
        <c:axId val="16974564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Arial" panose="020B0604020202020204" pitchFamily="34" charset="0"/>
              </a:defRPr>
            </a:pPr>
            <a:endParaRPr lang="pl-PL"/>
          </a:p>
        </c:txPr>
        <c:crossAx val="1697460623"/>
        <c:crosses val="autoZero"/>
        <c:auto val="1"/>
        <c:lblAlgn val="ctr"/>
        <c:lblOffset val="100"/>
        <c:tickLblSkip val="1"/>
        <c:noMultiLvlLbl val="0"/>
      </c:catAx>
      <c:valAx>
        <c:axId val="1697460623"/>
        <c:scaling>
          <c:orientation val="minMax"/>
          <c:max val="400"/>
        </c:scaling>
        <c:delete val="0"/>
        <c:axPos val="l"/>
        <c:majorGridlines>
          <c:spPr>
            <a:ln w="9525" cap="flat" cmpd="sng" algn="ctr">
              <a:solidFill>
                <a:schemeClr val="bg1">
                  <a:lumMod val="9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Arial" panose="020B0604020202020204" pitchFamily="34" charset="0"/>
              </a:defRPr>
            </a:pPr>
            <a:endParaRPr lang="pl-PL"/>
          </a:p>
        </c:txPr>
        <c:crossAx val="1697456463"/>
        <c:crosses val="autoZero"/>
        <c:crossBetween val="between"/>
      </c:valAx>
      <c:spPr>
        <a:noFill/>
        <a:ln>
          <a:noFill/>
        </a:ln>
        <a:effectLst/>
      </c:spPr>
    </c:plotArea>
    <c:legend>
      <c:legendPos val="t"/>
      <c:layout>
        <c:manualLayout>
          <c:xMode val="edge"/>
          <c:yMode val="edge"/>
          <c:x val="1.8078199075778501E-2"/>
          <c:y val="3.9856796661625182E-3"/>
          <c:w val="0.53112279242238603"/>
          <c:h val="0.1022412626017524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Arial" panose="020B0604020202020204" pitchFamily="34" charset="0"/>
            </a:defRPr>
          </a:pPr>
          <a:endParaRPr lang="pl-P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cs typeface="Arial" panose="020B0604020202020204" pitchFamily="34" charset="0"/>
        </a:defRPr>
      </a:pPr>
      <a:endParaRPr lang="pl-P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754095997536342"/>
          <c:y val="0.11854437586047678"/>
          <c:w val="0.28244544403201449"/>
          <c:h val="0.83612595871268947"/>
        </c:manualLayout>
      </c:layout>
      <c:barChart>
        <c:barDir val="bar"/>
        <c:grouping val="clustered"/>
        <c:varyColors val="0"/>
        <c:ser>
          <c:idx val="0"/>
          <c:order val="0"/>
          <c:tx>
            <c:strRef>
              <c:f>Arkusz1!$B$1</c:f>
              <c:strCache>
                <c:ptCount val="1"/>
                <c:pt idx="0">
                  <c:v>Seria 1</c:v>
                </c:pt>
              </c:strCache>
            </c:strRef>
          </c:tx>
          <c:spPr>
            <a:solidFill>
              <a:srgbClr val="C00000"/>
            </a:solidFill>
            <a:ln>
              <a:noFill/>
            </a:ln>
            <a:effectLst/>
          </c:spPr>
          <c:invertIfNegative val="0"/>
          <c:dPt>
            <c:idx val="1"/>
            <c:invertIfNegative val="0"/>
            <c:bubble3D val="0"/>
            <c:spPr>
              <a:solidFill>
                <a:srgbClr val="C00000">
                  <a:alpha val="75000"/>
                </a:srgbClr>
              </a:solidFill>
              <a:ln>
                <a:noFill/>
              </a:ln>
              <a:effectLst/>
            </c:spPr>
            <c:extLst>
              <c:ext xmlns:c16="http://schemas.microsoft.com/office/drawing/2014/chart" uri="{C3380CC4-5D6E-409C-BE32-E72D297353CC}">
                <c16:uniqueId val="{00000001-1885-4CD6-AB1D-9BFBBB0BAF5D}"/>
              </c:ext>
            </c:extLst>
          </c:dPt>
          <c:dPt>
            <c:idx val="2"/>
            <c:invertIfNegative val="0"/>
            <c:bubble3D val="0"/>
            <c:spPr>
              <a:solidFill>
                <a:srgbClr val="C00000">
                  <a:alpha val="75000"/>
                </a:srgbClr>
              </a:solidFill>
              <a:ln>
                <a:noFill/>
              </a:ln>
              <a:effectLst/>
            </c:spPr>
            <c:extLst>
              <c:ext xmlns:c16="http://schemas.microsoft.com/office/drawing/2014/chart" uri="{C3380CC4-5D6E-409C-BE32-E72D297353CC}">
                <c16:uniqueId val="{00000003-1885-4CD6-AB1D-9BFBBB0BAF5D}"/>
              </c:ext>
            </c:extLst>
          </c:dPt>
          <c:dPt>
            <c:idx val="3"/>
            <c:invertIfNegative val="0"/>
            <c:bubble3D val="0"/>
            <c:spPr>
              <a:solidFill>
                <a:srgbClr val="C00000">
                  <a:alpha val="50000"/>
                </a:srgbClr>
              </a:solidFill>
              <a:ln>
                <a:noFill/>
              </a:ln>
              <a:effectLst/>
            </c:spPr>
            <c:extLst>
              <c:ext xmlns:c16="http://schemas.microsoft.com/office/drawing/2014/chart" uri="{C3380CC4-5D6E-409C-BE32-E72D297353CC}">
                <c16:uniqueId val="{00000005-1885-4CD6-AB1D-9BFBBB0BAF5D}"/>
              </c:ext>
            </c:extLst>
          </c:dPt>
          <c:dPt>
            <c:idx val="4"/>
            <c:invertIfNegative val="0"/>
            <c:bubble3D val="0"/>
            <c:spPr>
              <a:solidFill>
                <a:srgbClr val="C00000">
                  <a:alpha val="50000"/>
                </a:srgbClr>
              </a:solidFill>
              <a:ln>
                <a:noFill/>
              </a:ln>
              <a:effectLst/>
            </c:spPr>
            <c:extLst>
              <c:ext xmlns:c16="http://schemas.microsoft.com/office/drawing/2014/chart" uri="{C3380CC4-5D6E-409C-BE32-E72D297353CC}">
                <c16:uniqueId val="{00000007-1885-4CD6-AB1D-9BFBBB0BAF5D}"/>
              </c:ext>
            </c:extLst>
          </c:dPt>
          <c:dPt>
            <c:idx val="5"/>
            <c:invertIfNegative val="0"/>
            <c:bubble3D val="0"/>
            <c:spPr>
              <a:solidFill>
                <a:srgbClr val="C00000">
                  <a:alpha val="50000"/>
                </a:srgbClr>
              </a:solidFill>
              <a:ln>
                <a:noFill/>
              </a:ln>
              <a:effectLst/>
            </c:spPr>
            <c:extLst>
              <c:ext xmlns:c16="http://schemas.microsoft.com/office/drawing/2014/chart" uri="{C3380CC4-5D6E-409C-BE32-E72D297353CC}">
                <c16:uniqueId val="{00000009-1885-4CD6-AB1D-9BFBBB0BAF5D}"/>
              </c:ext>
            </c:extLst>
          </c:dPt>
          <c:dPt>
            <c:idx val="6"/>
            <c:invertIfNegative val="0"/>
            <c:bubble3D val="0"/>
            <c:spPr>
              <a:solidFill>
                <a:srgbClr val="C00000">
                  <a:alpha val="25000"/>
                </a:srgbClr>
              </a:solidFill>
              <a:ln>
                <a:noFill/>
              </a:ln>
              <a:effectLst/>
            </c:spPr>
            <c:extLst>
              <c:ext xmlns:c16="http://schemas.microsoft.com/office/drawing/2014/chart" uri="{C3380CC4-5D6E-409C-BE32-E72D297353CC}">
                <c16:uniqueId val="{0000000B-1885-4CD6-AB1D-9BFBBB0BAF5D}"/>
              </c:ext>
            </c:extLst>
          </c:dPt>
          <c:dPt>
            <c:idx val="7"/>
            <c:invertIfNegative val="0"/>
            <c:bubble3D val="0"/>
            <c:spPr>
              <a:solidFill>
                <a:srgbClr val="C00000">
                  <a:alpha val="25000"/>
                </a:srgbClr>
              </a:solidFill>
              <a:ln>
                <a:noFill/>
              </a:ln>
              <a:effectLst/>
            </c:spPr>
            <c:extLst>
              <c:ext xmlns:c16="http://schemas.microsoft.com/office/drawing/2014/chart" uri="{C3380CC4-5D6E-409C-BE32-E72D297353CC}">
                <c16:uniqueId val="{0000000D-1885-4CD6-AB1D-9BFBBB0BAF5D}"/>
              </c:ext>
            </c:extLst>
          </c:dPt>
          <c:dPt>
            <c:idx val="8"/>
            <c:invertIfNegative val="0"/>
            <c:bubble3D val="0"/>
            <c:spPr>
              <a:solidFill>
                <a:srgbClr val="C00000">
                  <a:alpha val="25000"/>
                </a:srgbClr>
              </a:solidFill>
              <a:ln>
                <a:noFill/>
              </a:ln>
              <a:effectLst/>
            </c:spPr>
            <c:extLst>
              <c:ext xmlns:c16="http://schemas.microsoft.com/office/drawing/2014/chart" uri="{C3380CC4-5D6E-409C-BE32-E72D297353CC}">
                <c16:uniqueId val="{0000000F-1885-4CD6-AB1D-9BFBBB0BAF5D}"/>
              </c:ext>
            </c:extLst>
          </c:dPt>
          <c:dPt>
            <c:idx val="9"/>
            <c:invertIfNegative val="0"/>
            <c:bubble3D val="0"/>
            <c:spPr>
              <a:solidFill>
                <a:srgbClr val="C00000">
                  <a:alpha val="25000"/>
                </a:srgbClr>
              </a:solidFill>
              <a:ln>
                <a:noFill/>
              </a:ln>
              <a:effectLst/>
            </c:spPr>
            <c:extLst>
              <c:ext xmlns:c16="http://schemas.microsoft.com/office/drawing/2014/chart" uri="{C3380CC4-5D6E-409C-BE32-E72D297353CC}">
                <c16:uniqueId val="{00000011-1885-4CD6-AB1D-9BFBBB0BAF5D}"/>
              </c:ext>
            </c:extLst>
          </c:dPt>
          <c:dLbls>
            <c:dLbl>
              <c:idx val="0"/>
              <c:tx>
                <c:rich>
                  <a:bodyPr/>
                  <a:lstStyle/>
                  <a:p>
                    <a:r>
                      <a:rPr lang="en-US"/>
                      <a:t>96</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885-4CD6-AB1D-9BFBBB0BAF5D}"/>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11</c:f>
              <c:strCache>
                <c:ptCount val="10"/>
                <c:pt idx="0">
                  <c:v>Niemcy</c:v>
                </c:pt>
                <c:pt idx="1">
                  <c:v>Czechy</c:v>
                </c:pt>
                <c:pt idx="2">
                  <c:v>Francja</c:v>
                </c:pt>
                <c:pt idx="3">
                  <c:v>Wielka Brytania</c:v>
                </c:pt>
                <c:pt idx="4">
                  <c:v>Holandia</c:v>
                </c:pt>
                <c:pt idx="5">
                  <c:v>Włochy</c:v>
                </c:pt>
                <c:pt idx="6">
                  <c:v>Stany Zjednoczone</c:v>
                </c:pt>
                <c:pt idx="7">
                  <c:v>Słowacja</c:v>
                </c:pt>
                <c:pt idx="8">
                  <c:v>Ukraina</c:v>
                </c:pt>
                <c:pt idx="9">
                  <c:v>Szwecja</c:v>
                </c:pt>
              </c:strCache>
            </c:strRef>
          </c:cat>
          <c:val>
            <c:numRef>
              <c:f>Arkusz1!$B$2:$B$11</c:f>
              <c:numCache>
                <c:formatCode>_-* #\ ##0_-;\-* #\ ##0_-;_-* "-"??_-;_-@_-</c:formatCode>
                <c:ptCount val="10"/>
                <c:pt idx="0">
                  <c:v>35</c:v>
                </c:pt>
                <c:pt idx="1">
                  <c:v>22.657183258</c:v>
                </c:pt>
                <c:pt idx="2">
                  <c:v>19.662771005</c:v>
                </c:pt>
                <c:pt idx="3">
                  <c:v>16.818679981999999</c:v>
                </c:pt>
                <c:pt idx="4">
                  <c:v>15.843165008</c:v>
                </c:pt>
                <c:pt idx="5">
                  <c:v>15.76420358</c:v>
                </c:pt>
                <c:pt idx="6">
                  <c:v>10.272682827000001</c:v>
                </c:pt>
                <c:pt idx="7">
                  <c:v>9.9247224789999997</c:v>
                </c:pt>
                <c:pt idx="8">
                  <c:v>9.7261728640000005</c:v>
                </c:pt>
                <c:pt idx="9">
                  <c:v>9.1677441880000003</c:v>
                </c:pt>
              </c:numCache>
            </c:numRef>
          </c:val>
          <c:extLst>
            <c:ext xmlns:c16="http://schemas.microsoft.com/office/drawing/2014/chart" uri="{C3380CC4-5D6E-409C-BE32-E72D297353CC}">
              <c16:uniqueId val="{00000013-1885-4CD6-AB1D-9BFBBB0BAF5D}"/>
            </c:ext>
          </c:extLst>
        </c:ser>
        <c:dLbls>
          <c:showLegendKey val="0"/>
          <c:showVal val="0"/>
          <c:showCatName val="0"/>
          <c:showSerName val="0"/>
          <c:showPercent val="0"/>
          <c:showBubbleSize val="0"/>
        </c:dLbls>
        <c:gapWidth val="70"/>
        <c:axId val="1706851839"/>
        <c:axId val="1706840191"/>
      </c:barChart>
      <c:catAx>
        <c:axId val="1706851839"/>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pl-PL"/>
          </a:p>
        </c:txPr>
        <c:crossAx val="1706840191"/>
        <c:crosses val="autoZero"/>
        <c:auto val="1"/>
        <c:lblAlgn val="ctr"/>
        <c:lblOffset val="100"/>
        <c:noMultiLvlLbl val="0"/>
      </c:catAx>
      <c:valAx>
        <c:axId val="1706840191"/>
        <c:scaling>
          <c:orientation val="minMax"/>
        </c:scaling>
        <c:delete val="1"/>
        <c:axPos val="t"/>
        <c:numFmt formatCode="_-* #\ ##0_-;\-* #\ ##0_-;_-* &quot;-&quot;??_-;_-@_-" sourceLinked="1"/>
        <c:majorTickMark val="none"/>
        <c:minorTickMark val="none"/>
        <c:tickLblPos val="nextTo"/>
        <c:crossAx val="17068518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pl-P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754095997536342"/>
          <c:y val="0.11854437586047678"/>
          <c:w val="0.19507071554234906"/>
          <c:h val="0.83612595871268947"/>
        </c:manualLayout>
      </c:layout>
      <c:barChart>
        <c:barDir val="bar"/>
        <c:grouping val="clustered"/>
        <c:varyColors val="0"/>
        <c:ser>
          <c:idx val="0"/>
          <c:order val="0"/>
          <c:tx>
            <c:strRef>
              <c:f>Arkusz1!$B$1</c:f>
              <c:strCache>
                <c:ptCount val="1"/>
                <c:pt idx="0">
                  <c:v>Seria 1</c:v>
                </c:pt>
              </c:strCache>
            </c:strRef>
          </c:tx>
          <c:spPr>
            <a:solidFill>
              <a:srgbClr val="C00000"/>
            </a:solidFill>
            <a:ln>
              <a:noFill/>
            </a:ln>
            <a:effectLst/>
          </c:spPr>
          <c:invertIfNegative val="0"/>
          <c:dPt>
            <c:idx val="1"/>
            <c:invertIfNegative val="0"/>
            <c:bubble3D val="0"/>
            <c:spPr>
              <a:solidFill>
                <a:srgbClr val="C00000">
                  <a:alpha val="75000"/>
                </a:srgbClr>
              </a:solidFill>
              <a:ln>
                <a:noFill/>
              </a:ln>
              <a:effectLst/>
            </c:spPr>
            <c:extLst>
              <c:ext xmlns:c16="http://schemas.microsoft.com/office/drawing/2014/chart" uri="{C3380CC4-5D6E-409C-BE32-E72D297353CC}">
                <c16:uniqueId val="{00000001-26EB-499A-B7D4-D0DE91EF32F9}"/>
              </c:ext>
            </c:extLst>
          </c:dPt>
          <c:dPt>
            <c:idx val="2"/>
            <c:invertIfNegative val="0"/>
            <c:bubble3D val="0"/>
            <c:spPr>
              <a:solidFill>
                <a:srgbClr val="C00000">
                  <a:alpha val="75000"/>
                </a:srgbClr>
              </a:solidFill>
              <a:ln>
                <a:noFill/>
              </a:ln>
              <a:effectLst/>
            </c:spPr>
            <c:extLst>
              <c:ext xmlns:c16="http://schemas.microsoft.com/office/drawing/2014/chart" uri="{C3380CC4-5D6E-409C-BE32-E72D297353CC}">
                <c16:uniqueId val="{00000003-26EB-499A-B7D4-D0DE91EF32F9}"/>
              </c:ext>
            </c:extLst>
          </c:dPt>
          <c:dPt>
            <c:idx val="3"/>
            <c:invertIfNegative val="0"/>
            <c:bubble3D val="0"/>
            <c:spPr>
              <a:solidFill>
                <a:srgbClr val="D04040"/>
              </a:solidFill>
              <a:ln>
                <a:noFill/>
              </a:ln>
              <a:effectLst/>
            </c:spPr>
            <c:extLst>
              <c:ext xmlns:c16="http://schemas.microsoft.com/office/drawing/2014/chart" uri="{C3380CC4-5D6E-409C-BE32-E72D297353CC}">
                <c16:uniqueId val="{00000005-26EB-499A-B7D4-D0DE91EF32F9}"/>
              </c:ext>
            </c:extLst>
          </c:dPt>
          <c:dPt>
            <c:idx val="4"/>
            <c:invertIfNegative val="0"/>
            <c:bubble3D val="0"/>
            <c:spPr>
              <a:solidFill>
                <a:srgbClr val="C00000">
                  <a:alpha val="50000"/>
                </a:srgbClr>
              </a:solidFill>
              <a:ln>
                <a:noFill/>
              </a:ln>
              <a:effectLst/>
            </c:spPr>
            <c:extLst>
              <c:ext xmlns:c16="http://schemas.microsoft.com/office/drawing/2014/chart" uri="{C3380CC4-5D6E-409C-BE32-E72D297353CC}">
                <c16:uniqueId val="{00000007-26EB-499A-B7D4-D0DE91EF32F9}"/>
              </c:ext>
            </c:extLst>
          </c:dPt>
          <c:dPt>
            <c:idx val="5"/>
            <c:invertIfNegative val="0"/>
            <c:bubble3D val="0"/>
            <c:spPr>
              <a:solidFill>
                <a:srgbClr val="C00000">
                  <a:alpha val="50000"/>
                </a:srgbClr>
              </a:solidFill>
              <a:ln>
                <a:noFill/>
              </a:ln>
              <a:effectLst/>
            </c:spPr>
            <c:extLst>
              <c:ext xmlns:c16="http://schemas.microsoft.com/office/drawing/2014/chart" uri="{C3380CC4-5D6E-409C-BE32-E72D297353CC}">
                <c16:uniqueId val="{00000009-26EB-499A-B7D4-D0DE91EF32F9}"/>
              </c:ext>
            </c:extLst>
          </c:dPt>
          <c:dPt>
            <c:idx val="6"/>
            <c:invertIfNegative val="0"/>
            <c:bubble3D val="0"/>
            <c:spPr>
              <a:solidFill>
                <a:srgbClr val="DF7F7F"/>
              </a:solidFill>
              <a:ln>
                <a:noFill/>
              </a:ln>
              <a:effectLst/>
            </c:spPr>
            <c:extLst>
              <c:ext xmlns:c16="http://schemas.microsoft.com/office/drawing/2014/chart" uri="{C3380CC4-5D6E-409C-BE32-E72D297353CC}">
                <c16:uniqueId val="{0000000B-26EB-499A-B7D4-D0DE91EF32F9}"/>
              </c:ext>
            </c:extLst>
          </c:dPt>
          <c:dPt>
            <c:idx val="7"/>
            <c:invertIfNegative val="0"/>
            <c:bubble3D val="0"/>
            <c:spPr>
              <a:solidFill>
                <a:srgbClr val="C00000">
                  <a:alpha val="25000"/>
                </a:srgbClr>
              </a:solidFill>
              <a:ln>
                <a:noFill/>
              </a:ln>
              <a:effectLst/>
            </c:spPr>
            <c:extLst>
              <c:ext xmlns:c16="http://schemas.microsoft.com/office/drawing/2014/chart" uri="{C3380CC4-5D6E-409C-BE32-E72D297353CC}">
                <c16:uniqueId val="{0000000D-26EB-499A-B7D4-D0DE91EF32F9}"/>
              </c:ext>
            </c:extLst>
          </c:dPt>
          <c:dPt>
            <c:idx val="8"/>
            <c:invertIfNegative val="0"/>
            <c:bubble3D val="0"/>
            <c:spPr>
              <a:solidFill>
                <a:srgbClr val="C00000">
                  <a:alpha val="25000"/>
                </a:srgbClr>
              </a:solidFill>
              <a:ln>
                <a:noFill/>
              </a:ln>
              <a:effectLst/>
            </c:spPr>
            <c:extLst>
              <c:ext xmlns:c16="http://schemas.microsoft.com/office/drawing/2014/chart" uri="{C3380CC4-5D6E-409C-BE32-E72D297353CC}">
                <c16:uniqueId val="{0000000F-26EB-499A-B7D4-D0DE91EF32F9}"/>
              </c:ext>
            </c:extLst>
          </c:dPt>
          <c:dPt>
            <c:idx val="9"/>
            <c:invertIfNegative val="0"/>
            <c:bubble3D val="0"/>
            <c:spPr>
              <a:solidFill>
                <a:srgbClr val="DF7F7F"/>
              </a:solidFill>
              <a:ln>
                <a:noFill/>
              </a:ln>
              <a:effectLst/>
            </c:spPr>
            <c:extLst>
              <c:ext xmlns:c16="http://schemas.microsoft.com/office/drawing/2014/chart" uri="{C3380CC4-5D6E-409C-BE32-E72D297353CC}">
                <c16:uniqueId val="{00000011-26EB-499A-B7D4-D0DE91EF32F9}"/>
              </c:ext>
            </c:extLst>
          </c:dPt>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11</c:f>
              <c:strCache>
                <c:ptCount val="10"/>
                <c:pt idx="0">
                  <c:v>manufacturing</c:v>
                </c:pt>
                <c:pt idx="1">
                  <c:v>trade</c:v>
                </c:pt>
                <c:pt idx="2">
                  <c:v>financial act.</c:v>
                </c:pt>
                <c:pt idx="3">
                  <c:v>real estate act.</c:v>
                </c:pt>
                <c:pt idx="4">
                  <c:v>proffesional act.</c:v>
                </c:pt>
                <c:pt idx="5">
                  <c:v>ict act.</c:v>
                </c:pt>
                <c:pt idx="6">
                  <c:v>construction</c:v>
                </c:pt>
                <c:pt idx="7">
                  <c:v>electricity, gas supply</c:v>
                </c:pt>
                <c:pt idx="8">
                  <c:v>transportation, storage</c:v>
                </c:pt>
                <c:pt idx="9">
                  <c:v>other</c:v>
                </c:pt>
              </c:strCache>
            </c:strRef>
          </c:cat>
          <c:val>
            <c:numRef>
              <c:f>Arkusz1!$B$2:$B$11</c:f>
              <c:numCache>
                <c:formatCode>0</c:formatCode>
                <c:ptCount val="10"/>
                <c:pt idx="0">
                  <c:v>74.805999999999997</c:v>
                </c:pt>
                <c:pt idx="1">
                  <c:v>35.503800000000005</c:v>
                </c:pt>
                <c:pt idx="2">
                  <c:v>33.993199999999995</c:v>
                </c:pt>
                <c:pt idx="3">
                  <c:v>25.0047</c:v>
                </c:pt>
                <c:pt idx="4">
                  <c:v>20.282900000000001</c:v>
                </c:pt>
                <c:pt idx="5">
                  <c:v>14.745899999999999</c:v>
                </c:pt>
                <c:pt idx="6">
                  <c:v>12.0167</c:v>
                </c:pt>
                <c:pt idx="7">
                  <c:v>7.0454999999999997</c:v>
                </c:pt>
                <c:pt idx="8">
                  <c:v>3.7805999999999997</c:v>
                </c:pt>
                <c:pt idx="9">
                  <c:v>11.790400000000005</c:v>
                </c:pt>
              </c:numCache>
            </c:numRef>
          </c:val>
          <c:extLst>
            <c:ext xmlns:c16="http://schemas.microsoft.com/office/drawing/2014/chart" uri="{C3380CC4-5D6E-409C-BE32-E72D297353CC}">
              <c16:uniqueId val="{00000012-26EB-499A-B7D4-D0DE91EF32F9}"/>
            </c:ext>
          </c:extLst>
        </c:ser>
        <c:dLbls>
          <c:showLegendKey val="0"/>
          <c:showVal val="0"/>
          <c:showCatName val="0"/>
          <c:showSerName val="0"/>
          <c:showPercent val="0"/>
          <c:showBubbleSize val="0"/>
        </c:dLbls>
        <c:gapWidth val="70"/>
        <c:axId val="1706851839"/>
        <c:axId val="1706840191"/>
      </c:barChart>
      <c:catAx>
        <c:axId val="1706851839"/>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pl-PL"/>
          </a:p>
        </c:txPr>
        <c:crossAx val="1706840191"/>
        <c:crosses val="autoZero"/>
        <c:auto val="1"/>
        <c:lblAlgn val="ctr"/>
        <c:lblOffset val="100"/>
        <c:noMultiLvlLbl val="0"/>
      </c:catAx>
      <c:valAx>
        <c:axId val="1706840191"/>
        <c:scaling>
          <c:orientation val="minMax"/>
        </c:scaling>
        <c:delete val="1"/>
        <c:axPos val="t"/>
        <c:numFmt formatCode="0" sourceLinked="1"/>
        <c:majorTickMark val="none"/>
        <c:minorTickMark val="none"/>
        <c:tickLblPos val="nextTo"/>
        <c:crossAx val="17068518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pl-P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754095997536342"/>
          <c:y val="0.11854437586047678"/>
          <c:w val="0.22003492368225347"/>
          <c:h val="0.83612595871268947"/>
        </c:manualLayout>
      </c:layout>
      <c:barChart>
        <c:barDir val="bar"/>
        <c:grouping val="clustered"/>
        <c:varyColors val="0"/>
        <c:ser>
          <c:idx val="0"/>
          <c:order val="0"/>
          <c:tx>
            <c:strRef>
              <c:f>Arkusz1!$B$1</c:f>
              <c:strCache>
                <c:ptCount val="1"/>
                <c:pt idx="0">
                  <c:v>Seria 1</c:v>
                </c:pt>
              </c:strCache>
            </c:strRef>
          </c:tx>
          <c:spPr>
            <a:solidFill>
              <a:srgbClr val="C00000"/>
            </a:solidFill>
            <a:ln>
              <a:noFill/>
            </a:ln>
            <a:effectLst/>
          </c:spPr>
          <c:invertIfNegative val="0"/>
          <c:dPt>
            <c:idx val="1"/>
            <c:invertIfNegative val="0"/>
            <c:bubble3D val="0"/>
            <c:spPr>
              <a:solidFill>
                <a:srgbClr val="C00000">
                  <a:alpha val="75000"/>
                </a:srgbClr>
              </a:solidFill>
              <a:ln>
                <a:noFill/>
              </a:ln>
              <a:effectLst/>
            </c:spPr>
            <c:extLst>
              <c:ext xmlns:c16="http://schemas.microsoft.com/office/drawing/2014/chart" uri="{C3380CC4-5D6E-409C-BE32-E72D297353CC}">
                <c16:uniqueId val="{00000001-1885-4CD6-AB1D-9BFBBB0BAF5D}"/>
              </c:ext>
            </c:extLst>
          </c:dPt>
          <c:dPt>
            <c:idx val="2"/>
            <c:invertIfNegative val="0"/>
            <c:bubble3D val="0"/>
            <c:spPr>
              <a:solidFill>
                <a:srgbClr val="C00000">
                  <a:alpha val="75000"/>
                </a:srgbClr>
              </a:solidFill>
              <a:ln>
                <a:noFill/>
              </a:ln>
              <a:effectLst/>
            </c:spPr>
            <c:extLst>
              <c:ext xmlns:c16="http://schemas.microsoft.com/office/drawing/2014/chart" uri="{C3380CC4-5D6E-409C-BE32-E72D297353CC}">
                <c16:uniqueId val="{00000003-1885-4CD6-AB1D-9BFBBB0BAF5D}"/>
              </c:ext>
            </c:extLst>
          </c:dPt>
          <c:dPt>
            <c:idx val="3"/>
            <c:invertIfNegative val="0"/>
            <c:bubble3D val="0"/>
            <c:spPr>
              <a:solidFill>
                <a:srgbClr val="C00000">
                  <a:alpha val="50000"/>
                </a:srgbClr>
              </a:solidFill>
              <a:ln>
                <a:noFill/>
              </a:ln>
              <a:effectLst/>
            </c:spPr>
            <c:extLst>
              <c:ext xmlns:c16="http://schemas.microsoft.com/office/drawing/2014/chart" uri="{C3380CC4-5D6E-409C-BE32-E72D297353CC}">
                <c16:uniqueId val="{00000005-1885-4CD6-AB1D-9BFBBB0BAF5D}"/>
              </c:ext>
            </c:extLst>
          </c:dPt>
          <c:dPt>
            <c:idx val="4"/>
            <c:invertIfNegative val="0"/>
            <c:bubble3D val="0"/>
            <c:spPr>
              <a:solidFill>
                <a:srgbClr val="C00000">
                  <a:alpha val="50000"/>
                </a:srgbClr>
              </a:solidFill>
              <a:ln>
                <a:noFill/>
              </a:ln>
              <a:effectLst/>
            </c:spPr>
            <c:extLst>
              <c:ext xmlns:c16="http://schemas.microsoft.com/office/drawing/2014/chart" uri="{C3380CC4-5D6E-409C-BE32-E72D297353CC}">
                <c16:uniqueId val="{00000007-1885-4CD6-AB1D-9BFBBB0BAF5D}"/>
              </c:ext>
            </c:extLst>
          </c:dPt>
          <c:dPt>
            <c:idx val="5"/>
            <c:invertIfNegative val="0"/>
            <c:bubble3D val="0"/>
            <c:spPr>
              <a:solidFill>
                <a:srgbClr val="C00000">
                  <a:alpha val="50000"/>
                </a:srgbClr>
              </a:solidFill>
              <a:ln>
                <a:noFill/>
              </a:ln>
              <a:effectLst/>
            </c:spPr>
            <c:extLst>
              <c:ext xmlns:c16="http://schemas.microsoft.com/office/drawing/2014/chart" uri="{C3380CC4-5D6E-409C-BE32-E72D297353CC}">
                <c16:uniqueId val="{00000009-1885-4CD6-AB1D-9BFBBB0BAF5D}"/>
              </c:ext>
            </c:extLst>
          </c:dPt>
          <c:dPt>
            <c:idx val="6"/>
            <c:invertIfNegative val="0"/>
            <c:bubble3D val="0"/>
            <c:spPr>
              <a:solidFill>
                <a:srgbClr val="C00000">
                  <a:alpha val="25000"/>
                </a:srgbClr>
              </a:solidFill>
              <a:ln>
                <a:noFill/>
              </a:ln>
              <a:effectLst/>
            </c:spPr>
            <c:extLst>
              <c:ext xmlns:c16="http://schemas.microsoft.com/office/drawing/2014/chart" uri="{C3380CC4-5D6E-409C-BE32-E72D297353CC}">
                <c16:uniqueId val="{0000000B-1885-4CD6-AB1D-9BFBBB0BAF5D}"/>
              </c:ext>
            </c:extLst>
          </c:dPt>
          <c:dPt>
            <c:idx val="7"/>
            <c:invertIfNegative val="0"/>
            <c:bubble3D val="0"/>
            <c:spPr>
              <a:solidFill>
                <a:srgbClr val="C00000">
                  <a:alpha val="25000"/>
                </a:srgbClr>
              </a:solidFill>
              <a:ln>
                <a:noFill/>
              </a:ln>
              <a:effectLst/>
            </c:spPr>
            <c:extLst>
              <c:ext xmlns:c16="http://schemas.microsoft.com/office/drawing/2014/chart" uri="{C3380CC4-5D6E-409C-BE32-E72D297353CC}">
                <c16:uniqueId val="{0000000D-1885-4CD6-AB1D-9BFBBB0BAF5D}"/>
              </c:ext>
            </c:extLst>
          </c:dPt>
          <c:dPt>
            <c:idx val="8"/>
            <c:invertIfNegative val="0"/>
            <c:bubble3D val="0"/>
            <c:spPr>
              <a:solidFill>
                <a:srgbClr val="C00000">
                  <a:alpha val="25000"/>
                </a:srgbClr>
              </a:solidFill>
              <a:ln>
                <a:noFill/>
              </a:ln>
              <a:effectLst/>
            </c:spPr>
            <c:extLst>
              <c:ext xmlns:c16="http://schemas.microsoft.com/office/drawing/2014/chart" uri="{C3380CC4-5D6E-409C-BE32-E72D297353CC}">
                <c16:uniqueId val="{0000000F-1885-4CD6-AB1D-9BFBBB0BAF5D}"/>
              </c:ext>
            </c:extLst>
          </c:dPt>
          <c:dPt>
            <c:idx val="9"/>
            <c:invertIfNegative val="0"/>
            <c:bubble3D val="0"/>
            <c:spPr>
              <a:solidFill>
                <a:srgbClr val="C00000">
                  <a:alpha val="25000"/>
                </a:srgbClr>
              </a:solidFill>
              <a:ln>
                <a:noFill/>
              </a:ln>
              <a:effectLst/>
            </c:spPr>
            <c:extLst>
              <c:ext xmlns:c16="http://schemas.microsoft.com/office/drawing/2014/chart" uri="{C3380CC4-5D6E-409C-BE32-E72D297353CC}">
                <c16:uniqueId val="{00000011-1885-4CD6-AB1D-9BFBBB0BAF5D}"/>
              </c:ext>
            </c:extLst>
          </c:dPt>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11</c:f>
              <c:strCache>
                <c:ptCount val="10"/>
                <c:pt idx="0">
                  <c:v>Holandia</c:v>
                </c:pt>
                <c:pt idx="1">
                  <c:v>Niemcy</c:v>
                </c:pt>
                <c:pt idx="2">
                  <c:v>Luksemburg</c:v>
                </c:pt>
                <c:pt idx="3">
                  <c:v>Francja</c:v>
                </c:pt>
                <c:pt idx="4">
                  <c:v>Cypr</c:v>
                </c:pt>
                <c:pt idx="5">
                  <c:v>Hiszpania</c:v>
                </c:pt>
                <c:pt idx="6">
                  <c:v>Austria</c:v>
                </c:pt>
                <c:pt idx="7">
                  <c:v>Wlk. Brytania</c:v>
                </c:pt>
                <c:pt idx="8">
                  <c:v>Belgia</c:v>
                </c:pt>
                <c:pt idx="9">
                  <c:v>Szwajcaria</c:v>
                </c:pt>
              </c:strCache>
            </c:strRef>
          </c:cat>
          <c:val>
            <c:numRef>
              <c:f>Arkusz1!$B$2:$B$11</c:f>
              <c:numCache>
                <c:formatCode>_-* #\ ##0_-;\-* #\ ##0_-;_-* "-"??_-;_-@_-</c:formatCode>
                <c:ptCount val="10"/>
                <c:pt idx="0">
                  <c:v>47.115199999999994</c:v>
                </c:pt>
                <c:pt idx="1">
                  <c:v>40.007100000000001</c:v>
                </c:pt>
                <c:pt idx="2">
                  <c:v>29.938299999999998</c:v>
                </c:pt>
                <c:pt idx="3">
                  <c:v>20.397200000000002</c:v>
                </c:pt>
                <c:pt idx="4">
                  <c:v>12.089700000000001</c:v>
                </c:pt>
                <c:pt idx="5">
                  <c:v>12.005600000000001</c:v>
                </c:pt>
                <c:pt idx="6">
                  <c:v>9.5881000000000007</c:v>
                </c:pt>
                <c:pt idx="7">
                  <c:v>8.5305</c:v>
                </c:pt>
                <c:pt idx="8">
                  <c:v>7.7711999999999994</c:v>
                </c:pt>
                <c:pt idx="9">
                  <c:v>7.1826999999999996</c:v>
                </c:pt>
              </c:numCache>
            </c:numRef>
          </c:val>
          <c:extLst>
            <c:ext xmlns:c16="http://schemas.microsoft.com/office/drawing/2014/chart" uri="{C3380CC4-5D6E-409C-BE32-E72D297353CC}">
              <c16:uniqueId val="{00000013-1885-4CD6-AB1D-9BFBBB0BAF5D}"/>
            </c:ext>
          </c:extLst>
        </c:ser>
        <c:dLbls>
          <c:showLegendKey val="0"/>
          <c:showVal val="0"/>
          <c:showCatName val="0"/>
          <c:showSerName val="0"/>
          <c:showPercent val="0"/>
          <c:showBubbleSize val="0"/>
        </c:dLbls>
        <c:gapWidth val="70"/>
        <c:axId val="1706851839"/>
        <c:axId val="1706840191"/>
      </c:barChart>
      <c:catAx>
        <c:axId val="1706851839"/>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pl-PL"/>
          </a:p>
        </c:txPr>
        <c:crossAx val="1706840191"/>
        <c:crosses val="autoZero"/>
        <c:auto val="1"/>
        <c:lblAlgn val="ctr"/>
        <c:lblOffset val="100"/>
        <c:noMultiLvlLbl val="0"/>
      </c:catAx>
      <c:valAx>
        <c:axId val="1706840191"/>
        <c:scaling>
          <c:orientation val="minMax"/>
        </c:scaling>
        <c:delete val="1"/>
        <c:axPos val="t"/>
        <c:numFmt formatCode="_-* #\ ##0_-;\-* #\ ##0_-;_-* &quot;-&quot;??_-;_-@_-" sourceLinked="1"/>
        <c:majorTickMark val="none"/>
        <c:minorTickMark val="none"/>
        <c:tickLblPos val="nextTo"/>
        <c:crossAx val="17068518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pl-P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Arkusz1!$B$1</c:f>
              <c:strCache>
                <c:ptCount val="1"/>
                <c:pt idx="0">
                  <c:v>Seria 1</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cat>
            <c:numRef>
              <c:f>Arkusz1!$A$2:$A$13</c:f>
              <c:numCache>
                <c:formatCode>General</c:formatCod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numCache>
            </c:numRef>
          </c:cat>
          <c:val>
            <c:numRef>
              <c:f>Arkusz1!$B$2:$B$13</c:f>
              <c:numCache>
                <c:formatCode>0</c:formatCode>
                <c:ptCount val="12"/>
                <c:pt idx="0">
                  <c:v>161.3777</c:v>
                </c:pt>
                <c:pt idx="1">
                  <c:v>157.15110000000001</c:v>
                </c:pt>
                <c:pt idx="2">
                  <c:v>178.25670000000002</c:v>
                </c:pt>
                <c:pt idx="3">
                  <c:v>168.5058352623457</c:v>
                </c:pt>
                <c:pt idx="4">
                  <c:v>174.017901133191</c:v>
                </c:pt>
                <c:pt idx="5">
                  <c:v>170.25730376627948</c:v>
                </c:pt>
                <c:pt idx="6">
                  <c:v>178.29437160940327</c:v>
                </c:pt>
                <c:pt idx="7">
                  <c:v>200.63829999999999</c:v>
                </c:pt>
                <c:pt idx="8">
                  <c:v>200.68679999999998</c:v>
                </c:pt>
                <c:pt idx="9">
                  <c:v>214.55329999999998</c:v>
                </c:pt>
                <c:pt idx="10">
                  <c:v>208.49870000000001</c:v>
                </c:pt>
                <c:pt idx="11">
                  <c:v>238.96970000000002</c:v>
                </c:pt>
              </c:numCache>
            </c:numRef>
          </c:val>
          <c:smooth val="1"/>
          <c:extLst>
            <c:ext xmlns:c16="http://schemas.microsoft.com/office/drawing/2014/chart" uri="{C3380CC4-5D6E-409C-BE32-E72D297353CC}">
              <c16:uniqueId val="{00000000-282E-482B-B9D3-57BE7FAF5864}"/>
            </c:ext>
          </c:extLst>
        </c:ser>
        <c:dLbls>
          <c:showLegendKey val="0"/>
          <c:showVal val="0"/>
          <c:showCatName val="0"/>
          <c:showSerName val="0"/>
          <c:showPercent val="0"/>
          <c:showBubbleSize val="0"/>
        </c:dLbls>
        <c:marker val="1"/>
        <c:smooth val="0"/>
        <c:axId val="385671135"/>
        <c:axId val="385673631"/>
      </c:lineChart>
      <c:catAx>
        <c:axId val="3856711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pl-PL"/>
          </a:p>
        </c:txPr>
        <c:crossAx val="385673631"/>
        <c:crosses val="autoZero"/>
        <c:auto val="1"/>
        <c:lblAlgn val="ctr"/>
        <c:lblOffset val="100"/>
        <c:tickLblSkip val="2"/>
        <c:noMultiLvlLbl val="0"/>
      </c:catAx>
      <c:valAx>
        <c:axId val="385673631"/>
        <c:scaling>
          <c:orientation val="minMax"/>
          <c:min val="140"/>
        </c:scaling>
        <c:delete val="0"/>
        <c:axPos val="l"/>
        <c:majorGridlines>
          <c:spPr>
            <a:ln w="9525" cap="flat" cmpd="sng" algn="ctr">
              <a:solidFill>
                <a:schemeClr val="bg1">
                  <a:lumMod val="9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pl-PL"/>
          </a:p>
        </c:txPr>
        <c:crossAx val="3856711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pl-P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dirty="0">
              <a:latin typeface="Calibri" panose="020F0502020204030204" pitchFamily="34" charset="0"/>
            </a:endParaRPr>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latin typeface="Calibri" panose="020F0502020204030204" pitchFamily="34" charset="0"/>
              </a:rPr>
              <a:t>3/7/2023</a:t>
            </a:fld>
            <a:endParaRPr lang="en-US" sz="800" dirty="0">
              <a:latin typeface="Calibri" panose="020F0502020204030204" pitchFamily="34" charset="0"/>
            </a:endParaRPr>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dirty="0">
              <a:latin typeface="Calibri" panose="020F0502020204030204" pitchFamily="34" charset="0"/>
            </a:endParaRPr>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latin typeface="Calibri" panose="020F0502020204030204" pitchFamily="34" charset="0"/>
              </a:rPr>
              <a:t>‹#›</a:t>
            </a:fld>
            <a:endParaRPr lang="en-US" sz="800" dirty="0">
              <a:latin typeface="Calibri" panose="020F0502020204030204" pitchFamily="34" charset="0"/>
            </a:endParaRPr>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Calibri" panose="020F0502020204030204" pitchFamily="34" charset="0"/>
              <a:ea typeface="+mn-ea"/>
              <a:cs typeface="+mn-cs"/>
              <a:sym typeface="+mn-lt"/>
            </a:endParaRPr>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atin typeface="+mn-lt"/>
                <a:ea typeface="+mn-ea"/>
                <a:cs typeface="+mn-cs"/>
                <a:sym typeface="+mn-lt"/>
              </a:defRPr>
            </a:lvl1pPr>
          </a:lstStyle>
          <a:p>
            <a:endParaRPr lang="en-US" dirty="0">
              <a:latin typeface="Calibri" panose="020F0502020204030204" pitchFamily="34" charset="0"/>
            </a:endParaRPr>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atin typeface="+mn-lt"/>
                <a:ea typeface="+mn-ea"/>
                <a:cs typeface="+mn-cs"/>
                <a:sym typeface="+mn-lt"/>
              </a:defRPr>
            </a:lvl1pPr>
          </a:lstStyle>
          <a:p>
            <a:fld id="{3AD9BDA7-98EF-4344-B91C-30A07E8A84B0}" type="datetimeFigureOut">
              <a:rPr lang="en-US" smtClean="0">
                <a:latin typeface="Calibri" panose="020F0502020204030204" pitchFamily="34" charset="0"/>
              </a:rPr>
              <a:pPr/>
              <a:t>3/7/2023</a:t>
            </a:fld>
            <a:endParaRPr lang="en-US" dirty="0">
              <a:latin typeface="Calibri" panose="020F0502020204030204" pitchFamily="34" charset="0"/>
            </a:endParaRPr>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dirty="0">
              <a:latin typeface="Calibri" panose="020F0502020204030204" pitchFamily="34" charset="0"/>
            </a:endParaRPr>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atin typeface="+mn-lt"/>
                <a:ea typeface="+mn-ea"/>
                <a:cs typeface="+mn-cs"/>
                <a:sym typeface="+mn-lt"/>
              </a:defRPr>
            </a:lvl1pPr>
          </a:lstStyle>
          <a:p>
            <a:endParaRPr lang="en-US" dirty="0">
              <a:latin typeface="Calibri" panose="020F0502020204030204" pitchFamily="34" charset="0"/>
            </a:endParaRPr>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atin typeface="+mn-lt"/>
                <a:ea typeface="+mn-ea"/>
                <a:cs typeface="+mn-cs"/>
                <a:sym typeface="+mn-lt"/>
              </a:defRPr>
            </a:lvl1pPr>
          </a:lstStyle>
          <a:p>
            <a:r>
              <a:rPr lang="en-US">
                <a:latin typeface="Calibri" panose="020F0502020204030204" pitchFamily="34" charset="0"/>
              </a:rPr>
              <a:t>Notes view: </a:t>
            </a:r>
            <a:fld id="{128CEAFE-FA94-43E5-B0FF-D47E1CCDD1B4}" type="slidenum">
              <a:rPr lang="en-US" smtClean="0">
                <a:latin typeface="Calibri" panose="020F0502020204030204" pitchFamily="34" charset="0"/>
              </a:rPr>
              <a:pPr/>
              <a:t>‹#›</a:t>
            </a:fld>
            <a:endParaRPr lang="en-US" dirty="0">
              <a:latin typeface="Calibri" panose="020F0502020204030204" pitchFamily="34" charset="0"/>
            </a:endParaRPr>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Calibri" panose="020F0502020204030204" pitchFamily="34" charset="0"/>
        <a:ea typeface="+mn-ea"/>
        <a:cs typeface="+mn-cs"/>
        <a:sym typeface="Calibri" panose="020F0502020204030204" pitchFamily="34" charset="0"/>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Calibri" panose="020F0502020204030204" pitchFamily="34" charset="0"/>
        <a:ea typeface="+mn-ea"/>
        <a:cs typeface="+mn-cs"/>
        <a:sym typeface="Calibri" panose="020F0502020204030204" pitchFamily="34" charset="0"/>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Calibri" panose="020F0502020204030204" pitchFamily="34" charset="0"/>
        <a:ea typeface="+mn-ea"/>
        <a:cs typeface="+mn-cs"/>
        <a:sym typeface="Calibri" panose="020F0502020204030204" pitchFamily="34" charset="0"/>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Calibri" panose="020F0502020204030204" pitchFamily="34" charset="0"/>
        <a:ea typeface="+mn-ea"/>
        <a:cs typeface="+mn-cs"/>
        <a:sym typeface="Calibri" panose="020F0502020204030204" pitchFamily="34" charset="0"/>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Calibri" panose="020F0502020204030204" pitchFamily="34" charset="0"/>
        <a:ea typeface="+mn-ea"/>
        <a:cs typeface="+mn-cs"/>
        <a:sym typeface="Calibri" panose="020F050202020403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34543875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38656703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15226880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34523689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41862280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11711109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41862280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31464308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41862280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137191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2900852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2857609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9469499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2770676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2308333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18312591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3733138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134888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24917533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78.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81.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tags" Target="../tags/tag88.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2.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2.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2.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107.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2.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0.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110.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2.emf"/></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2.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4.xml"/><Relationship Id="rId1" Type="http://schemas.openxmlformats.org/officeDocument/2006/relationships/tags" Target="../tags/tag117.xml"/><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17971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800" b="0" i="0" baseline="0" dirty="0" err="1">
              <a:solidFill>
                <a:srgbClr val="FFFFFF"/>
              </a:solidFill>
              <a:latin typeface="Calibri" panose="020F0502020204030204" pitchFamily="34" charset="0"/>
              <a:ea typeface="+mj-ea"/>
              <a:cs typeface="+mj-cs"/>
              <a:sym typeface="Calibri" panose="020F050202020403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mn-lt"/>
                <a:ea typeface="+mn-ea"/>
                <a:cs typeface="+mn-cs"/>
                <a:sym typeface="+mn-lt"/>
              </a:defRPr>
            </a:lvl1pPr>
          </a:lstStyle>
          <a:p>
            <a:r>
              <a:rPr lang="en-US" dirty="0"/>
              <a:t>Logo</a:t>
            </a: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0" cap="all" baseline="0">
                <a:solidFill>
                  <a:schemeClr val="accent5"/>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4328932"/>
            <a:ext cx="6868800" cy="834631"/>
          </a:xfrm>
          <a:prstGeom prst="rect">
            <a:avLst/>
          </a:prstGeom>
        </p:spPr>
        <p:txBody>
          <a:bodyPr anchor="b">
            <a:normAutofit/>
          </a:bodyPr>
          <a:lstStyle>
            <a:lvl1pPr algn="l">
              <a:lnSpc>
                <a:spcPct val="93000"/>
              </a:lnSpc>
              <a:defRPr sz="480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26545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51708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9" name="Picture 18"/>
          <p:cNvPicPr>
            <a:picLocks noChangeAspect="1"/>
          </p:cNvPicPr>
          <p:nvPr userDrawn="1"/>
        </p:nvPicPr>
        <p:blipFill rotWithShape="1">
          <a:blip r:embed="rId5">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28" name="Picture 27"/>
          <p:cNvPicPr>
            <a:picLocks/>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5247632"/>
          </a:xfrm>
          <a:prstGeom prst="rect">
            <a:avLst/>
          </a:prstGeom>
        </p:spPr>
      </p:pic>
      <p:sp>
        <p:nvSpPr>
          <p:cNvPr id="29" name="Rectangle 28"/>
          <p:cNvSpPr/>
          <p:nvPr userDrawn="1"/>
        </p:nvSpPr>
        <p:spPr bwMode="black">
          <a:xfrm>
            <a:off x="630936" y="626200"/>
            <a:ext cx="8125200" cy="5529600"/>
          </a:xfrm>
          <a:prstGeom prst="rect">
            <a:avLst/>
          </a:prstGeom>
          <a:gradFill flip="none" rotWithShape="1">
            <a:gsLst>
              <a:gs pos="0">
                <a:srgbClr val="570A0D">
                  <a:alpha val="89804"/>
                </a:srgbClr>
              </a:gs>
              <a:gs pos="100000">
                <a:srgbClr val="971217">
                  <a:alpha val="89804"/>
                </a:srgbClr>
              </a:gs>
            </a:gsLst>
            <a:lin ang="18900000" scaled="0"/>
            <a:tileRect/>
          </a:gradFill>
          <a:ln w="10795" cap="flat" cmpd="sng" algn="ctr">
            <a:noFill/>
            <a:prstDash val="soli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mn-lt"/>
              <a:ea typeface="+mn-ea"/>
              <a:cs typeface="+mn-cs"/>
              <a:sym typeface="+mn-lt"/>
            </a:endParaRPr>
          </a:p>
        </p:txBody>
      </p:sp>
      <p:sp>
        <p:nvSpPr>
          <p:cNvPr id="3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mn-lt"/>
                <a:ea typeface="+mn-ea"/>
                <a:cs typeface="+mn-cs"/>
                <a:sym typeface="+mn-lt"/>
              </a:defRPr>
            </a:lvl1pPr>
          </a:lstStyle>
          <a:p>
            <a:r>
              <a:rPr lang="en-US" dirty="0"/>
              <a:t>Logo</a:t>
            </a:r>
          </a:p>
        </p:txBody>
      </p:sp>
      <p:sp>
        <p:nvSpPr>
          <p:cNvPr id="31"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0" cap="all" baseline="0">
                <a:solidFill>
                  <a:schemeClr val="accent5"/>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32"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33"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4800" baseline="0">
                <a:solidFill>
                  <a:schemeClr val="bg1"/>
                </a:solidFill>
                <a:latin typeface="+mj-lt"/>
                <a:ea typeface="+mj-ea"/>
                <a:cs typeface="+mj-cs"/>
                <a:sym typeface="+mj-lt"/>
              </a:defRPr>
            </a:lvl1pPr>
          </a:lstStyle>
          <a:p>
            <a:r>
              <a:rPr lang="en-US" dirty="0"/>
              <a:t>Title in Title Case</a:t>
            </a:r>
          </a:p>
        </p:txBody>
      </p:sp>
      <p:pic>
        <p:nvPicPr>
          <p:cNvPr id="34" name="Picture 3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7415" y="922417"/>
            <a:ext cx="2128705" cy="335333"/>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3524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74524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4430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43984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800" b="0" i="0" baseline="0" dirty="0" err="1">
              <a:solidFill>
                <a:srgbClr val="FFFFFF"/>
              </a:solidFill>
              <a:latin typeface="Calibri" panose="020F0502020204030204" pitchFamily="34" charset="0"/>
              <a:ea typeface="+mj-ea"/>
              <a:cs typeface="+mj-cs"/>
              <a:sym typeface="Calibri" panose="020F050202020403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mn-lt"/>
                <a:ea typeface="+mn-ea"/>
                <a:cs typeface="+mn-cs"/>
                <a:sym typeface="+mn-lt"/>
              </a:defRPr>
            </a:lvl1pPr>
          </a:lstStyle>
          <a:p>
            <a:r>
              <a:rPr lang="en-US" dirty="0"/>
              <a:t>Logo</a:t>
            </a: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0" cap="all" baseline="0">
                <a:solidFill>
                  <a:schemeClr val="accent5"/>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4328932"/>
            <a:ext cx="6868800" cy="834631"/>
          </a:xfrm>
          <a:prstGeom prst="rect">
            <a:avLst/>
          </a:prstGeom>
        </p:spPr>
        <p:txBody>
          <a:bodyPr anchor="b">
            <a:normAutofit/>
          </a:bodyPr>
          <a:lstStyle>
            <a:lvl1pPr algn="l">
              <a:lnSpc>
                <a:spcPct val="93000"/>
              </a:lnSpc>
              <a:defRPr sz="480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154752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281379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992264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534108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4521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dirty="0"/>
              <a:t>Click to add tit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solidFill>
                <a:latin typeface="+mn-lt"/>
                <a:ea typeface="+mn-ea"/>
                <a:cs typeface="+mn-cs"/>
                <a:sym typeface="+mn-lt"/>
              </a:rPr>
              <a:t>20190715 #LIDERna5 Projekt status i rozwiazania na Zarzad.pptx</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413401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73690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solidFill>
                <a:latin typeface="+mn-lt"/>
                <a:ea typeface="+mn-ea"/>
                <a:cs typeface="+mn-cs"/>
                <a:sym typeface="+mn-lt"/>
              </a:rPr>
              <a:t>20190715 #LIDERna5 Projekt status i rozwiazania na Zarzad.pptx</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032843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061405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7" name="Rectangle 16"/>
          <p:cNvSpPr/>
          <p:nvPr userDrawn="1"/>
        </p:nvSpPr>
        <p:spPr bwMode="black">
          <a:xfrm>
            <a:off x="630936" y="626200"/>
            <a:ext cx="8125200" cy="5529600"/>
          </a:xfrm>
          <a:prstGeom prst="rect">
            <a:avLst/>
          </a:prstGeom>
          <a:gradFill flip="none" rotWithShape="1">
            <a:gsLst>
              <a:gs pos="0">
                <a:srgbClr val="570A0D">
                  <a:alpha val="89804"/>
                </a:srgbClr>
              </a:gs>
              <a:gs pos="100000">
                <a:srgbClr val="971217">
                  <a:alpha val="89804"/>
                </a:srgbClr>
              </a:gs>
            </a:gsLst>
            <a:lin ang="18900000" scaled="0"/>
            <a:tileRect/>
          </a:gradFill>
          <a:ln w="10795" cap="flat" cmpd="sng" algn="ctr">
            <a:noFill/>
            <a:prstDash val="soli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mn-lt"/>
              <a:ea typeface="+mn-ea"/>
              <a:cs typeface="+mn-cs"/>
              <a:sym typeface="+mn-lt"/>
            </a:endParaRPr>
          </a:p>
        </p:txBody>
      </p:sp>
      <p:pic>
        <p:nvPicPr>
          <p:cNvPr id="19" name="Picture 1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580948" y="2928595"/>
            <a:ext cx="6256424" cy="985568"/>
          </a:xfrm>
          <a:prstGeom prst="rect">
            <a:avLst/>
          </a:prstGeom>
        </p:spPr>
      </p:pic>
    </p:spTree>
    <p:extLst>
      <p:ext uri="{BB962C8B-B14F-4D97-AF65-F5344CB8AC3E}">
        <p14:creationId xmlns:p14="http://schemas.microsoft.com/office/powerpoint/2010/main" val="434243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5266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9" name="Picture 18"/>
          <p:cNvPicPr>
            <a:picLocks noChangeAspect="1"/>
          </p:cNvPicPr>
          <p:nvPr userDrawn="1"/>
        </p:nvPicPr>
        <p:blipFill rotWithShape="1">
          <a:blip r:embed="rId5">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28" name="Picture 27"/>
          <p:cNvPicPr>
            <a:picLocks/>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5247632"/>
          </a:xfrm>
          <a:prstGeom prst="rect">
            <a:avLst/>
          </a:prstGeom>
        </p:spPr>
      </p:pic>
      <p:sp>
        <p:nvSpPr>
          <p:cNvPr id="29" name="Rectangle 28"/>
          <p:cNvSpPr/>
          <p:nvPr userDrawn="1"/>
        </p:nvSpPr>
        <p:spPr bwMode="black">
          <a:xfrm>
            <a:off x="630936" y="626200"/>
            <a:ext cx="8125200" cy="5529600"/>
          </a:xfrm>
          <a:prstGeom prst="rect">
            <a:avLst/>
          </a:prstGeom>
          <a:gradFill flip="none" rotWithShape="1">
            <a:gsLst>
              <a:gs pos="0">
                <a:srgbClr val="570A0D">
                  <a:alpha val="89804"/>
                </a:srgbClr>
              </a:gs>
              <a:gs pos="100000">
                <a:srgbClr val="971217">
                  <a:alpha val="89804"/>
                </a:srgbClr>
              </a:gs>
            </a:gsLst>
            <a:lin ang="18900000" scaled="0"/>
            <a:tileRect/>
          </a:gradFill>
          <a:ln w="10795" cap="flat" cmpd="sng" algn="ctr">
            <a:noFill/>
            <a:prstDash val="soli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mn-lt"/>
              <a:ea typeface="+mn-ea"/>
              <a:cs typeface="+mn-cs"/>
              <a:sym typeface="+mn-lt"/>
            </a:endParaRPr>
          </a:p>
        </p:txBody>
      </p:sp>
      <p:sp>
        <p:nvSpPr>
          <p:cNvPr id="3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mn-lt"/>
                <a:ea typeface="+mn-ea"/>
                <a:cs typeface="+mn-cs"/>
                <a:sym typeface="+mn-lt"/>
              </a:defRPr>
            </a:lvl1pPr>
          </a:lstStyle>
          <a:p>
            <a:r>
              <a:rPr lang="en-US" dirty="0"/>
              <a:t>Logo</a:t>
            </a:r>
          </a:p>
        </p:txBody>
      </p:sp>
      <p:sp>
        <p:nvSpPr>
          <p:cNvPr id="31"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0" cap="all" baseline="0">
                <a:solidFill>
                  <a:schemeClr val="accent5"/>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32"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33"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4800" baseline="0">
                <a:solidFill>
                  <a:schemeClr val="bg1"/>
                </a:solidFill>
                <a:latin typeface="+mj-lt"/>
                <a:ea typeface="+mj-ea"/>
                <a:cs typeface="+mj-cs"/>
                <a:sym typeface="+mj-lt"/>
              </a:defRPr>
            </a:lvl1pPr>
          </a:lstStyle>
          <a:p>
            <a:r>
              <a:rPr lang="en-US" dirty="0"/>
              <a:t>Title in Title Case</a:t>
            </a:r>
          </a:p>
        </p:txBody>
      </p:sp>
      <p:pic>
        <p:nvPicPr>
          <p:cNvPr id="34" name="Picture 3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7415" y="922417"/>
            <a:ext cx="2128705" cy="335333"/>
          </a:xfrm>
          <a:prstGeom prst="rect">
            <a:avLst/>
          </a:prstGeom>
        </p:spPr>
      </p:pic>
    </p:spTree>
    <p:extLst>
      <p:ext uri="{BB962C8B-B14F-4D97-AF65-F5344CB8AC3E}">
        <p14:creationId xmlns:p14="http://schemas.microsoft.com/office/powerpoint/2010/main" val="543389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33159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784574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96126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94849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431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4 x content">
    <p:spTree>
      <p:nvGrpSpPr>
        <p:cNvPr id="1" name=""/>
        <p:cNvGrpSpPr/>
        <p:nvPr/>
      </p:nvGrpSpPr>
      <p:grpSpPr>
        <a:xfrm>
          <a:off x="0" y="0"/>
          <a:ext cx="0" cy="0"/>
          <a:chOff x="0" y="0"/>
          <a:chExt cx="0" cy="0"/>
        </a:xfrm>
      </p:grpSpPr>
      <p:sp>
        <p:nvSpPr>
          <p:cNvPr id="10" name="Content Placeholder 2"/>
          <p:cNvSpPr>
            <a:spLocks noGrp="1"/>
          </p:cNvSpPr>
          <p:nvPr>
            <p:ph idx="1" hasCustomPrompt="1"/>
          </p:nvPr>
        </p:nvSpPr>
        <p:spPr>
          <a:xfrm>
            <a:off x="359998" y="1708150"/>
            <a:ext cx="2714400" cy="4003675"/>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2"/>
          <p:cNvSpPr>
            <a:spLocks noGrp="1"/>
          </p:cNvSpPr>
          <p:nvPr>
            <p:ph idx="14" hasCustomPrompt="1"/>
          </p:nvPr>
        </p:nvSpPr>
        <p:spPr>
          <a:xfrm>
            <a:off x="3275192" y="1708150"/>
            <a:ext cx="2714400" cy="4003675"/>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Content Placeholder 2"/>
          <p:cNvSpPr>
            <a:spLocks noGrp="1"/>
          </p:cNvSpPr>
          <p:nvPr>
            <p:ph idx="15" hasCustomPrompt="1"/>
          </p:nvPr>
        </p:nvSpPr>
        <p:spPr>
          <a:xfrm>
            <a:off x="6190386" y="1708150"/>
            <a:ext cx="2714400" cy="4003675"/>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Content Placeholder 2"/>
          <p:cNvSpPr>
            <a:spLocks noGrp="1"/>
          </p:cNvSpPr>
          <p:nvPr>
            <p:ph idx="16" hasCustomPrompt="1"/>
          </p:nvPr>
        </p:nvSpPr>
        <p:spPr>
          <a:xfrm>
            <a:off x="9105580" y="1708150"/>
            <a:ext cx="2714400" cy="4003675"/>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9"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dirty="0"/>
              <a:t>Click to edit master title style</a:t>
            </a:r>
          </a:p>
        </p:txBody>
      </p:sp>
      <p:sp>
        <p:nvSpPr>
          <p:cNvPr id="20" name="Text Placeholder 2"/>
          <p:cNvSpPr>
            <a:spLocks noGrp="1"/>
          </p:cNvSpPr>
          <p:nvPr>
            <p:ph type="body" sz="quarter" idx="18" hasCustomPrompt="1"/>
          </p:nvPr>
        </p:nvSpPr>
        <p:spPr>
          <a:xfrm>
            <a:off x="357188" y="909635"/>
            <a:ext cx="11477331" cy="396875"/>
          </a:xfrm>
        </p:spPr>
        <p:txBody>
          <a:bodyPr/>
          <a:lstStyle>
            <a:lvl1pPr>
              <a:defRPr sz="1800"/>
            </a:lvl1pPr>
          </a:lstStyle>
          <a:p>
            <a:pPr lvl="0"/>
            <a:r>
              <a:rPr lang="en-GB" dirty="0"/>
              <a:t>Click to edit master text styles</a:t>
            </a:r>
          </a:p>
        </p:txBody>
      </p:sp>
      <p:sp>
        <p:nvSpPr>
          <p:cNvPr id="21" name="Text Placeholder 17"/>
          <p:cNvSpPr>
            <a:spLocks noGrp="1"/>
          </p:cNvSpPr>
          <p:nvPr>
            <p:ph type="body" sz="quarter" idx="19" hasCustomPrompt="1"/>
          </p:nvPr>
        </p:nvSpPr>
        <p:spPr>
          <a:xfrm>
            <a:off x="6096000" y="6393509"/>
            <a:ext cx="4670778"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
        <p:nvSpPr>
          <p:cNvPr id="22"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pPr/>
              <a:t>‹#›</a:t>
            </a:fld>
            <a:endParaRPr lang="en-GB" dirty="0"/>
          </a:p>
        </p:txBody>
      </p:sp>
    </p:spTree>
    <p:extLst>
      <p:ext uri="{BB962C8B-B14F-4D97-AF65-F5344CB8AC3E}">
        <p14:creationId xmlns:p14="http://schemas.microsoft.com/office/powerpoint/2010/main" val="149585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1-Cover">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B01EC92-E13B-4DE8-A424-1120EF5E4B95}"/>
              </a:ext>
            </a:extLst>
          </p:cNvPr>
          <p:cNvSpPr>
            <a:spLocks noGrp="1"/>
          </p:cNvSpPr>
          <p:nvPr>
            <p:ph type="pic" sz="quarter" idx="10"/>
          </p:nvPr>
        </p:nvSpPr>
        <p:spPr>
          <a:xfrm>
            <a:off x="-1" y="1"/>
            <a:ext cx="12192000" cy="5714020"/>
          </a:xfrm>
          <a:custGeom>
            <a:avLst/>
            <a:gdLst>
              <a:gd name="connsiteX0" fmla="*/ 2 w 18288000"/>
              <a:gd name="connsiteY0" fmla="*/ 0 h 8571029"/>
              <a:gd name="connsiteX1" fmla="*/ 18288000 w 18288000"/>
              <a:gd name="connsiteY1" fmla="*/ 0 h 8571029"/>
              <a:gd name="connsiteX2" fmla="*/ 18288000 w 18288000"/>
              <a:gd name="connsiteY2" fmla="*/ 3212117 h 8571029"/>
              <a:gd name="connsiteX3" fmla="*/ 18288000 w 18288000"/>
              <a:gd name="connsiteY3" fmla="*/ 4383282 h 8571029"/>
              <a:gd name="connsiteX4" fmla="*/ 18288000 w 18288000"/>
              <a:gd name="connsiteY4" fmla="*/ 7875053 h 8571029"/>
              <a:gd name="connsiteX5" fmla="*/ 18241932 w 18288000"/>
              <a:gd name="connsiteY5" fmla="*/ 7882685 h 8571029"/>
              <a:gd name="connsiteX6" fmla="*/ 9144001 w 18288000"/>
              <a:gd name="connsiteY6" fmla="*/ 8571029 h 8571029"/>
              <a:gd name="connsiteX7" fmla="*/ 46069 w 18288000"/>
              <a:gd name="connsiteY7" fmla="*/ 7882685 h 8571029"/>
              <a:gd name="connsiteX8" fmla="*/ 0 w 18288000"/>
              <a:gd name="connsiteY8" fmla="*/ 7875053 h 8571029"/>
              <a:gd name="connsiteX9" fmla="*/ 0 w 18288000"/>
              <a:gd name="connsiteY9" fmla="*/ 3212117 h 8571029"/>
              <a:gd name="connsiteX10" fmla="*/ 2 w 18288000"/>
              <a:gd name="connsiteY10" fmla="*/ 3212117 h 8571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88000" h="8571029">
                <a:moveTo>
                  <a:pt x="2" y="0"/>
                </a:moveTo>
                <a:lnTo>
                  <a:pt x="18288000" y="0"/>
                </a:lnTo>
                <a:lnTo>
                  <a:pt x="18288000" y="3212117"/>
                </a:lnTo>
                <a:lnTo>
                  <a:pt x="18288000" y="4383282"/>
                </a:lnTo>
                <a:lnTo>
                  <a:pt x="18288000" y="7875053"/>
                </a:lnTo>
                <a:lnTo>
                  <a:pt x="18241932" y="7882685"/>
                </a:lnTo>
                <a:cubicBezTo>
                  <a:pt x="15275460" y="8335949"/>
                  <a:pt x="12237180" y="8571029"/>
                  <a:pt x="9144001" y="8571029"/>
                </a:cubicBezTo>
                <a:cubicBezTo>
                  <a:pt x="6050822" y="8571029"/>
                  <a:pt x="3012548" y="8335949"/>
                  <a:pt x="46069" y="7882685"/>
                </a:cubicBezTo>
                <a:lnTo>
                  <a:pt x="0" y="7875053"/>
                </a:lnTo>
                <a:lnTo>
                  <a:pt x="0" y="3212117"/>
                </a:lnTo>
                <a:lnTo>
                  <a:pt x="2" y="3212117"/>
                </a:lnTo>
                <a:close/>
              </a:path>
            </a:pathLst>
          </a:custGeom>
          <a:solidFill>
            <a:schemeClr val="bg1">
              <a:lumMod val="75000"/>
            </a:schemeClr>
          </a:solidFill>
        </p:spPr>
        <p:txBody>
          <a:bodyPr wrap="square">
            <a:noAutofit/>
          </a:bodyPr>
          <a:lstStyle>
            <a:lvl1pPr>
              <a:defRPr b="0" i="0">
                <a:latin typeface="Sofia Pro Light" panose="020B0000000000000000" pitchFamily="34" charset="0"/>
              </a:defRPr>
            </a:lvl1pPr>
          </a:lstStyle>
          <a:p>
            <a:endParaRPr lang="en-US" dirty="0"/>
          </a:p>
        </p:txBody>
      </p:sp>
    </p:spTree>
    <p:extLst>
      <p:ext uri="{BB962C8B-B14F-4D97-AF65-F5344CB8AC3E}">
        <p14:creationId xmlns:p14="http://schemas.microsoft.com/office/powerpoint/2010/main" val="337340719"/>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800" b="0" i="0" baseline="0" dirty="0" err="1">
              <a:solidFill>
                <a:srgbClr val="FFFFFF"/>
              </a:solidFill>
              <a:latin typeface="Calibri" panose="020F0502020204030204" pitchFamily="34" charset="0"/>
              <a:ea typeface="+mj-ea"/>
              <a:cs typeface="+mj-cs"/>
              <a:sym typeface="Calibri" panose="020F050202020403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mn-lt"/>
                <a:ea typeface="+mn-ea"/>
                <a:cs typeface="+mn-cs"/>
                <a:sym typeface="+mn-lt"/>
              </a:defRPr>
            </a:lvl1pPr>
          </a:lstStyle>
          <a:p>
            <a:r>
              <a:rPr lang="en-US" dirty="0"/>
              <a:t>Logo</a:t>
            </a: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0" cap="all" baseline="0">
                <a:solidFill>
                  <a:schemeClr val="accent5"/>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4328932"/>
            <a:ext cx="6868800" cy="834631"/>
          </a:xfrm>
          <a:prstGeom prst="rect">
            <a:avLst/>
          </a:prstGeom>
        </p:spPr>
        <p:txBody>
          <a:bodyPr anchor="b">
            <a:normAutofit/>
          </a:bodyPr>
          <a:lstStyle>
            <a:lvl1pPr algn="l">
              <a:lnSpc>
                <a:spcPct val="93000"/>
              </a:lnSpc>
              <a:defRPr sz="480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3114142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683108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68282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851002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dirty="0"/>
              <a:t>Click to add tit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solidFill>
                <a:latin typeface="+mn-lt"/>
                <a:ea typeface="+mn-ea"/>
                <a:cs typeface="+mn-cs"/>
                <a:sym typeface="+mn-lt"/>
              </a:rPr>
              <a:t>20190715 #LIDERna5 Projekt status i rozwiazania na Zarzad.pptx</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564509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74500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solidFill>
                <a:latin typeface="+mn-lt"/>
                <a:ea typeface="+mn-ea"/>
                <a:cs typeface="+mn-cs"/>
                <a:sym typeface="+mn-lt"/>
              </a:rPr>
              <a:t>20190715 #LIDERna5 Projekt status i rozwiazania na Zarzad.pptx</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019600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82525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0343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7" name="Rectangle 16"/>
          <p:cNvSpPr/>
          <p:nvPr userDrawn="1"/>
        </p:nvSpPr>
        <p:spPr bwMode="black">
          <a:xfrm>
            <a:off x="630936" y="626200"/>
            <a:ext cx="8125200" cy="5529600"/>
          </a:xfrm>
          <a:prstGeom prst="rect">
            <a:avLst/>
          </a:prstGeom>
          <a:gradFill flip="none" rotWithShape="1">
            <a:gsLst>
              <a:gs pos="0">
                <a:srgbClr val="570A0D">
                  <a:alpha val="89804"/>
                </a:srgbClr>
              </a:gs>
              <a:gs pos="100000">
                <a:srgbClr val="971217">
                  <a:alpha val="89804"/>
                </a:srgbClr>
              </a:gs>
            </a:gsLst>
            <a:lin ang="18900000" scaled="0"/>
            <a:tileRect/>
          </a:gradFill>
          <a:ln w="10795" cap="flat" cmpd="sng" algn="ctr">
            <a:noFill/>
            <a:prstDash val="soli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mn-lt"/>
              <a:ea typeface="+mn-ea"/>
              <a:cs typeface="+mn-cs"/>
              <a:sym typeface="+mn-lt"/>
            </a:endParaRPr>
          </a:p>
        </p:txBody>
      </p:sp>
      <p:pic>
        <p:nvPicPr>
          <p:cNvPr id="19" name="Picture 1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580948" y="2928595"/>
            <a:ext cx="6256424" cy="985568"/>
          </a:xfrm>
          <a:prstGeom prst="rect">
            <a:avLst/>
          </a:prstGeom>
        </p:spPr>
      </p:pic>
    </p:spTree>
    <p:extLst>
      <p:ext uri="{BB962C8B-B14F-4D97-AF65-F5344CB8AC3E}">
        <p14:creationId xmlns:p14="http://schemas.microsoft.com/office/powerpoint/2010/main" val="3182164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38364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9" name="Picture 18"/>
          <p:cNvPicPr>
            <a:picLocks noChangeAspect="1"/>
          </p:cNvPicPr>
          <p:nvPr userDrawn="1"/>
        </p:nvPicPr>
        <p:blipFill rotWithShape="1">
          <a:blip r:embed="rId5">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28" name="Picture 27"/>
          <p:cNvPicPr>
            <a:picLocks/>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5247632"/>
          </a:xfrm>
          <a:prstGeom prst="rect">
            <a:avLst/>
          </a:prstGeom>
        </p:spPr>
      </p:pic>
      <p:sp>
        <p:nvSpPr>
          <p:cNvPr id="29" name="Rectangle 28"/>
          <p:cNvSpPr/>
          <p:nvPr userDrawn="1"/>
        </p:nvSpPr>
        <p:spPr bwMode="black">
          <a:xfrm>
            <a:off x="630936" y="626200"/>
            <a:ext cx="8125200" cy="5529600"/>
          </a:xfrm>
          <a:prstGeom prst="rect">
            <a:avLst/>
          </a:prstGeom>
          <a:gradFill flip="none" rotWithShape="1">
            <a:gsLst>
              <a:gs pos="0">
                <a:srgbClr val="570A0D">
                  <a:alpha val="89804"/>
                </a:srgbClr>
              </a:gs>
              <a:gs pos="100000">
                <a:srgbClr val="971217">
                  <a:alpha val="89804"/>
                </a:srgbClr>
              </a:gs>
            </a:gsLst>
            <a:lin ang="18900000" scaled="0"/>
            <a:tileRect/>
          </a:gradFill>
          <a:ln w="10795" cap="flat" cmpd="sng" algn="ctr">
            <a:noFill/>
            <a:prstDash val="soli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mn-lt"/>
              <a:ea typeface="+mn-ea"/>
              <a:cs typeface="+mn-cs"/>
              <a:sym typeface="+mn-lt"/>
            </a:endParaRPr>
          </a:p>
        </p:txBody>
      </p:sp>
      <p:sp>
        <p:nvSpPr>
          <p:cNvPr id="3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mn-lt"/>
                <a:ea typeface="+mn-ea"/>
                <a:cs typeface="+mn-cs"/>
                <a:sym typeface="+mn-lt"/>
              </a:defRPr>
            </a:lvl1pPr>
          </a:lstStyle>
          <a:p>
            <a:r>
              <a:rPr lang="en-US" dirty="0"/>
              <a:t>Logo</a:t>
            </a:r>
          </a:p>
        </p:txBody>
      </p:sp>
      <p:sp>
        <p:nvSpPr>
          <p:cNvPr id="31"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0" cap="all" baseline="0">
                <a:solidFill>
                  <a:schemeClr val="accent5"/>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32"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33"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4800" baseline="0">
                <a:solidFill>
                  <a:schemeClr val="bg1"/>
                </a:solidFill>
                <a:latin typeface="+mj-lt"/>
                <a:ea typeface="+mj-ea"/>
                <a:cs typeface="+mj-cs"/>
                <a:sym typeface="+mj-lt"/>
              </a:defRPr>
            </a:lvl1pPr>
          </a:lstStyle>
          <a:p>
            <a:r>
              <a:rPr lang="en-US" dirty="0"/>
              <a:t>Title in Title Case</a:t>
            </a:r>
          </a:p>
        </p:txBody>
      </p:sp>
      <p:pic>
        <p:nvPicPr>
          <p:cNvPr id="34" name="Picture 3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7415" y="922417"/>
            <a:ext cx="2128705" cy="335333"/>
          </a:xfrm>
          <a:prstGeom prst="rect">
            <a:avLst/>
          </a:prstGeom>
        </p:spPr>
      </p:pic>
    </p:spTree>
    <p:extLst>
      <p:ext uri="{BB962C8B-B14F-4D97-AF65-F5344CB8AC3E}">
        <p14:creationId xmlns:p14="http://schemas.microsoft.com/office/powerpoint/2010/main" val="651971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120621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97844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868567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6453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800" b="0" i="0" baseline="0" dirty="0" err="1">
              <a:solidFill>
                <a:srgbClr val="FFFFFF"/>
              </a:solidFill>
              <a:latin typeface="Calibri" panose="020F0502020204030204" pitchFamily="34" charset="0"/>
              <a:ea typeface="+mj-ea"/>
              <a:cs typeface="+mj-cs"/>
              <a:sym typeface="Calibri" panose="020F050202020403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mn-lt"/>
                <a:ea typeface="+mn-ea"/>
                <a:cs typeface="+mn-cs"/>
                <a:sym typeface="+mn-lt"/>
              </a:defRPr>
            </a:lvl1pPr>
          </a:lstStyle>
          <a:p>
            <a:r>
              <a:rPr lang="en-US" dirty="0"/>
              <a:t>Logo</a:t>
            </a: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0" cap="all" baseline="0">
                <a:solidFill>
                  <a:schemeClr val="accent5"/>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4328932"/>
            <a:ext cx="6868800" cy="834631"/>
          </a:xfrm>
          <a:prstGeom prst="rect">
            <a:avLst/>
          </a:prstGeom>
        </p:spPr>
        <p:txBody>
          <a:bodyPr anchor="b">
            <a:normAutofit/>
          </a:bodyPr>
          <a:lstStyle>
            <a:lvl1pPr algn="l">
              <a:lnSpc>
                <a:spcPct val="93000"/>
              </a:lnSpc>
              <a:defRPr sz="480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2653495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033174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313136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dirty="0"/>
              <a:t>Click to add tit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solidFill>
                <a:latin typeface="+mn-lt"/>
                <a:ea typeface="+mn-ea"/>
                <a:cs typeface="+mn-cs"/>
                <a:sym typeface="+mn-lt"/>
              </a:rPr>
              <a:t>20190715 #LIDERna5 Projekt status i rozwiazania na Zarzad.pptx</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85817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96099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dirty="0"/>
              <a:t>Click to add tit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solidFill>
                <a:latin typeface="+mn-lt"/>
                <a:ea typeface="+mn-ea"/>
                <a:cs typeface="+mn-cs"/>
                <a:sym typeface="+mn-lt"/>
              </a:rPr>
              <a:t>20190715 #LIDERna5 Projekt status i rozwiazania na Zarzad.pptx</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697476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32721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solidFill>
                <a:latin typeface="+mn-lt"/>
                <a:ea typeface="+mn-ea"/>
                <a:cs typeface="+mn-cs"/>
                <a:sym typeface="+mn-lt"/>
              </a:rPr>
              <a:t>20190715 #LIDERna5 Projekt status i rozwiazania na Zarzad.pptx</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354978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97638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7" name="Rectangle 16"/>
          <p:cNvSpPr/>
          <p:nvPr userDrawn="1"/>
        </p:nvSpPr>
        <p:spPr bwMode="black">
          <a:xfrm>
            <a:off x="630936" y="626200"/>
            <a:ext cx="8125200" cy="5529600"/>
          </a:xfrm>
          <a:prstGeom prst="rect">
            <a:avLst/>
          </a:prstGeom>
          <a:gradFill flip="none" rotWithShape="1">
            <a:gsLst>
              <a:gs pos="0">
                <a:srgbClr val="570A0D">
                  <a:alpha val="89804"/>
                </a:srgbClr>
              </a:gs>
              <a:gs pos="100000">
                <a:srgbClr val="971217">
                  <a:alpha val="89804"/>
                </a:srgbClr>
              </a:gs>
            </a:gsLst>
            <a:lin ang="18900000" scaled="0"/>
            <a:tileRect/>
          </a:gradFill>
          <a:ln w="10795" cap="flat" cmpd="sng" algn="ctr">
            <a:noFill/>
            <a:prstDash val="soli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mn-lt"/>
              <a:ea typeface="+mn-ea"/>
              <a:cs typeface="+mn-cs"/>
              <a:sym typeface="+mn-lt"/>
            </a:endParaRPr>
          </a:p>
        </p:txBody>
      </p:sp>
      <p:pic>
        <p:nvPicPr>
          <p:cNvPr id="19" name="Picture 1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580948" y="2928595"/>
            <a:ext cx="6256424" cy="985568"/>
          </a:xfrm>
          <a:prstGeom prst="rect">
            <a:avLst/>
          </a:prstGeom>
        </p:spPr>
      </p:pic>
    </p:spTree>
    <p:extLst>
      <p:ext uri="{BB962C8B-B14F-4D97-AF65-F5344CB8AC3E}">
        <p14:creationId xmlns:p14="http://schemas.microsoft.com/office/powerpoint/2010/main" val="1520492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96017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9" name="Picture 18"/>
          <p:cNvPicPr>
            <a:picLocks noChangeAspect="1"/>
          </p:cNvPicPr>
          <p:nvPr userDrawn="1"/>
        </p:nvPicPr>
        <p:blipFill rotWithShape="1">
          <a:blip r:embed="rId5">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28" name="Picture 27"/>
          <p:cNvPicPr>
            <a:picLocks/>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5247632"/>
          </a:xfrm>
          <a:prstGeom prst="rect">
            <a:avLst/>
          </a:prstGeom>
        </p:spPr>
      </p:pic>
      <p:sp>
        <p:nvSpPr>
          <p:cNvPr id="29" name="Rectangle 28"/>
          <p:cNvSpPr/>
          <p:nvPr userDrawn="1"/>
        </p:nvSpPr>
        <p:spPr bwMode="black">
          <a:xfrm>
            <a:off x="630936" y="626200"/>
            <a:ext cx="8125200" cy="5529600"/>
          </a:xfrm>
          <a:prstGeom prst="rect">
            <a:avLst/>
          </a:prstGeom>
          <a:gradFill flip="none" rotWithShape="1">
            <a:gsLst>
              <a:gs pos="0">
                <a:srgbClr val="570A0D">
                  <a:alpha val="89804"/>
                </a:srgbClr>
              </a:gs>
              <a:gs pos="100000">
                <a:srgbClr val="971217">
                  <a:alpha val="89804"/>
                </a:srgbClr>
              </a:gs>
            </a:gsLst>
            <a:lin ang="18900000" scaled="0"/>
            <a:tileRect/>
          </a:gradFill>
          <a:ln w="10795" cap="flat" cmpd="sng" algn="ctr">
            <a:noFill/>
            <a:prstDash val="soli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mn-lt"/>
              <a:ea typeface="+mn-ea"/>
              <a:cs typeface="+mn-cs"/>
              <a:sym typeface="+mn-lt"/>
            </a:endParaRPr>
          </a:p>
        </p:txBody>
      </p:sp>
      <p:sp>
        <p:nvSpPr>
          <p:cNvPr id="3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mn-lt"/>
                <a:ea typeface="+mn-ea"/>
                <a:cs typeface="+mn-cs"/>
                <a:sym typeface="+mn-lt"/>
              </a:defRPr>
            </a:lvl1pPr>
          </a:lstStyle>
          <a:p>
            <a:r>
              <a:rPr lang="en-US" dirty="0"/>
              <a:t>Logo</a:t>
            </a:r>
          </a:p>
        </p:txBody>
      </p:sp>
      <p:sp>
        <p:nvSpPr>
          <p:cNvPr id="31"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0" cap="all" baseline="0">
                <a:solidFill>
                  <a:schemeClr val="accent5"/>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32"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33"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4800" baseline="0">
                <a:solidFill>
                  <a:schemeClr val="bg1"/>
                </a:solidFill>
                <a:latin typeface="+mj-lt"/>
                <a:ea typeface="+mj-ea"/>
                <a:cs typeface="+mj-cs"/>
                <a:sym typeface="+mj-lt"/>
              </a:defRPr>
            </a:lvl1pPr>
          </a:lstStyle>
          <a:p>
            <a:r>
              <a:rPr lang="en-US" dirty="0"/>
              <a:t>Title in Title Case</a:t>
            </a:r>
          </a:p>
        </p:txBody>
      </p:sp>
      <p:pic>
        <p:nvPicPr>
          <p:cNvPr id="34" name="Picture 3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7415" y="922417"/>
            <a:ext cx="2128705" cy="335333"/>
          </a:xfrm>
          <a:prstGeom prst="rect">
            <a:avLst/>
          </a:prstGeom>
        </p:spPr>
      </p:pic>
    </p:spTree>
    <p:extLst>
      <p:ext uri="{BB962C8B-B14F-4D97-AF65-F5344CB8AC3E}">
        <p14:creationId xmlns:p14="http://schemas.microsoft.com/office/powerpoint/2010/main" val="4261207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48779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84031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25932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92629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3397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1-Cover">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B01EC92-E13B-4DE8-A424-1120EF5E4B95}"/>
              </a:ext>
            </a:extLst>
          </p:cNvPr>
          <p:cNvSpPr>
            <a:spLocks noGrp="1"/>
          </p:cNvSpPr>
          <p:nvPr>
            <p:ph type="pic" sz="quarter" idx="10"/>
          </p:nvPr>
        </p:nvSpPr>
        <p:spPr>
          <a:xfrm>
            <a:off x="-1" y="1"/>
            <a:ext cx="12192000" cy="5714020"/>
          </a:xfrm>
          <a:custGeom>
            <a:avLst/>
            <a:gdLst>
              <a:gd name="connsiteX0" fmla="*/ 2 w 18288000"/>
              <a:gd name="connsiteY0" fmla="*/ 0 h 8571029"/>
              <a:gd name="connsiteX1" fmla="*/ 18288000 w 18288000"/>
              <a:gd name="connsiteY1" fmla="*/ 0 h 8571029"/>
              <a:gd name="connsiteX2" fmla="*/ 18288000 w 18288000"/>
              <a:gd name="connsiteY2" fmla="*/ 3212117 h 8571029"/>
              <a:gd name="connsiteX3" fmla="*/ 18288000 w 18288000"/>
              <a:gd name="connsiteY3" fmla="*/ 4383282 h 8571029"/>
              <a:gd name="connsiteX4" fmla="*/ 18288000 w 18288000"/>
              <a:gd name="connsiteY4" fmla="*/ 7875053 h 8571029"/>
              <a:gd name="connsiteX5" fmla="*/ 18241932 w 18288000"/>
              <a:gd name="connsiteY5" fmla="*/ 7882685 h 8571029"/>
              <a:gd name="connsiteX6" fmla="*/ 9144001 w 18288000"/>
              <a:gd name="connsiteY6" fmla="*/ 8571029 h 8571029"/>
              <a:gd name="connsiteX7" fmla="*/ 46069 w 18288000"/>
              <a:gd name="connsiteY7" fmla="*/ 7882685 h 8571029"/>
              <a:gd name="connsiteX8" fmla="*/ 0 w 18288000"/>
              <a:gd name="connsiteY8" fmla="*/ 7875053 h 8571029"/>
              <a:gd name="connsiteX9" fmla="*/ 0 w 18288000"/>
              <a:gd name="connsiteY9" fmla="*/ 3212117 h 8571029"/>
              <a:gd name="connsiteX10" fmla="*/ 2 w 18288000"/>
              <a:gd name="connsiteY10" fmla="*/ 3212117 h 8571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88000" h="8571029">
                <a:moveTo>
                  <a:pt x="2" y="0"/>
                </a:moveTo>
                <a:lnTo>
                  <a:pt x="18288000" y="0"/>
                </a:lnTo>
                <a:lnTo>
                  <a:pt x="18288000" y="3212117"/>
                </a:lnTo>
                <a:lnTo>
                  <a:pt x="18288000" y="4383282"/>
                </a:lnTo>
                <a:lnTo>
                  <a:pt x="18288000" y="7875053"/>
                </a:lnTo>
                <a:lnTo>
                  <a:pt x="18241932" y="7882685"/>
                </a:lnTo>
                <a:cubicBezTo>
                  <a:pt x="15275460" y="8335949"/>
                  <a:pt x="12237180" y="8571029"/>
                  <a:pt x="9144001" y="8571029"/>
                </a:cubicBezTo>
                <a:cubicBezTo>
                  <a:pt x="6050822" y="8571029"/>
                  <a:pt x="3012548" y="8335949"/>
                  <a:pt x="46069" y="7882685"/>
                </a:cubicBezTo>
                <a:lnTo>
                  <a:pt x="0" y="7875053"/>
                </a:lnTo>
                <a:lnTo>
                  <a:pt x="0" y="3212117"/>
                </a:lnTo>
                <a:lnTo>
                  <a:pt x="2" y="3212117"/>
                </a:lnTo>
                <a:close/>
              </a:path>
            </a:pathLst>
          </a:custGeom>
          <a:solidFill>
            <a:schemeClr val="bg1">
              <a:lumMod val="75000"/>
            </a:schemeClr>
          </a:solidFill>
        </p:spPr>
        <p:txBody>
          <a:bodyPr wrap="square">
            <a:noAutofit/>
          </a:bodyPr>
          <a:lstStyle>
            <a:lvl1pPr>
              <a:defRPr b="0" i="0">
                <a:latin typeface="Sofia Pro Light" panose="020B0000000000000000" pitchFamily="34" charset="0"/>
              </a:defRPr>
            </a:lvl1pPr>
          </a:lstStyle>
          <a:p>
            <a:endParaRPr lang="en-US" dirty="0"/>
          </a:p>
        </p:txBody>
      </p:sp>
    </p:spTree>
    <p:extLst>
      <p:ext uri="{BB962C8B-B14F-4D97-AF65-F5344CB8AC3E}">
        <p14:creationId xmlns:p14="http://schemas.microsoft.com/office/powerpoint/2010/main" val="156046979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3046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solidFill>
                <a:latin typeface="+mn-lt"/>
                <a:ea typeface="+mn-ea"/>
                <a:cs typeface="+mn-cs"/>
                <a:sym typeface="+mn-lt"/>
              </a:rPr>
              <a:t>20190715 #LIDERna5 Projekt status i rozwiazania na Zarzad.pptx</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88034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l-PL" sz="700">
                <a:solidFill>
                  <a:schemeClr val="bg1">
                    <a:lumMod val="50000"/>
                  </a:schemeClr>
                </a:solidFill>
                <a:latin typeface="+mn-lt"/>
                <a:ea typeface="+mn-ea"/>
                <a:cs typeface="+mn-cs"/>
                <a:sym typeface="+mn-lt"/>
              </a:rPr>
              <a:t>20190715 #LIDERna5 Projekt status i rozwiazania na Zarzad.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48209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7" name="Rectangle 16"/>
          <p:cNvSpPr/>
          <p:nvPr userDrawn="1"/>
        </p:nvSpPr>
        <p:spPr bwMode="black">
          <a:xfrm>
            <a:off x="630936" y="626200"/>
            <a:ext cx="8125200" cy="5529600"/>
          </a:xfrm>
          <a:prstGeom prst="rect">
            <a:avLst/>
          </a:prstGeom>
          <a:gradFill flip="none" rotWithShape="1">
            <a:gsLst>
              <a:gs pos="0">
                <a:srgbClr val="570A0D">
                  <a:alpha val="89804"/>
                </a:srgbClr>
              </a:gs>
              <a:gs pos="100000">
                <a:srgbClr val="971217">
                  <a:alpha val="89804"/>
                </a:srgbClr>
              </a:gs>
            </a:gsLst>
            <a:lin ang="18900000" scaled="0"/>
            <a:tileRect/>
          </a:gradFill>
          <a:ln w="10795" cap="flat" cmpd="sng" algn="ctr">
            <a:noFill/>
            <a:prstDash val="soli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mn-lt"/>
              <a:ea typeface="+mn-ea"/>
              <a:cs typeface="+mn-cs"/>
              <a:sym typeface="+mn-lt"/>
            </a:endParaRPr>
          </a:p>
        </p:txBody>
      </p:sp>
      <p:pic>
        <p:nvPicPr>
          <p:cNvPr id="19" name="Picture 1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580948" y="2928595"/>
            <a:ext cx="6256424" cy="985568"/>
          </a:xfrm>
          <a:prstGeom prst="rect">
            <a:avLst/>
          </a:prstGeom>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2.xml"/><Relationship Id="rId3" Type="http://schemas.openxmlformats.org/officeDocument/2006/relationships/slideLayout" Target="../slideLayouts/slideLayout18.xml"/><Relationship Id="rId21" Type="http://schemas.openxmlformats.org/officeDocument/2006/relationships/oleObject" Target="../embeddings/oleObject17.bin"/><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tags" Target="../tags/tag3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tags" Target="../tags/tag31.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ags" Target="../tags/tag61.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ags" Target="../tags/tag60.xml"/><Relationship Id="rId2" Type="http://schemas.openxmlformats.org/officeDocument/2006/relationships/slideLayout" Target="../slideLayouts/slideLayout34.xml"/><Relationship Id="rId16" Type="http://schemas.openxmlformats.org/officeDocument/2006/relationships/theme" Target="../theme/theme3.xml"/><Relationship Id="rId20" Type="http://schemas.openxmlformats.org/officeDocument/2006/relationships/image" Target="../media/image1.emf"/><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oleObject" Target="../embeddings/oleObject33.bin"/><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tags" Target="../tags/tag89.xml"/><Relationship Id="rId3" Type="http://schemas.openxmlformats.org/officeDocument/2006/relationships/slideLayout" Target="../slideLayouts/slideLayout50.xml"/><Relationship Id="rId21" Type="http://schemas.openxmlformats.org/officeDocument/2006/relationships/image" Target="../media/image1.emf"/><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heme" Target="../theme/theme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oleObject" Target="../embeddings/oleObject49.bin"/><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tags" Target="../tags/tag90.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1280135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3" name="Prostokąt 2" hidden="1"/>
          <p:cNvSpPr/>
          <p:nvPr userDrawn="1">
            <p:custDataLst>
              <p:tags r:id="rId18"/>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err="1">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07" r:id="rId4"/>
    <p:sldLayoutId id="2147485090" r:id="rId5"/>
    <p:sldLayoutId id="2147485091" r:id="rId6"/>
    <p:sldLayoutId id="2147485092" r:id="rId7"/>
    <p:sldLayoutId id="2147485093" r:id="rId8"/>
    <p:sldLayoutId id="2147485116" r:id="rId9"/>
    <p:sldLayoutId id="2147485161" r:id="rId10"/>
    <p:sldLayoutId id="2147485159" r:id="rId11"/>
    <p:sldLayoutId id="2147485119" r:id="rId12"/>
    <p:sldLayoutId id="2147485137" r:id="rId13"/>
    <p:sldLayoutId id="2147485120" r:id="rId14"/>
    <p:sldLayoutId id="2147485121" r:id="rId1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1">
              <a:lumMod val="50000"/>
            </a:schemeClr>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3" name="Prostokąt 2" hidden="1"/>
          <p:cNvSpPr/>
          <p:nvPr userDrawn="1">
            <p:custDataLst>
              <p:tags r:id="rId20"/>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err="1">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945293413"/>
      </p:ext>
    </p:extLst>
  </p:cSld>
  <p:clrMap bg1="lt1" tx1="dk1" bg2="lt2" tx2="dk2" accent1="accent1" accent2="accent2" accent3="accent3" accent4="accent4" accent5="accent5" accent6="accent6" hlink="hlink" folHlink="folHlink"/>
  <p:sldLayoutIdLst>
    <p:sldLayoutId id="2147485173" r:id="rId1"/>
    <p:sldLayoutId id="2147485174" r:id="rId2"/>
    <p:sldLayoutId id="2147485175" r:id="rId3"/>
    <p:sldLayoutId id="2147485176" r:id="rId4"/>
    <p:sldLayoutId id="2147485177" r:id="rId5"/>
    <p:sldLayoutId id="2147485178" r:id="rId6"/>
    <p:sldLayoutId id="2147485179" r:id="rId7"/>
    <p:sldLayoutId id="2147485180" r:id="rId8"/>
    <p:sldLayoutId id="2147485181" r:id="rId9"/>
    <p:sldLayoutId id="2147485182" r:id="rId10"/>
    <p:sldLayoutId id="2147485183" r:id="rId11"/>
    <p:sldLayoutId id="2147485184" r:id="rId12"/>
    <p:sldLayoutId id="2147485185" r:id="rId13"/>
    <p:sldLayoutId id="2147485186" r:id="rId14"/>
    <p:sldLayoutId id="2147485187" r:id="rId15"/>
    <p:sldLayoutId id="2147485208" r:id="rId16"/>
    <p:sldLayoutId id="2147485226" r:id="rId1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1">
              <a:lumMod val="50000"/>
            </a:schemeClr>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2" name="Object 1"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3" name="Prostokąt 2" hidden="1"/>
          <p:cNvSpPr/>
          <p:nvPr userDrawn="1">
            <p:custDataLst>
              <p:tags r:id="rId18"/>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err="1">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63778316"/>
      </p:ext>
    </p:extLst>
  </p:cSld>
  <p:clrMap bg1="lt1" tx1="dk1" bg2="lt2" tx2="dk2" accent1="accent1" accent2="accent2" accent3="accent3" accent4="accent4" accent5="accent5" accent6="accent6" hlink="hlink" folHlink="folHlink"/>
  <p:sldLayoutIdLst>
    <p:sldLayoutId id="2147485192" r:id="rId1"/>
    <p:sldLayoutId id="2147485193" r:id="rId2"/>
    <p:sldLayoutId id="2147485194" r:id="rId3"/>
    <p:sldLayoutId id="2147485195" r:id="rId4"/>
    <p:sldLayoutId id="2147485196" r:id="rId5"/>
    <p:sldLayoutId id="2147485197" r:id="rId6"/>
    <p:sldLayoutId id="2147485198" r:id="rId7"/>
    <p:sldLayoutId id="2147485199" r:id="rId8"/>
    <p:sldLayoutId id="2147485200" r:id="rId9"/>
    <p:sldLayoutId id="2147485201" r:id="rId10"/>
    <p:sldLayoutId id="2147485202" r:id="rId11"/>
    <p:sldLayoutId id="2147485203" r:id="rId12"/>
    <p:sldLayoutId id="2147485204" r:id="rId13"/>
    <p:sldLayoutId id="2147485205" r:id="rId14"/>
    <p:sldLayoutId id="2147485206" r:id="rId1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1">
              <a:lumMod val="50000"/>
            </a:schemeClr>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3" name="Prostokąt 2" hidden="1"/>
          <p:cNvSpPr/>
          <p:nvPr userDrawn="1">
            <p:custDataLst>
              <p:tags r:id="rId19"/>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err="1">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126538315"/>
      </p:ext>
    </p:extLst>
  </p:cSld>
  <p:clrMap bg1="lt1" tx1="dk1" bg2="lt2" tx2="dk2" accent1="accent1" accent2="accent2" accent3="accent3" accent4="accent4" accent5="accent5" accent6="accent6" hlink="hlink" folHlink="folHlink"/>
  <p:sldLayoutIdLst>
    <p:sldLayoutId id="2147485210" r:id="rId1"/>
    <p:sldLayoutId id="2147485211" r:id="rId2"/>
    <p:sldLayoutId id="2147485212" r:id="rId3"/>
    <p:sldLayoutId id="2147485213" r:id="rId4"/>
    <p:sldLayoutId id="2147485214" r:id="rId5"/>
    <p:sldLayoutId id="2147485215" r:id="rId6"/>
    <p:sldLayoutId id="2147485216" r:id="rId7"/>
    <p:sldLayoutId id="2147485217" r:id="rId8"/>
    <p:sldLayoutId id="2147485218" r:id="rId9"/>
    <p:sldLayoutId id="2147485219" r:id="rId10"/>
    <p:sldLayoutId id="2147485220" r:id="rId11"/>
    <p:sldLayoutId id="2147485221" r:id="rId12"/>
    <p:sldLayoutId id="2147485222" r:id="rId13"/>
    <p:sldLayoutId id="2147485223" r:id="rId14"/>
    <p:sldLayoutId id="2147485224" r:id="rId15"/>
    <p:sldLayoutId id="2147485225" r:id="rId1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1">
              <a:lumMod val="50000"/>
            </a:schemeClr>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31.xml"/><Relationship Id="rId7" Type="http://schemas.openxmlformats.org/officeDocument/2006/relationships/image" Target="../media/image11.B8162780"/><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0.emf"/><Relationship Id="rId5" Type="http://schemas.openxmlformats.org/officeDocument/2006/relationships/oleObject" Target="../embeddings/oleObject68.bin"/><Relationship Id="rId4" Type="http://schemas.openxmlformats.org/officeDocument/2006/relationships/notesSlide" Target="../notesSlides/notesSlide9.xml"/><Relationship Id="rId9" Type="http://schemas.openxmlformats.org/officeDocument/2006/relationships/image" Target="../media/image30.png"/></Relationships>
</file>

<file path=ppt/slides/_rels/slide1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31.xml"/><Relationship Id="rId7" Type="http://schemas.openxmlformats.org/officeDocument/2006/relationships/image" Target="../media/image11.B8162780"/><Relationship Id="rId12" Type="http://schemas.openxmlformats.org/officeDocument/2006/relationships/image" Target="../media/image35.pn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0.emf"/><Relationship Id="rId11" Type="http://schemas.openxmlformats.org/officeDocument/2006/relationships/image" Target="../media/image34.png"/><Relationship Id="rId5" Type="http://schemas.openxmlformats.org/officeDocument/2006/relationships/oleObject" Target="../embeddings/oleObject69.bin"/><Relationship Id="rId10" Type="http://schemas.openxmlformats.org/officeDocument/2006/relationships/image" Target="../media/image33.png"/><Relationship Id="rId4" Type="http://schemas.openxmlformats.org/officeDocument/2006/relationships/notesSlide" Target="../notesSlides/notesSlide10.xml"/><Relationship Id="rId9" Type="http://schemas.openxmlformats.org/officeDocument/2006/relationships/image" Target="../media/image32.png"/></Relationships>
</file>

<file path=ppt/slides/_rels/slide12.xml.rels><?xml version="1.0" encoding="UTF-8" standalone="yes"?>
<Relationships xmlns="http://schemas.openxmlformats.org/package/2006/relationships"><Relationship Id="rId8" Type="http://schemas.openxmlformats.org/officeDocument/2006/relationships/image" Target="../media/image36.emf"/><Relationship Id="rId13" Type="http://schemas.openxmlformats.org/officeDocument/2006/relationships/image" Target="../media/image41.png"/><Relationship Id="rId3" Type="http://schemas.openxmlformats.org/officeDocument/2006/relationships/slideLayout" Target="../slideLayouts/slideLayout31.xml"/><Relationship Id="rId7" Type="http://schemas.openxmlformats.org/officeDocument/2006/relationships/image" Target="../media/image11.B8162780"/><Relationship Id="rId12" Type="http://schemas.openxmlformats.org/officeDocument/2006/relationships/image" Target="../media/image40.emf"/><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10.emf"/><Relationship Id="rId11" Type="http://schemas.openxmlformats.org/officeDocument/2006/relationships/image" Target="../media/image39.emf"/><Relationship Id="rId5" Type="http://schemas.openxmlformats.org/officeDocument/2006/relationships/oleObject" Target="../embeddings/oleObject69.bin"/><Relationship Id="rId10" Type="http://schemas.openxmlformats.org/officeDocument/2006/relationships/image" Target="../media/image38.emf"/><Relationship Id="rId4" Type="http://schemas.openxmlformats.org/officeDocument/2006/relationships/notesSlide" Target="../notesSlides/notesSlide11.xml"/><Relationship Id="rId9" Type="http://schemas.openxmlformats.org/officeDocument/2006/relationships/image" Target="../media/image37.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11.B8162780"/><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10.emf"/><Relationship Id="rId5" Type="http://schemas.openxmlformats.org/officeDocument/2006/relationships/oleObject" Target="../embeddings/oleObject67.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70.bin"/><Relationship Id="rId13" Type="http://schemas.openxmlformats.org/officeDocument/2006/relationships/image" Target="../media/image47.png"/><Relationship Id="rId3" Type="http://schemas.openxmlformats.org/officeDocument/2006/relationships/slideLayout" Target="../slideLayouts/slideLayout31.xml"/><Relationship Id="rId7" Type="http://schemas.openxmlformats.org/officeDocument/2006/relationships/image" Target="../media/image44.png"/><Relationship Id="rId12" Type="http://schemas.openxmlformats.org/officeDocument/2006/relationships/image" Target="../media/image46.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43.png"/><Relationship Id="rId11" Type="http://schemas.openxmlformats.org/officeDocument/2006/relationships/image" Target="../media/image45.png"/><Relationship Id="rId5" Type="http://schemas.openxmlformats.org/officeDocument/2006/relationships/image" Target="../media/image42.png"/><Relationship Id="rId15" Type="http://schemas.openxmlformats.org/officeDocument/2006/relationships/image" Target="../media/image49.png"/><Relationship Id="rId10" Type="http://schemas.openxmlformats.org/officeDocument/2006/relationships/image" Target="../media/image11.B8162780"/><Relationship Id="rId4" Type="http://schemas.openxmlformats.org/officeDocument/2006/relationships/notesSlide" Target="../notesSlides/notesSlide13.xml"/><Relationship Id="rId9" Type="http://schemas.openxmlformats.org/officeDocument/2006/relationships/image" Target="../media/image10.emf"/><Relationship Id="rId1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0.emf"/><Relationship Id="rId5" Type="http://schemas.openxmlformats.org/officeDocument/2006/relationships/oleObject" Target="../embeddings/oleObject71.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53.png"/><Relationship Id="rId18" Type="http://schemas.openxmlformats.org/officeDocument/2006/relationships/image" Target="../media/image49.png"/><Relationship Id="rId3" Type="http://schemas.openxmlformats.org/officeDocument/2006/relationships/slideLayout" Target="../slideLayouts/slideLayout31.xml"/><Relationship Id="rId7" Type="http://schemas.openxmlformats.org/officeDocument/2006/relationships/oleObject" Target="../embeddings/oleObject67.bin"/><Relationship Id="rId12" Type="http://schemas.openxmlformats.org/officeDocument/2006/relationships/image" Target="../media/image52.png"/><Relationship Id="rId17" Type="http://schemas.openxmlformats.org/officeDocument/2006/relationships/image" Target="../media/image48.png"/><Relationship Id="rId2" Type="http://schemas.openxmlformats.org/officeDocument/2006/relationships/tags" Target="../tags/tag147.xml"/><Relationship Id="rId16" Type="http://schemas.openxmlformats.org/officeDocument/2006/relationships/image" Target="../media/image56.png"/><Relationship Id="rId1" Type="http://schemas.openxmlformats.org/officeDocument/2006/relationships/tags" Target="../tags/tag146.xml"/><Relationship Id="rId6" Type="http://schemas.openxmlformats.org/officeDocument/2006/relationships/image" Target="../media/image44.png"/><Relationship Id="rId11" Type="http://schemas.openxmlformats.org/officeDocument/2006/relationships/image" Target="../media/image51.png"/><Relationship Id="rId5" Type="http://schemas.openxmlformats.org/officeDocument/2006/relationships/image" Target="../media/image50.jpeg"/><Relationship Id="rId15" Type="http://schemas.openxmlformats.org/officeDocument/2006/relationships/image" Target="../media/image55.png"/><Relationship Id="rId10" Type="http://schemas.openxmlformats.org/officeDocument/2006/relationships/image" Target="../media/image45.png"/><Relationship Id="rId4" Type="http://schemas.openxmlformats.org/officeDocument/2006/relationships/notesSlide" Target="../notesSlides/notesSlide15.xml"/><Relationship Id="rId9" Type="http://schemas.openxmlformats.org/officeDocument/2006/relationships/image" Target="../media/image11.B8162780"/><Relationship Id="rId14" Type="http://schemas.openxmlformats.org/officeDocument/2006/relationships/image" Target="../media/image54.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57.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0.emf"/><Relationship Id="rId5" Type="http://schemas.openxmlformats.org/officeDocument/2006/relationships/oleObject" Target="../embeddings/oleObject71.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8" Type="http://schemas.openxmlformats.org/officeDocument/2006/relationships/image" Target="../media/image11.B8162780"/><Relationship Id="rId13" Type="http://schemas.openxmlformats.org/officeDocument/2006/relationships/image" Target="../media/image48.png"/><Relationship Id="rId3" Type="http://schemas.openxmlformats.org/officeDocument/2006/relationships/slideLayout" Target="../slideLayouts/slideLayout31.xml"/><Relationship Id="rId7" Type="http://schemas.openxmlformats.org/officeDocument/2006/relationships/image" Target="../media/image10.emf"/><Relationship Id="rId12" Type="http://schemas.openxmlformats.org/officeDocument/2006/relationships/image" Target="../media/image60.jfif"/><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oleObject" Target="../embeddings/oleObject71.bin"/><Relationship Id="rId11" Type="http://schemas.openxmlformats.org/officeDocument/2006/relationships/image" Target="../media/image59.png"/><Relationship Id="rId5" Type="http://schemas.openxmlformats.org/officeDocument/2006/relationships/image" Target="../media/image44.png"/><Relationship Id="rId10" Type="http://schemas.openxmlformats.org/officeDocument/2006/relationships/image" Target="../media/image58.png"/><Relationship Id="rId4" Type="http://schemas.openxmlformats.org/officeDocument/2006/relationships/notesSlide" Target="../notesSlides/notesSlide17.xml"/><Relationship Id="rId9" Type="http://schemas.openxmlformats.org/officeDocument/2006/relationships/image" Target="../media/image45.png"/><Relationship Id="rId14" Type="http://schemas.openxmlformats.org/officeDocument/2006/relationships/image" Target="../media/image49.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11.B8162780"/><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10.emf"/><Relationship Id="rId5" Type="http://schemas.openxmlformats.org/officeDocument/2006/relationships/oleObject" Target="../embeddings/oleObject71.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11.B8162780"/><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0.emf"/><Relationship Id="rId5" Type="http://schemas.openxmlformats.org/officeDocument/2006/relationships/oleObject" Target="../embeddings/oleObject65.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11.B8162780"/><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0.emf"/><Relationship Id="rId5" Type="http://schemas.openxmlformats.org/officeDocument/2006/relationships/oleObject" Target="../embeddings/oleObject71.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31.xml"/><Relationship Id="rId7" Type="http://schemas.openxmlformats.org/officeDocument/2006/relationships/image" Target="../media/image11.B8162780"/><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0.emf"/><Relationship Id="rId5" Type="http://schemas.openxmlformats.org/officeDocument/2006/relationships/oleObject" Target="../embeddings/oleObject65.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31.xml"/><Relationship Id="rId7" Type="http://schemas.openxmlformats.org/officeDocument/2006/relationships/image" Target="../media/image11.B8162780"/><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0.emf"/><Relationship Id="rId5" Type="http://schemas.openxmlformats.org/officeDocument/2006/relationships/oleObject" Target="../embeddings/oleObject65.bin"/><Relationship Id="rId4" Type="http://schemas.openxmlformats.org/officeDocument/2006/relationships/notesSlide" Target="../notesSlides/notesSlide3.xml"/><Relationship Id="rId9" Type="http://schemas.openxmlformats.org/officeDocument/2006/relationships/chart" Target="../charts/chart3.xm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4.png"/><Relationship Id="rId18" Type="http://schemas.openxmlformats.org/officeDocument/2006/relationships/image" Target="../media/image19.png"/><Relationship Id="rId3" Type="http://schemas.openxmlformats.org/officeDocument/2006/relationships/slideLayout" Target="../slideLayouts/slideLayout31.xml"/><Relationship Id="rId7" Type="http://schemas.openxmlformats.org/officeDocument/2006/relationships/image" Target="../media/image11.B8162780"/><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tags" Target="../tags/tag125.xml"/><Relationship Id="rId16" Type="http://schemas.openxmlformats.org/officeDocument/2006/relationships/image" Target="../media/image17.png"/><Relationship Id="rId20" Type="http://schemas.openxmlformats.org/officeDocument/2006/relationships/image" Target="../media/image21.png"/><Relationship Id="rId1" Type="http://schemas.openxmlformats.org/officeDocument/2006/relationships/tags" Target="../tags/tag124.xml"/><Relationship Id="rId6" Type="http://schemas.openxmlformats.org/officeDocument/2006/relationships/image" Target="../media/image10.emf"/><Relationship Id="rId11" Type="http://schemas.openxmlformats.org/officeDocument/2006/relationships/image" Target="../media/image12.png"/><Relationship Id="rId5" Type="http://schemas.openxmlformats.org/officeDocument/2006/relationships/oleObject" Target="../embeddings/oleObject66.bin"/><Relationship Id="rId15" Type="http://schemas.openxmlformats.org/officeDocument/2006/relationships/image" Target="../media/image16.png"/><Relationship Id="rId10" Type="http://schemas.openxmlformats.org/officeDocument/2006/relationships/chart" Target="../charts/chart6.xml"/><Relationship Id="rId19" Type="http://schemas.openxmlformats.org/officeDocument/2006/relationships/image" Target="../media/image20.png"/><Relationship Id="rId4" Type="http://schemas.openxmlformats.org/officeDocument/2006/relationships/notesSlide" Target="../notesSlides/notesSlide4.xml"/><Relationship Id="rId9" Type="http://schemas.openxmlformats.org/officeDocument/2006/relationships/chart" Target="../charts/chart5.xml"/><Relationship Id="rId14"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chart" Target="../charts/chart7.xml"/><Relationship Id="rId13" Type="http://schemas.openxmlformats.org/officeDocument/2006/relationships/image" Target="../media/image21.png"/><Relationship Id="rId18" Type="http://schemas.openxmlformats.org/officeDocument/2006/relationships/image" Target="../media/image25.png"/><Relationship Id="rId3" Type="http://schemas.openxmlformats.org/officeDocument/2006/relationships/slideLayout" Target="../slideLayouts/slideLayout31.xml"/><Relationship Id="rId7" Type="http://schemas.openxmlformats.org/officeDocument/2006/relationships/image" Target="../media/image11.B8162780"/><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tags" Target="../tags/tag127.xml"/><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tags" Target="../tags/tag126.xml"/><Relationship Id="rId6" Type="http://schemas.openxmlformats.org/officeDocument/2006/relationships/image" Target="../media/image10.emf"/><Relationship Id="rId11" Type="http://schemas.openxmlformats.org/officeDocument/2006/relationships/image" Target="../media/image15.png"/><Relationship Id="rId5" Type="http://schemas.openxmlformats.org/officeDocument/2006/relationships/oleObject" Target="../embeddings/oleObject66.bin"/><Relationship Id="rId15" Type="http://schemas.openxmlformats.org/officeDocument/2006/relationships/image" Target="../media/image22.png"/><Relationship Id="rId10" Type="http://schemas.openxmlformats.org/officeDocument/2006/relationships/image" Target="../media/image14.png"/><Relationship Id="rId19" Type="http://schemas.openxmlformats.org/officeDocument/2006/relationships/image" Target="../media/image26.png"/><Relationship Id="rId4" Type="http://schemas.openxmlformats.org/officeDocument/2006/relationships/notesSlide" Target="../notesSlides/notesSlide5.xml"/><Relationship Id="rId9" Type="http://schemas.openxmlformats.org/officeDocument/2006/relationships/chart" Target="../charts/chart8.xml"/><Relationship Id="rId14" Type="http://schemas.openxmlformats.org/officeDocument/2006/relationships/chart" Target="../charts/chart9.xml"/></Relationships>
</file>

<file path=ppt/slides/_rels/slide7.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slideLayout" Target="../slideLayouts/slideLayout31.xml"/><Relationship Id="rId7" Type="http://schemas.openxmlformats.org/officeDocument/2006/relationships/image" Target="../media/image11.B8162780"/><Relationship Id="rId12" Type="http://schemas.openxmlformats.org/officeDocument/2006/relationships/image" Target="../media/image28.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0.emf"/><Relationship Id="rId11" Type="http://schemas.openxmlformats.org/officeDocument/2006/relationships/chart" Target="../charts/chart13.xml"/><Relationship Id="rId5" Type="http://schemas.openxmlformats.org/officeDocument/2006/relationships/oleObject" Target="../embeddings/oleObject65.bin"/><Relationship Id="rId10" Type="http://schemas.openxmlformats.org/officeDocument/2006/relationships/chart" Target="../charts/chart12.xml"/><Relationship Id="rId4" Type="http://schemas.openxmlformats.org/officeDocument/2006/relationships/notesSlide" Target="../notesSlides/notesSlide6.xml"/><Relationship Id="rId9" Type="http://schemas.openxmlformats.org/officeDocument/2006/relationships/chart" Target="../charts/chart1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11.B8162780"/><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0.emf"/><Relationship Id="rId5" Type="http://schemas.openxmlformats.org/officeDocument/2006/relationships/oleObject" Target="../embeddings/oleObject65.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11.B8162780"/><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0.emf"/><Relationship Id="rId5" Type="http://schemas.openxmlformats.org/officeDocument/2006/relationships/oleObject" Target="../embeddings/oleObject67.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F90445D-45C3-FE47-BF0C-B62570BC70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extBox 11">
            <a:extLst>
              <a:ext uri="{FF2B5EF4-FFF2-40B4-BE49-F238E27FC236}">
                <a16:creationId xmlns:a16="http://schemas.microsoft.com/office/drawing/2014/main" id="{CA3A1BD0-53AC-4714-946B-255060DE37DA}"/>
              </a:ext>
            </a:extLst>
          </p:cNvPr>
          <p:cNvSpPr txBox="1"/>
          <p:nvPr/>
        </p:nvSpPr>
        <p:spPr>
          <a:xfrm>
            <a:off x="532953" y="5285933"/>
            <a:ext cx="3449765" cy="11695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altLang="zh-CN" sz="2800" b="1" i="0" u="none" strike="noStrike" kern="1200" cap="none" spc="0" normalizeH="0" baseline="0" noProof="0" dirty="0">
                <a:ln>
                  <a:noFill/>
                </a:ln>
                <a:solidFill>
                  <a:srgbClr val="414141"/>
                </a:solidFill>
                <a:effectLst/>
                <a:uLnTx/>
                <a:uFillTx/>
                <a:latin typeface="Calibri" panose="020F0502020204030204"/>
                <a:ea typeface="宋体" panose="02010600030101010101" pitchFamily="2" charset="-122"/>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altLang="zh-CN" sz="2800" b="1" i="0" u="none" strike="noStrike" kern="1200" cap="none" spc="0" normalizeH="0" baseline="0" noProof="0" dirty="0">
              <a:ln>
                <a:noFill/>
              </a:ln>
              <a:solidFill>
                <a:srgbClr val="414141"/>
              </a:solidFill>
              <a:effectLst/>
              <a:uLnTx/>
              <a:uFillTx/>
              <a:latin typeface="Calibri" panose="020F0502020204030204"/>
              <a:ea typeface="宋体" panose="02010600030101010101" pitchFamily="2"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pl-PL" altLang="zh-CN" sz="1400" b="1" dirty="0">
                <a:solidFill>
                  <a:srgbClr val="414141"/>
                </a:solidFill>
                <a:latin typeface="Calibri" panose="020F0502020204030204"/>
                <a:ea typeface="宋体" panose="02010600030101010101" pitchFamily="2" charset="-122"/>
              </a:rPr>
              <a:t>Warsaw, 02.03.2023</a:t>
            </a:r>
            <a:endParaRPr kumimoji="0" lang="zh-CN" altLang="en-US" sz="1400" b="1" i="0" u="none" strike="noStrike" kern="1200" cap="none" spc="0" normalizeH="0" baseline="0" noProof="0" dirty="0">
              <a:ln>
                <a:noFill/>
              </a:ln>
              <a:solidFill>
                <a:srgbClr val="414141"/>
              </a:solidFill>
              <a:effectLst/>
              <a:uLnTx/>
              <a:uFillTx/>
              <a:latin typeface="Calibri" panose="020F0502020204030204"/>
              <a:ea typeface="宋体" panose="02010600030101010101" pitchFamily="2" charset="-122"/>
              <a:cs typeface="+mn-cs"/>
            </a:endParaRPr>
          </a:p>
        </p:txBody>
      </p:sp>
      <p:sp>
        <p:nvSpPr>
          <p:cNvPr id="25" name="TextBox 24" descr="e7d195523061f1c0cef09ac28eaae964ec9988a5cce77c8b8C1E4685C6E6B40CD7615480512384A61EE159C6FE0045D14B61E85D0A95589D558B81FFC809322ACC20DC2254D928200A3EA0841B8B181476B5AB143564A995C9D8EA64CE6B525743728CA1DA7A059A2240EA49FE04D1BD8EB77D75C7E946AB1396CB15E5D428F3770D25CE22AB4C48">
            <a:extLst>
              <a:ext uri="{FF2B5EF4-FFF2-40B4-BE49-F238E27FC236}">
                <a16:creationId xmlns:a16="http://schemas.microsoft.com/office/drawing/2014/main" id="{725BAE27-D28E-4DD6-B672-B75F757783AF}"/>
              </a:ext>
            </a:extLst>
          </p:cNvPr>
          <p:cNvSpPr txBox="1"/>
          <p:nvPr/>
        </p:nvSpPr>
        <p:spPr>
          <a:xfrm>
            <a:off x="494695" y="2570446"/>
            <a:ext cx="9059696" cy="1128514"/>
          </a:xfrm>
          <a:prstGeom prst="rect">
            <a:avLst/>
          </a:prstGeom>
          <a:noFill/>
        </p:spPr>
        <p:txBody>
          <a:bodyPr wrap="square" rtlCol="0">
            <a:spAutoFit/>
          </a:bodyPr>
          <a:lstStyle/>
          <a:p>
            <a:pPr lvl="0">
              <a:spcBef>
                <a:spcPts val="400"/>
              </a:spcBef>
              <a:defRPr/>
            </a:pPr>
            <a:r>
              <a:rPr lang="en-US" altLang="zh-CN" sz="3200" b="1" dirty="0">
                <a:solidFill>
                  <a:srgbClr val="D71921"/>
                </a:solidFill>
                <a:ea typeface="Lato Black" panose="020F0502020204030203" pitchFamily="34" charset="0"/>
                <a:cs typeface="Lato Black" panose="020F0502020204030203" pitchFamily="34" charset="0"/>
              </a:rPr>
              <a:t>How a Bank Can Support </a:t>
            </a:r>
            <a:endParaRPr lang="pl-PL" altLang="zh-CN" sz="3200" b="1" dirty="0">
              <a:solidFill>
                <a:srgbClr val="D71921"/>
              </a:solidFill>
              <a:ea typeface="Lato Black" panose="020F0502020204030203" pitchFamily="34" charset="0"/>
              <a:cs typeface="Lato Black" panose="020F0502020204030203" pitchFamily="34" charset="0"/>
            </a:endParaRPr>
          </a:p>
          <a:p>
            <a:pPr lvl="0">
              <a:spcBef>
                <a:spcPts val="400"/>
              </a:spcBef>
              <a:defRPr/>
            </a:pPr>
            <a:r>
              <a:rPr lang="en-US" altLang="zh-CN" sz="3200" b="1" dirty="0">
                <a:solidFill>
                  <a:srgbClr val="D71921"/>
                </a:solidFill>
                <a:ea typeface="Lato Black" panose="020F0502020204030203" pitchFamily="34" charset="0"/>
                <a:cs typeface="Lato Black" panose="020F0502020204030203" pitchFamily="34" charset="0"/>
              </a:rPr>
              <a:t>International Business in Difficult Times</a:t>
            </a:r>
            <a:endParaRPr kumimoji="0" lang="en-US" altLang="zh-CN" sz="3200" b="1" i="0" u="none" strike="noStrike" kern="1200" cap="none" spc="0" normalizeH="0" baseline="0" noProof="0" dirty="0">
              <a:ln>
                <a:noFill/>
              </a:ln>
              <a:solidFill>
                <a:srgbClr val="D71921"/>
              </a:solidFill>
              <a:effectLst/>
              <a:uLnTx/>
              <a:uFillTx/>
              <a:latin typeface="Calibri" panose="020F0502020204030204"/>
              <a:ea typeface="Lato Black" panose="020F0502020204030203" pitchFamily="34" charset="0"/>
              <a:cs typeface="Lato Black" panose="020F0502020204030203" pitchFamily="34" charset="0"/>
            </a:endParaRPr>
          </a:p>
        </p:txBody>
      </p:sp>
      <p:sp>
        <p:nvSpPr>
          <p:cNvPr id="26" name="TextBox 25">
            <a:extLst>
              <a:ext uri="{FF2B5EF4-FFF2-40B4-BE49-F238E27FC236}">
                <a16:creationId xmlns:a16="http://schemas.microsoft.com/office/drawing/2014/main" id="{1B1B58B2-6523-4A10-B7B5-C8A4740610EF}"/>
              </a:ext>
            </a:extLst>
          </p:cNvPr>
          <p:cNvSpPr txBox="1"/>
          <p:nvPr/>
        </p:nvSpPr>
        <p:spPr>
          <a:xfrm>
            <a:off x="532953" y="4350067"/>
            <a:ext cx="6782247" cy="748795"/>
          </a:xfrm>
          <a:prstGeom prst="rect">
            <a:avLst/>
          </a:prstGeom>
          <a:noFill/>
        </p:spPr>
        <p:txBody>
          <a:bodyPr wrap="square" rtlCol="0">
            <a:spAutoFit/>
          </a:bodyPr>
          <a:lstStyle/>
          <a:p>
            <a:pPr lvl="0">
              <a:defRPr/>
            </a:pPr>
            <a:r>
              <a:rPr lang="en-GB" altLang="zh-CN" sz="2133"/>
              <a:t>Club of Commercial Counsellors at the Polish Chamber of Commerce</a:t>
            </a:r>
            <a:endParaRPr kumimoji="0" lang="en-GB" altLang="zh-CN" sz="2133" b="0" i="0" u="none" strike="noStrike" kern="1200" cap="none" spc="0" normalizeH="0" baseline="0">
              <a:ln>
                <a:noFill/>
              </a:ln>
              <a:effectLst/>
              <a:uLnTx/>
              <a:uFillTx/>
              <a:latin typeface="Calibri" panose="020F0502020204030204"/>
              <a:ea typeface="宋体" panose="02010600030101010101" pitchFamily="2" charset="-122"/>
              <a:cs typeface="+mn-cs"/>
            </a:endParaRPr>
          </a:p>
        </p:txBody>
      </p:sp>
      <p:pic>
        <p:nvPicPr>
          <p:cNvPr id="16" name="Picture 15">
            <a:extLst>
              <a:ext uri="{FF2B5EF4-FFF2-40B4-BE49-F238E27FC236}">
                <a16:creationId xmlns:a16="http://schemas.microsoft.com/office/drawing/2014/main" id="{A76401C7-A259-3245-AEE5-5F18430FF8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180" y="595455"/>
            <a:ext cx="2972816" cy="464431"/>
          </a:xfrm>
          <a:prstGeom prst="rect">
            <a:avLst/>
          </a:prstGeom>
        </p:spPr>
      </p:pic>
    </p:spTree>
    <p:extLst>
      <p:ext uri="{BB962C8B-B14F-4D97-AF65-F5344CB8AC3E}">
        <p14:creationId xmlns:p14="http://schemas.microsoft.com/office/powerpoint/2010/main" val="4237557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i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51" name="Obraz 150"/>
          <p:cNvPicPr/>
          <p:nvPr/>
        </p:nvPicPr>
        <p:blipFill rotWithShape="1">
          <a:blip r:embed="rId7">
            <a:extLst>
              <a:ext uri="{28A0092B-C50C-407E-A947-70E740481C1C}">
                <a14:useLocalDpi xmlns:a14="http://schemas.microsoft.com/office/drawing/2010/main" val="0"/>
              </a:ext>
            </a:extLst>
          </a:blip>
          <a:srcRect l="62014" b="51403"/>
          <a:stretch/>
        </p:blipFill>
        <p:spPr bwMode="auto">
          <a:xfrm>
            <a:off x="11445954" y="28095"/>
            <a:ext cx="706057" cy="1157468"/>
          </a:xfrm>
          <a:prstGeom prst="rect">
            <a:avLst/>
          </a:prstGeom>
          <a:noFill/>
        </p:spPr>
      </p:pic>
      <p:sp>
        <p:nvSpPr>
          <p:cNvPr id="120" name="Tytuł 5">
            <a:extLst>
              <a:ext uri="{FF2B5EF4-FFF2-40B4-BE49-F238E27FC236}">
                <a16:creationId xmlns:a16="http://schemas.microsoft.com/office/drawing/2014/main" id="{7FBB928C-12E5-4639-BBE7-F4656A58C202}"/>
              </a:ext>
            </a:extLst>
          </p:cNvPr>
          <p:cNvSpPr>
            <a:spLocks noGrp="1"/>
          </p:cNvSpPr>
          <p:nvPr>
            <p:ph type="title"/>
          </p:nvPr>
        </p:nvSpPr>
        <p:spPr>
          <a:xfrm>
            <a:off x="630464" y="283442"/>
            <a:ext cx="11210925" cy="699495"/>
          </a:xfrm>
        </p:spPr>
        <p:txBody>
          <a:bodyPr/>
          <a:lstStyle/>
          <a:p>
            <a:r>
              <a:rPr lang="en-GB" sz="2000" dirty="0"/>
              <a:t>A network of cooperating institutions and organizations supporting international expansion can help </a:t>
            </a:r>
            <a:br>
              <a:rPr lang="en-GB" sz="2000" dirty="0"/>
            </a:br>
            <a:r>
              <a:rPr lang="en-GB" sz="2000" dirty="0"/>
              <a:t>to consolidate the competitive position of enterprises</a:t>
            </a:r>
            <a:br>
              <a:rPr lang="en-GB" sz="2000" dirty="0"/>
            </a:br>
            <a:br>
              <a:rPr lang="en-GB" sz="2000" dirty="0"/>
            </a:br>
            <a:endParaRPr lang="en-GB" sz="2000" b="1" dirty="0">
              <a:solidFill>
                <a:srgbClr val="000000"/>
              </a:solidFill>
            </a:endParaRPr>
          </a:p>
        </p:txBody>
      </p:sp>
      <p:cxnSp>
        <p:nvCxnSpPr>
          <p:cNvPr id="121" name="Łącznik prosty 120"/>
          <p:cNvCxnSpPr/>
          <p:nvPr/>
        </p:nvCxnSpPr>
        <p:spPr>
          <a:xfrm>
            <a:off x="-59247" y="1304181"/>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sp>
        <p:nvSpPr>
          <p:cNvPr id="5" name="pole tekstowe 4"/>
          <p:cNvSpPr txBox="1"/>
          <p:nvPr/>
        </p:nvSpPr>
        <p:spPr>
          <a:xfrm>
            <a:off x="628650" y="1440868"/>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en-GB" sz="1400" b="1" dirty="0">
              <a:solidFill>
                <a:sysClr val="windowText" lastClr="000000"/>
              </a:solidFill>
            </a:endParaRPr>
          </a:p>
        </p:txBody>
      </p:sp>
      <p:sp>
        <p:nvSpPr>
          <p:cNvPr id="40" name="pole tekstowe 39"/>
          <p:cNvSpPr txBox="1"/>
          <p:nvPr/>
        </p:nvSpPr>
        <p:spPr>
          <a:xfrm>
            <a:off x="9229215" y="3181839"/>
            <a:ext cx="914400" cy="2612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1200" b="1" dirty="0">
              <a:solidFill>
                <a:sysClr val="windowText" lastClr="000000"/>
              </a:solidFill>
            </a:endParaRPr>
          </a:p>
        </p:txBody>
      </p:sp>
      <p:sp>
        <p:nvSpPr>
          <p:cNvPr id="4" name="Prostokąt 3"/>
          <p:cNvSpPr/>
          <p:nvPr/>
        </p:nvSpPr>
        <p:spPr>
          <a:xfrm>
            <a:off x="241961" y="4969832"/>
            <a:ext cx="11599428" cy="1231106"/>
          </a:xfrm>
          <a:prstGeom prst="rect">
            <a:avLst/>
          </a:prstGeom>
        </p:spPr>
        <p:txBody>
          <a:bodyPr wrap="square">
            <a:spAutoFit/>
          </a:bodyPr>
          <a:lstStyle/>
          <a:p>
            <a:pPr algn="just">
              <a:lnSpc>
                <a:spcPct val="100000"/>
              </a:lnSpc>
              <a:spcBef>
                <a:spcPts val="0"/>
              </a:spcBef>
            </a:pPr>
            <a:r>
              <a:rPr lang="en-GB" sz="1400" b="1" dirty="0">
                <a:solidFill>
                  <a:srgbClr val="000000"/>
                </a:solidFill>
                <a:ea typeface="Calibri" panose="020F0502020204030204" pitchFamily="34" charset="0"/>
                <a:cs typeface="Times New Roman" panose="02020603050405020304" pitchFamily="18" charset="0"/>
              </a:rPr>
              <a:t>On 31 January 2023, an agreement was signed between the Polish Chamber of Commerce (KIG) and Bank Pekao SA</a:t>
            </a:r>
            <a:endParaRPr lang="en-GB" sz="1400" dirty="0">
              <a:solidFill>
                <a:srgbClr val="000000"/>
              </a:solidFill>
              <a:ea typeface="Calibri" panose="020F0502020204030204" pitchFamily="34" charset="0"/>
              <a:cs typeface="Times New Roman" panose="02020603050405020304" pitchFamily="18" charset="0"/>
            </a:endParaRPr>
          </a:p>
          <a:p>
            <a:pPr algn="just">
              <a:lnSpc>
                <a:spcPct val="100000"/>
              </a:lnSpc>
              <a:spcBef>
                <a:spcPts val="0"/>
              </a:spcBef>
            </a:pPr>
            <a:endParaRPr lang="en-GB" sz="1200" dirty="0">
              <a:solidFill>
                <a:srgbClr val="000000"/>
              </a:solidFill>
              <a:ea typeface="Calibri" panose="020F0502020204030204" pitchFamily="34" charset="0"/>
              <a:cs typeface="Times New Roman" panose="02020603050405020304" pitchFamily="18" charset="0"/>
            </a:endParaRPr>
          </a:p>
          <a:p>
            <a:pPr algn="just">
              <a:lnSpc>
                <a:spcPct val="100000"/>
              </a:lnSpc>
              <a:spcBef>
                <a:spcPts val="0"/>
              </a:spcBef>
            </a:pPr>
            <a:r>
              <a:rPr lang="en-GB" sz="1200" dirty="0">
                <a:solidFill>
                  <a:srgbClr val="000000"/>
                </a:solidFill>
                <a:ea typeface="Calibri" panose="020F0502020204030204" pitchFamily="34" charset="0"/>
                <a:cs typeface="Times New Roman" panose="02020603050405020304" pitchFamily="18" charset="0"/>
              </a:rPr>
              <a:t>The Parties express their intention to undertake joint actions for the development of exports from Poland and accelerate the international economic expansion of entrepreneurs, by providing them with substantive care, expert knowledge and access to comprehensive financial solutions, as well as by facilitating contacts with potential contractors.</a:t>
            </a:r>
          </a:p>
          <a:p>
            <a:pPr algn="just">
              <a:lnSpc>
                <a:spcPct val="100000"/>
              </a:lnSpc>
              <a:spcBef>
                <a:spcPts val="0"/>
              </a:spcBef>
            </a:pPr>
            <a:endParaRPr lang="en-GB" sz="1200" dirty="0">
              <a:solidFill>
                <a:srgbClr val="000000"/>
              </a:solidFill>
              <a:cs typeface="Times New Roman" panose="02020603050405020304" pitchFamily="18" charset="0"/>
            </a:endParaRPr>
          </a:p>
          <a:p>
            <a:pPr algn="just">
              <a:lnSpc>
                <a:spcPct val="100000"/>
              </a:lnSpc>
              <a:spcBef>
                <a:spcPts val="0"/>
              </a:spcBef>
            </a:pPr>
            <a:endParaRPr lang="en-GB" sz="1200" dirty="0"/>
          </a:p>
        </p:txBody>
      </p:sp>
      <p:sp>
        <p:nvSpPr>
          <p:cNvPr id="12" name="Content Placeholder 4">
            <a:extLst>
              <a:ext uri="{FF2B5EF4-FFF2-40B4-BE49-F238E27FC236}">
                <a16:creationId xmlns:a16="http://schemas.microsoft.com/office/drawing/2014/main" id="{C1444167-04CD-1440-A3FD-13CF96407B57}"/>
              </a:ext>
            </a:extLst>
          </p:cNvPr>
          <p:cNvSpPr txBox="1">
            <a:spLocks/>
          </p:cNvSpPr>
          <p:nvPr/>
        </p:nvSpPr>
        <p:spPr>
          <a:xfrm>
            <a:off x="103888" y="1410276"/>
            <a:ext cx="12089960" cy="2028213"/>
          </a:xfrm>
          <a:prstGeom prst="rect">
            <a:avLst/>
          </a:prstGeom>
        </p:spPr>
        <p:txBody>
          <a:bodyPr vert="horz" lIns="91440" tIns="45720" rIns="90000" bIns="45720" rtlCol="0">
            <a:noAutofit/>
          </a:bodyPr>
          <a:lstStyle>
            <a:lvl1pPr marL="0" indent="0" algn="l" defTabSz="755934" rtl="0" eaLnBrk="1" latinLnBrk="0" hangingPunct="1">
              <a:lnSpc>
                <a:spcPct val="90000"/>
              </a:lnSpc>
              <a:spcBef>
                <a:spcPts val="827"/>
              </a:spcBef>
              <a:buFont typeface="Arial" panose="020B0604020202020204" pitchFamily="34" charset="0"/>
              <a:buNone/>
              <a:defRPr sz="1400" kern="1200">
                <a:solidFill>
                  <a:schemeClr val="tx1">
                    <a:lumMod val="65000"/>
                    <a:lumOff val="35000"/>
                  </a:schemeClr>
                </a:solidFill>
                <a:latin typeface="+mn-lt"/>
                <a:ea typeface="+mn-ea"/>
                <a:cs typeface="+mn-cs"/>
              </a:defRPr>
            </a:lvl1pPr>
            <a:lvl2pPr marL="377967" indent="0" algn="l" defTabSz="755934" rtl="0" eaLnBrk="1" latinLnBrk="0" hangingPunct="1">
              <a:lnSpc>
                <a:spcPct val="90000"/>
              </a:lnSpc>
              <a:spcBef>
                <a:spcPts val="413"/>
              </a:spcBef>
              <a:buFont typeface="Arial" panose="020B0604020202020204" pitchFamily="34" charset="0"/>
              <a:buNone/>
              <a:defRPr sz="1200" kern="1200">
                <a:solidFill>
                  <a:schemeClr val="tx1">
                    <a:lumMod val="65000"/>
                    <a:lumOff val="35000"/>
                  </a:schemeClr>
                </a:solidFill>
                <a:latin typeface="+mn-lt"/>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1100" kern="1200">
                <a:solidFill>
                  <a:schemeClr val="tx1">
                    <a:lumMod val="65000"/>
                    <a:lumOff val="35000"/>
                  </a:schemeClr>
                </a:solidFill>
                <a:latin typeface="+mn-lt"/>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1050" kern="1200">
                <a:solidFill>
                  <a:schemeClr val="tx1">
                    <a:lumMod val="65000"/>
                    <a:lumOff val="35000"/>
                  </a:schemeClr>
                </a:solidFill>
                <a:latin typeface="+mn-lt"/>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1050" kern="1200">
                <a:solidFill>
                  <a:schemeClr val="tx1">
                    <a:lumMod val="65000"/>
                    <a:lumOff val="35000"/>
                  </a:schemeClr>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r>
              <a:rPr lang="pl-PL" dirty="0">
                <a:solidFill>
                  <a:srgbClr val="11181C"/>
                </a:solidFill>
              </a:rPr>
              <a:t>V</a:t>
            </a:r>
            <a:r>
              <a:rPr lang="en-GB" dirty="0" err="1">
                <a:solidFill>
                  <a:srgbClr val="11181C"/>
                </a:solidFill>
              </a:rPr>
              <a:t>arious</a:t>
            </a:r>
            <a:r>
              <a:rPr lang="en-GB" dirty="0">
                <a:solidFill>
                  <a:srgbClr val="11181C"/>
                </a:solidFill>
              </a:rPr>
              <a:t> competences to support international expansion</a:t>
            </a:r>
            <a:r>
              <a:rPr lang="pl-PL" dirty="0">
                <a:solidFill>
                  <a:srgbClr val="11181C"/>
                </a:solidFill>
              </a:rPr>
              <a:t> </a:t>
            </a:r>
            <a:r>
              <a:rPr lang="en-GB" dirty="0">
                <a:solidFill>
                  <a:srgbClr val="11181C"/>
                </a:solidFill>
              </a:rPr>
              <a:t>are located In public institutions as well as business or trade organizations, such as:</a:t>
            </a:r>
          </a:p>
          <a:p>
            <a:pPr marL="285750" indent="-285750">
              <a:buFontTx/>
              <a:buChar char="-"/>
            </a:pPr>
            <a:r>
              <a:rPr lang="en-GB" dirty="0">
                <a:solidFill>
                  <a:srgbClr val="11181C"/>
                </a:solidFill>
              </a:rPr>
              <a:t>Ministry of Foreign Affairs, Ministry of Development and Technology</a:t>
            </a:r>
          </a:p>
          <a:p>
            <a:pPr marL="285750" indent="-285750">
              <a:buFontTx/>
              <a:buChar char="-"/>
            </a:pPr>
            <a:r>
              <a:rPr lang="en-GB" dirty="0">
                <a:solidFill>
                  <a:srgbClr val="11181C"/>
                </a:solidFill>
              </a:rPr>
              <a:t>Embassies</a:t>
            </a:r>
          </a:p>
          <a:p>
            <a:pPr marL="285750" indent="-285750">
              <a:buFontTx/>
              <a:buChar char="-"/>
            </a:pPr>
            <a:r>
              <a:rPr lang="en-GB" dirty="0">
                <a:solidFill>
                  <a:srgbClr val="11181C"/>
                </a:solidFill>
              </a:rPr>
              <a:t>The Polish Chamber of Commerce</a:t>
            </a:r>
          </a:p>
          <a:p>
            <a:pPr marL="285750" indent="-285750">
              <a:buFontTx/>
              <a:buChar char="-"/>
            </a:pPr>
            <a:r>
              <a:rPr lang="en-GB" dirty="0">
                <a:solidFill>
                  <a:srgbClr val="11181C"/>
                </a:solidFill>
              </a:rPr>
              <a:t>Public Agencies supporting export and foreign expansion</a:t>
            </a:r>
          </a:p>
          <a:p>
            <a:pPr marL="285750" indent="-285750">
              <a:buFontTx/>
              <a:buChar char="-"/>
            </a:pPr>
            <a:r>
              <a:rPr lang="en-GB" dirty="0">
                <a:solidFill>
                  <a:srgbClr val="11181C"/>
                </a:solidFill>
              </a:rPr>
              <a:t>Export Credit Insurance Corporation</a:t>
            </a:r>
          </a:p>
          <a:p>
            <a:pPr marL="285750" indent="-285750">
              <a:buFontTx/>
              <a:buChar char="-"/>
            </a:pPr>
            <a:r>
              <a:rPr lang="en-GB" dirty="0">
                <a:solidFill>
                  <a:srgbClr val="11181C"/>
                </a:solidFill>
              </a:rPr>
              <a:t>State-owned entities providing capital instruments</a:t>
            </a:r>
          </a:p>
          <a:p>
            <a:pPr marL="285750" indent="-285750">
              <a:buFontTx/>
              <a:buChar char="-"/>
            </a:pPr>
            <a:r>
              <a:rPr lang="en-GB" dirty="0">
                <a:solidFill>
                  <a:srgbClr val="11181C"/>
                </a:solidFill>
              </a:rPr>
              <a:t>The Banking sector</a:t>
            </a:r>
            <a:endParaRPr lang="en-GB" sz="1600" dirty="0">
              <a:solidFill>
                <a:srgbClr val="11181C"/>
              </a:solidFill>
            </a:endParaRPr>
          </a:p>
          <a:p>
            <a:pPr marL="285750" indent="-285750">
              <a:buFontTx/>
              <a:buChar char="-"/>
            </a:pPr>
            <a:endParaRPr lang="en-GB" sz="1600" dirty="0">
              <a:solidFill>
                <a:srgbClr val="11181C"/>
              </a:solidFill>
            </a:endParaRPr>
          </a:p>
          <a:p>
            <a:endParaRPr lang="en-GB" sz="1600" dirty="0">
              <a:solidFill>
                <a:srgbClr val="11181C"/>
              </a:solidFill>
            </a:endParaRPr>
          </a:p>
          <a:p>
            <a:endParaRPr lang="en-GB" sz="1200" dirty="0">
              <a:solidFill>
                <a:srgbClr val="11181C"/>
              </a:solidFill>
            </a:endParaRPr>
          </a:p>
        </p:txBody>
      </p:sp>
      <p:cxnSp>
        <p:nvCxnSpPr>
          <p:cNvPr id="22" name="Łącznik prosty 3"/>
          <p:cNvCxnSpPr/>
          <p:nvPr/>
        </p:nvCxnSpPr>
        <p:spPr>
          <a:xfrm>
            <a:off x="444405" y="3812875"/>
            <a:ext cx="10934700" cy="0"/>
          </a:xfrm>
          <a:prstGeom prst="line">
            <a:avLst/>
          </a:prstGeom>
          <a:ln w="9525" cap="rnd">
            <a:solidFill>
              <a:srgbClr val="37373A"/>
            </a:solidFill>
            <a:prstDash val="solid"/>
            <a:round/>
          </a:ln>
        </p:spPr>
        <p:style>
          <a:lnRef idx="1">
            <a:schemeClr val="accent1"/>
          </a:lnRef>
          <a:fillRef idx="0">
            <a:schemeClr val="accent1"/>
          </a:fillRef>
          <a:effectRef idx="0">
            <a:schemeClr val="accent1"/>
          </a:effectRef>
          <a:fontRef idx="minor">
            <a:schemeClr val="tx1"/>
          </a:fontRef>
        </p:style>
      </p:cxnSp>
      <p:pic>
        <p:nvPicPr>
          <p:cNvPr id="1128477"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93808" y="6241839"/>
            <a:ext cx="1878345" cy="4619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3" name="Group 19">
            <a:extLst>
              <a:ext uri="{FF2B5EF4-FFF2-40B4-BE49-F238E27FC236}">
                <a16:creationId xmlns:a16="http://schemas.microsoft.com/office/drawing/2014/main" id="{4E1A2350-850E-4946-9FCB-8CB618DAE686}"/>
              </a:ext>
            </a:extLst>
          </p:cNvPr>
          <p:cNvGrpSpPr/>
          <p:nvPr/>
        </p:nvGrpSpPr>
        <p:grpSpPr>
          <a:xfrm>
            <a:off x="165323" y="4872486"/>
            <a:ext cx="11786531" cy="1150475"/>
            <a:chOff x="419725" y="2238714"/>
            <a:chExt cx="6656516" cy="2285220"/>
          </a:xfrm>
        </p:grpSpPr>
        <p:sp>
          <p:nvSpPr>
            <p:cNvPr id="26" name="Rectangle 10">
              <a:extLst>
                <a:ext uri="{FF2B5EF4-FFF2-40B4-BE49-F238E27FC236}">
                  <a16:creationId xmlns:a16="http://schemas.microsoft.com/office/drawing/2014/main" id="{6401AC9C-57C6-8C48-96FA-D561C61A792F}"/>
                </a:ext>
              </a:extLst>
            </p:cNvPr>
            <p:cNvSpPr/>
            <p:nvPr/>
          </p:nvSpPr>
          <p:spPr>
            <a:xfrm>
              <a:off x="419725" y="2238714"/>
              <a:ext cx="6634291" cy="2285220"/>
            </a:xfrm>
            <a:prstGeom prst="rect">
              <a:avLst/>
            </a:prstGeom>
            <a:noFill/>
            <a:ln w="47625" cap="flat" cmpd="sng" algn="ctr">
              <a:solidFill>
                <a:srgbClr val="1F293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FFFFFF"/>
                </a:solidFill>
                <a:effectLst/>
                <a:uLnTx/>
                <a:uFillTx/>
                <a:latin typeface="Arial" panose="020B0604020202020204"/>
                <a:ea typeface="+mn-ea"/>
                <a:cs typeface="+mn-cs"/>
              </a:endParaRPr>
            </a:p>
          </p:txBody>
        </p:sp>
        <p:cxnSp>
          <p:nvCxnSpPr>
            <p:cNvPr id="27" name="Straight Connector 14">
              <a:extLst>
                <a:ext uri="{FF2B5EF4-FFF2-40B4-BE49-F238E27FC236}">
                  <a16:creationId xmlns:a16="http://schemas.microsoft.com/office/drawing/2014/main" id="{84DDA6B6-0610-5146-B135-EFC033012D3F}"/>
                </a:ext>
              </a:extLst>
            </p:cNvPr>
            <p:cNvCxnSpPr/>
            <p:nvPr/>
          </p:nvCxnSpPr>
          <p:spPr>
            <a:xfrm>
              <a:off x="6671079" y="4523336"/>
              <a:ext cx="150178" cy="0"/>
            </a:xfrm>
            <a:prstGeom prst="line">
              <a:avLst/>
            </a:prstGeom>
            <a:noFill/>
            <a:ln w="47625" cap="flat" cmpd="sng" algn="ctr">
              <a:solidFill>
                <a:srgbClr val="E7E6E6"/>
              </a:solidFill>
              <a:prstDash val="solid"/>
              <a:miter lim="800000"/>
            </a:ln>
            <a:effectLst/>
          </p:spPr>
        </p:cxnSp>
        <p:cxnSp>
          <p:nvCxnSpPr>
            <p:cNvPr id="28" name="Straight Connector 53">
              <a:extLst>
                <a:ext uri="{FF2B5EF4-FFF2-40B4-BE49-F238E27FC236}">
                  <a16:creationId xmlns:a16="http://schemas.microsoft.com/office/drawing/2014/main" id="{32B95F24-9759-7149-BC1A-EA528259015D}"/>
                </a:ext>
              </a:extLst>
            </p:cNvPr>
            <p:cNvCxnSpPr>
              <a:cxnSpLocks/>
            </p:cNvCxnSpPr>
            <p:nvPr/>
          </p:nvCxnSpPr>
          <p:spPr>
            <a:xfrm>
              <a:off x="6796841" y="4523336"/>
              <a:ext cx="279400" cy="0"/>
            </a:xfrm>
            <a:prstGeom prst="line">
              <a:avLst/>
            </a:prstGeom>
            <a:noFill/>
            <a:ln w="47625" cap="flat" cmpd="sng" algn="ctr">
              <a:solidFill>
                <a:srgbClr val="D82A2D"/>
              </a:solidFill>
              <a:prstDash val="solid"/>
              <a:miter lim="800000"/>
            </a:ln>
            <a:effectLst/>
          </p:spPr>
        </p:cxnSp>
      </p:grpSp>
      <p:pic>
        <p:nvPicPr>
          <p:cNvPr id="29" name="Obraz 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44405" y="4053655"/>
            <a:ext cx="586629" cy="405914"/>
          </a:xfrm>
          <a:prstGeom prst="rect">
            <a:avLst/>
          </a:prstGeom>
        </p:spPr>
      </p:pic>
      <p:sp>
        <p:nvSpPr>
          <p:cNvPr id="30" name="Content Placeholder 4">
            <a:extLst>
              <a:ext uri="{FF2B5EF4-FFF2-40B4-BE49-F238E27FC236}">
                <a16:creationId xmlns:a16="http://schemas.microsoft.com/office/drawing/2014/main" id="{C1444167-04CD-1440-A3FD-13CF96407B57}"/>
              </a:ext>
            </a:extLst>
          </p:cNvPr>
          <p:cNvSpPr txBox="1">
            <a:spLocks/>
          </p:cNvSpPr>
          <p:nvPr/>
        </p:nvSpPr>
        <p:spPr>
          <a:xfrm>
            <a:off x="1316047" y="4077101"/>
            <a:ext cx="11312211" cy="428397"/>
          </a:xfrm>
          <a:prstGeom prst="rect">
            <a:avLst/>
          </a:prstGeom>
        </p:spPr>
        <p:txBody>
          <a:bodyPr vert="horz" lIns="91440" tIns="45720" rIns="90000" bIns="45720" rtlCol="0">
            <a:noAutofit/>
          </a:bodyPr>
          <a:lstStyle>
            <a:lvl1pPr marL="0" indent="0" algn="l" defTabSz="755934" rtl="0" eaLnBrk="1" latinLnBrk="0" hangingPunct="1">
              <a:lnSpc>
                <a:spcPct val="90000"/>
              </a:lnSpc>
              <a:spcBef>
                <a:spcPts val="827"/>
              </a:spcBef>
              <a:buFont typeface="Arial" panose="020B0604020202020204" pitchFamily="34" charset="0"/>
              <a:buNone/>
              <a:defRPr sz="1400" kern="1200">
                <a:solidFill>
                  <a:schemeClr val="tx1">
                    <a:lumMod val="65000"/>
                    <a:lumOff val="35000"/>
                  </a:schemeClr>
                </a:solidFill>
                <a:latin typeface="+mn-lt"/>
                <a:ea typeface="+mn-ea"/>
                <a:cs typeface="+mn-cs"/>
              </a:defRPr>
            </a:lvl1pPr>
            <a:lvl2pPr marL="377967" indent="0" algn="l" defTabSz="755934" rtl="0" eaLnBrk="1" latinLnBrk="0" hangingPunct="1">
              <a:lnSpc>
                <a:spcPct val="90000"/>
              </a:lnSpc>
              <a:spcBef>
                <a:spcPts val="413"/>
              </a:spcBef>
              <a:buFont typeface="Arial" panose="020B0604020202020204" pitchFamily="34" charset="0"/>
              <a:buNone/>
              <a:defRPr sz="1200" kern="1200">
                <a:solidFill>
                  <a:schemeClr val="tx1">
                    <a:lumMod val="65000"/>
                    <a:lumOff val="35000"/>
                  </a:schemeClr>
                </a:solidFill>
                <a:latin typeface="+mn-lt"/>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1100" kern="1200">
                <a:solidFill>
                  <a:schemeClr val="tx1">
                    <a:lumMod val="65000"/>
                    <a:lumOff val="35000"/>
                  </a:schemeClr>
                </a:solidFill>
                <a:latin typeface="+mn-lt"/>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1050" kern="1200">
                <a:solidFill>
                  <a:schemeClr val="tx1">
                    <a:lumMod val="65000"/>
                    <a:lumOff val="35000"/>
                  </a:schemeClr>
                </a:solidFill>
                <a:latin typeface="+mn-lt"/>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1050" kern="1200">
                <a:solidFill>
                  <a:schemeClr val="tx1">
                    <a:lumMod val="65000"/>
                    <a:lumOff val="35000"/>
                  </a:schemeClr>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r>
              <a:rPr lang="en-GB" sz="1600" dirty="0">
                <a:solidFill>
                  <a:srgbClr val="11181C"/>
                </a:solidFill>
              </a:rPr>
              <a:t>Cooperation between institutions brings measurable benefits for entrepreneurs.</a:t>
            </a:r>
          </a:p>
        </p:txBody>
      </p:sp>
    </p:spTree>
    <p:extLst>
      <p:ext uri="{BB962C8B-B14F-4D97-AF65-F5344CB8AC3E}">
        <p14:creationId xmlns:p14="http://schemas.microsoft.com/office/powerpoint/2010/main" val="99051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i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51" name="Obraz 150"/>
          <p:cNvPicPr/>
          <p:nvPr/>
        </p:nvPicPr>
        <p:blipFill rotWithShape="1">
          <a:blip r:embed="rId7">
            <a:extLst>
              <a:ext uri="{28A0092B-C50C-407E-A947-70E740481C1C}">
                <a14:useLocalDpi xmlns:a14="http://schemas.microsoft.com/office/drawing/2010/main" val="0"/>
              </a:ext>
            </a:extLst>
          </a:blip>
          <a:srcRect l="62014" b="51403"/>
          <a:stretch/>
        </p:blipFill>
        <p:spPr bwMode="auto">
          <a:xfrm>
            <a:off x="11190866" y="1464545"/>
            <a:ext cx="706057" cy="1157468"/>
          </a:xfrm>
          <a:prstGeom prst="rect">
            <a:avLst/>
          </a:prstGeom>
          <a:noFill/>
        </p:spPr>
      </p:pic>
      <p:sp>
        <p:nvSpPr>
          <p:cNvPr id="120" name="Tytuł 5">
            <a:extLst>
              <a:ext uri="{FF2B5EF4-FFF2-40B4-BE49-F238E27FC236}">
                <a16:creationId xmlns:a16="http://schemas.microsoft.com/office/drawing/2014/main" id="{7FBB928C-12E5-4639-BBE7-F4656A58C202}"/>
              </a:ext>
            </a:extLst>
          </p:cNvPr>
          <p:cNvSpPr>
            <a:spLocks noGrp="1"/>
          </p:cNvSpPr>
          <p:nvPr>
            <p:ph type="title"/>
          </p:nvPr>
        </p:nvSpPr>
        <p:spPr>
          <a:xfrm>
            <a:off x="630464" y="468000"/>
            <a:ext cx="11210925" cy="699495"/>
          </a:xfrm>
        </p:spPr>
        <p:txBody>
          <a:bodyPr/>
          <a:lstStyle/>
          <a:p>
            <a:pPr lvl="0"/>
            <a:r>
              <a:rPr lang="en-GB" sz="2000" kern="0" dirty="0"/>
              <a:t>Cooperation with KIG: by associating businesses, combining the know-how of institutions and financing tools, we will support entrepreneurs in their international activities</a:t>
            </a:r>
            <a:br>
              <a:rPr lang="en-GB" sz="2000" kern="0" dirty="0"/>
            </a:br>
            <a:br>
              <a:rPr lang="en-GB" sz="2000" kern="0" dirty="0"/>
            </a:br>
            <a:endParaRPr lang="en-GB" sz="2000" b="1" dirty="0">
              <a:solidFill>
                <a:srgbClr val="000000"/>
              </a:solidFill>
            </a:endParaRPr>
          </a:p>
        </p:txBody>
      </p:sp>
      <p:cxnSp>
        <p:nvCxnSpPr>
          <p:cNvPr id="121" name="Łącznik prosty 120"/>
          <p:cNvCxnSpPr/>
          <p:nvPr/>
        </p:nvCxnSpPr>
        <p:spPr>
          <a:xfrm>
            <a:off x="-59247" y="1304181"/>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sp>
        <p:nvSpPr>
          <p:cNvPr id="5" name="pole tekstowe 4"/>
          <p:cNvSpPr txBox="1"/>
          <p:nvPr/>
        </p:nvSpPr>
        <p:spPr>
          <a:xfrm>
            <a:off x="628650" y="1440868"/>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en-GB" sz="1400" b="1" dirty="0">
              <a:solidFill>
                <a:sysClr val="windowText" lastClr="000000"/>
              </a:solidFill>
            </a:endParaRPr>
          </a:p>
        </p:txBody>
      </p:sp>
      <p:grpSp>
        <p:nvGrpSpPr>
          <p:cNvPr id="25" name="Group 19">
            <a:extLst>
              <a:ext uri="{FF2B5EF4-FFF2-40B4-BE49-F238E27FC236}">
                <a16:creationId xmlns:a16="http://schemas.microsoft.com/office/drawing/2014/main" id="{4E1A2350-850E-4946-9FCB-8CB618DAE686}"/>
              </a:ext>
            </a:extLst>
          </p:cNvPr>
          <p:cNvGrpSpPr/>
          <p:nvPr/>
        </p:nvGrpSpPr>
        <p:grpSpPr>
          <a:xfrm>
            <a:off x="252091" y="1412000"/>
            <a:ext cx="11786531" cy="5274616"/>
            <a:chOff x="419725" y="2238714"/>
            <a:chExt cx="6656516" cy="2285220"/>
          </a:xfrm>
        </p:grpSpPr>
        <p:sp>
          <p:nvSpPr>
            <p:cNvPr id="26" name="Rectangle 10">
              <a:extLst>
                <a:ext uri="{FF2B5EF4-FFF2-40B4-BE49-F238E27FC236}">
                  <a16:creationId xmlns:a16="http://schemas.microsoft.com/office/drawing/2014/main" id="{6401AC9C-57C6-8C48-96FA-D561C61A792F}"/>
                </a:ext>
              </a:extLst>
            </p:cNvPr>
            <p:cNvSpPr/>
            <p:nvPr/>
          </p:nvSpPr>
          <p:spPr>
            <a:xfrm>
              <a:off x="419725" y="2238714"/>
              <a:ext cx="6634291" cy="2285220"/>
            </a:xfrm>
            <a:prstGeom prst="rect">
              <a:avLst/>
            </a:prstGeom>
            <a:noFill/>
            <a:ln w="47625" cap="flat" cmpd="sng" algn="ctr">
              <a:solidFill>
                <a:srgbClr val="1F293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FFFFFF"/>
                </a:solidFill>
                <a:effectLst/>
                <a:uLnTx/>
                <a:uFillTx/>
                <a:latin typeface="Arial" panose="020B0604020202020204"/>
                <a:ea typeface="+mn-ea"/>
                <a:cs typeface="+mn-cs"/>
              </a:endParaRPr>
            </a:p>
          </p:txBody>
        </p:sp>
        <p:cxnSp>
          <p:nvCxnSpPr>
            <p:cNvPr id="27" name="Straight Connector 14">
              <a:extLst>
                <a:ext uri="{FF2B5EF4-FFF2-40B4-BE49-F238E27FC236}">
                  <a16:creationId xmlns:a16="http://schemas.microsoft.com/office/drawing/2014/main" id="{84DDA6B6-0610-5146-B135-EFC033012D3F}"/>
                </a:ext>
              </a:extLst>
            </p:cNvPr>
            <p:cNvCxnSpPr/>
            <p:nvPr/>
          </p:nvCxnSpPr>
          <p:spPr>
            <a:xfrm>
              <a:off x="6671079" y="4523336"/>
              <a:ext cx="150178" cy="0"/>
            </a:xfrm>
            <a:prstGeom prst="line">
              <a:avLst/>
            </a:prstGeom>
            <a:noFill/>
            <a:ln w="47625" cap="flat" cmpd="sng" algn="ctr">
              <a:solidFill>
                <a:srgbClr val="E7E6E6"/>
              </a:solidFill>
              <a:prstDash val="solid"/>
              <a:miter lim="800000"/>
            </a:ln>
            <a:effectLst/>
          </p:spPr>
        </p:cxnSp>
        <p:cxnSp>
          <p:nvCxnSpPr>
            <p:cNvPr id="28" name="Straight Connector 53">
              <a:extLst>
                <a:ext uri="{FF2B5EF4-FFF2-40B4-BE49-F238E27FC236}">
                  <a16:creationId xmlns:a16="http://schemas.microsoft.com/office/drawing/2014/main" id="{32B95F24-9759-7149-BC1A-EA528259015D}"/>
                </a:ext>
              </a:extLst>
            </p:cNvPr>
            <p:cNvCxnSpPr>
              <a:cxnSpLocks/>
            </p:cNvCxnSpPr>
            <p:nvPr/>
          </p:nvCxnSpPr>
          <p:spPr>
            <a:xfrm>
              <a:off x="6796841" y="4523336"/>
              <a:ext cx="279400" cy="0"/>
            </a:xfrm>
            <a:prstGeom prst="line">
              <a:avLst/>
            </a:prstGeom>
            <a:noFill/>
            <a:ln w="47625" cap="flat" cmpd="sng" algn="ctr">
              <a:solidFill>
                <a:srgbClr val="D82A2D"/>
              </a:solidFill>
              <a:prstDash val="solid"/>
              <a:miter lim="800000"/>
            </a:ln>
            <a:effectLst/>
          </p:spPr>
        </p:cxnSp>
      </p:grpSp>
      <p:sp>
        <p:nvSpPr>
          <p:cNvPr id="29" name="Prostokąt 28"/>
          <p:cNvSpPr/>
          <p:nvPr/>
        </p:nvSpPr>
        <p:spPr>
          <a:xfrm>
            <a:off x="361148" y="1454414"/>
            <a:ext cx="11599428" cy="5386090"/>
          </a:xfrm>
          <a:prstGeom prst="rect">
            <a:avLst/>
          </a:prstGeom>
        </p:spPr>
        <p:txBody>
          <a:bodyPr wrap="square">
            <a:spAutoFit/>
          </a:bodyPr>
          <a:lstStyle/>
          <a:p>
            <a:pPr lvl="0" algn="just"/>
            <a:r>
              <a:rPr lang="en-GB" sz="1400" b="1" dirty="0">
                <a:solidFill>
                  <a:srgbClr val="000000"/>
                </a:solidFill>
                <a:cs typeface="Times New Roman" panose="02020603050405020304" pitchFamily="18" charset="0"/>
              </a:rPr>
              <a:t>What tasks can we carry out together?</a:t>
            </a:r>
          </a:p>
          <a:p>
            <a:pPr marL="171450" lvl="0" indent="-171450" algn="just">
              <a:spcAft>
                <a:spcPts val="600"/>
              </a:spcAft>
              <a:buClr>
                <a:srgbClr val="FF001A"/>
              </a:buClr>
              <a:buFont typeface="Wingdings" panose="05000000000000000000" pitchFamily="2" charset="2"/>
              <a:buChar char="§"/>
            </a:pPr>
            <a:r>
              <a:rPr lang="en-GB" sz="1400" dirty="0">
                <a:solidFill>
                  <a:srgbClr val="414141"/>
                </a:solidFill>
              </a:rPr>
              <a:t>Networking: building business cooperation between Polish and foreign companies and institutional support</a:t>
            </a:r>
          </a:p>
          <a:p>
            <a:pPr marL="171450" lvl="0" indent="-171450" algn="just">
              <a:spcAft>
                <a:spcPts val="600"/>
              </a:spcAft>
              <a:buClr>
                <a:srgbClr val="FF001A"/>
              </a:buClr>
              <a:buFont typeface="Wingdings" panose="05000000000000000000" pitchFamily="2" charset="2"/>
              <a:buChar char="§"/>
            </a:pPr>
            <a:r>
              <a:rPr lang="en-GB" sz="1400" dirty="0">
                <a:solidFill>
                  <a:srgbClr val="414141"/>
                </a:solidFill>
              </a:rPr>
              <a:t>Organization of workshops and trainings for enterprises and institutional partners</a:t>
            </a:r>
          </a:p>
          <a:p>
            <a:pPr marL="171450" lvl="0" indent="-171450" algn="just">
              <a:spcAft>
                <a:spcPts val="600"/>
              </a:spcAft>
              <a:buClr>
                <a:srgbClr val="FF001A"/>
              </a:buClr>
              <a:buFont typeface="Wingdings" panose="05000000000000000000" pitchFamily="2" charset="2"/>
              <a:buChar char="§"/>
            </a:pPr>
            <a:r>
              <a:rPr lang="en-GB" sz="1400" dirty="0">
                <a:solidFill>
                  <a:srgbClr val="414141"/>
                </a:solidFill>
              </a:rPr>
              <a:t>Coordinated market and product expertise: presentation of product solutions, support programs and tools, and best practices</a:t>
            </a:r>
          </a:p>
          <a:p>
            <a:pPr marL="171450" lvl="0" indent="-171450" algn="just">
              <a:spcAft>
                <a:spcPts val="600"/>
              </a:spcAft>
              <a:buClr>
                <a:srgbClr val="FF001A"/>
              </a:buClr>
              <a:buFont typeface="Wingdings" panose="05000000000000000000" pitchFamily="2" charset="2"/>
              <a:buChar char="§"/>
            </a:pPr>
            <a:r>
              <a:rPr lang="en-GB" sz="1400" dirty="0">
                <a:solidFill>
                  <a:srgbClr val="414141"/>
                </a:solidFill>
              </a:rPr>
              <a:t>Access to international banking and export finance specialists, export insurance specialists and foreign markets</a:t>
            </a:r>
          </a:p>
          <a:p>
            <a:pPr marL="171450" lvl="0" indent="-171450" algn="just">
              <a:spcAft>
                <a:spcPts val="600"/>
              </a:spcAft>
              <a:buClr>
                <a:srgbClr val="FF001A"/>
              </a:buClr>
              <a:buFont typeface="Wingdings" panose="05000000000000000000" pitchFamily="2" charset="2"/>
              <a:buChar char="§"/>
            </a:pPr>
            <a:r>
              <a:rPr lang="en-GB" sz="1400" dirty="0">
                <a:solidFill>
                  <a:srgbClr val="414141"/>
                </a:solidFill>
              </a:rPr>
              <a:t>Providing industry and market reports, macroeconomic analyses</a:t>
            </a:r>
          </a:p>
          <a:p>
            <a:pPr algn="just">
              <a:lnSpc>
                <a:spcPct val="100000"/>
              </a:lnSpc>
              <a:spcBef>
                <a:spcPts val="0"/>
              </a:spcBef>
            </a:pPr>
            <a:endParaRPr lang="en-GB" sz="1400" b="1" dirty="0">
              <a:solidFill>
                <a:srgbClr val="000000"/>
              </a:solidFill>
              <a:cs typeface="Times New Roman" panose="02020603050405020304" pitchFamily="18" charset="0"/>
            </a:endParaRPr>
          </a:p>
          <a:p>
            <a:pPr algn="just">
              <a:lnSpc>
                <a:spcPct val="100000"/>
              </a:lnSpc>
              <a:spcBef>
                <a:spcPts val="0"/>
              </a:spcBef>
            </a:pPr>
            <a:r>
              <a:rPr lang="en-GB" sz="1400" b="1" dirty="0">
                <a:solidFill>
                  <a:srgbClr val="000000"/>
                </a:solidFill>
                <a:cs typeface="Times New Roman" panose="02020603050405020304" pitchFamily="18" charset="0"/>
              </a:rPr>
              <a:t>How can we help entrepreneurs together?</a:t>
            </a:r>
          </a:p>
          <a:p>
            <a:pPr algn="just">
              <a:lnSpc>
                <a:spcPct val="100000"/>
              </a:lnSpc>
              <a:spcBef>
                <a:spcPts val="0"/>
              </a:spcBef>
            </a:pPr>
            <a:endParaRPr lang="en-GB" sz="1400" b="1" dirty="0">
              <a:solidFill>
                <a:srgbClr val="000000"/>
              </a:solidFill>
              <a:cs typeface="Times New Roman" panose="02020603050405020304" pitchFamily="18" charset="0"/>
            </a:endParaRPr>
          </a:p>
          <a:p>
            <a:pPr algn="just">
              <a:spcAft>
                <a:spcPts val="1200"/>
              </a:spcAft>
              <a:buClr>
                <a:srgbClr val="FF001A"/>
              </a:buClr>
            </a:pPr>
            <a:r>
              <a:rPr lang="en-GB" sz="1200" dirty="0"/>
              <a:t>	</a:t>
            </a:r>
            <a:r>
              <a:rPr lang="en-GB" sz="1400" dirty="0"/>
              <a:t>We associate businesses: building business cooperation between Polish and foreign companies </a:t>
            </a:r>
          </a:p>
          <a:p>
            <a:pPr algn="just">
              <a:spcAft>
                <a:spcPts val="1200"/>
              </a:spcAft>
              <a:buClr>
                <a:srgbClr val="FF001A"/>
              </a:buClr>
            </a:pPr>
            <a:r>
              <a:rPr lang="en-GB" sz="1400" dirty="0"/>
              <a:t>	</a:t>
            </a:r>
            <a:r>
              <a:rPr lang="en-GB" sz="1400" dirty="0">
                <a:solidFill>
                  <a:srgbClr val="000000"/>
                </a:solidFill>
              </a:rPr>
              <a:t>We generate demand for export and international expansion - promotion of entrepreneurs on foreign markets </a:t>
            </a:r>
          </a:p>
          <a:p>
            <a:pPr algn="just">
              <a:spcAft>
                <a:spcPts val="1200"/>
              </a:spcAft>
              <a:buClr>
                <a:srgbClr val="FF001A"/>
              </a:buClr>
            </a:pPr>
            <a:r>
              <a:rPr lang="en-GB" sz="1400" dirty="0">
                <a:solidFill>
                  <a:srgbClr val="000000"/>
                </a:solidFill>
              </a:rPr>
              <a:t>	We become partners in structuring foreign ventures – close cooperation with enterprises from the earliest stages of contract planning</a:t>
            </a:r>
          </a:p>
          <a:p>
            <a:pPr algn="just">
              <a:spcAft>
                <a:spcPts val="1200"/>
              </a:spcAft>
              <a:buClr>
                <a:srgbClr val="FF001A"/>
              </a:buClr>
            </a:pPr>
            <a:r>
              <a:rPr lang="en-GB" sz="1400" dirty="0"/>
              <a:t>                       We strengthen the competitiveness of entrepreneurs – expanding the exporter's offer with financing opportunities and market know-how</a:t>
            </a:r>
          </a:p>
          <a:p>
            <a:pPr algn="just">
              <a:spcAft>
                <a:spcPts val="1200"/>
              </a:spcAft>
              <a:buClr>
                <a:srgbClr val="FF001A"/>
              </a:buClr>
            </a:pPr>
            <a:endParaRPr lang="en-GB" sz="1200" dirty="0"/>
          </a:p>
          <a:p>
            <a:pPr algn="just">
              <a:spcAft>
                <a:spcPts val="1200"/>
              </a:spcAft>
              <a:buClr>
                <a:srgbClr val="FF001A"/>
              </a:buClr>
            </a:pPr>
            <a:endParaRPr lang="en-GB" sz="1200" dirty="0"/>
          </a:p>
          <a:p>
            <a:pPr algn="just">
              <a:spcAft>
                <a:spcPts val="600"/>
              </a:spcAft>
              <a:buClr>
                <a:srgbClr val="FF001A"/>
              </a:buClr>
            </a:pPr>
            <a:endParaRPr lang="en-GB" sz="1200" dirty="0"/>
          </a:p>
          <a:p>
            <a:pPr algn="just">
              <a:lnSpc>
                <a:spcPct val="100000"/>
              </a:lnSpc>
              <a:spcBef>
                <a:spcPts val="0"/>
              </a:spcBef>
            </a:pPr>
            <a:endParaRPr lang="en-GB" sz="1200" dirty="0"/>
          </a:p>
          <a:p>
            <a:pPr algn="just"/>
            <a:endParaRPr lang="en-GB" sz="1200" dirty="0"/>
          </a:p>
          <a:p>
            <a:pPr algn="just">
              <a:spcAft>
                <a:spcPts val="1200"/>
              </a:spcAft>
              <a:buClr>
                <a:srgbClr val="FF001A"/>
              </a:buClr>
            </a:pPr>
            <a:endParaRPr lang="en-GB" sz="1200" dirty="0"/>
          </a:p>
        </p:txBody>
      </p:sp>
      <p:pic>
        <p:nvPicPr>
          <p:cNvPr id="31"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97477" y="5230696"/>
            <a:ext cx="3325561" cy="1351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Obraz 2">
            <a:extLst>
              <a:ext uri="{FF2B5EF4-FFF2-40B4-BE49-F238E27FC236}">
                <a16:creationId xmlns:a16="http://schemas.microsoft.com/office/drawing/2014/main" id="{3CEDBA0C-2C07-40EA-B804-24290B385C23}"/>
              </a:ext>
            </a:extLst>
          </p:cNvPr>
          <p:cNvPicPr>
            <a:picLocks noChangeAspect="1"/>
          </p:cNvPicPr>
          <p:nvPr/>
        </p:nvPicPr>
        <p:blipFill>
          <a:blip r:embed="rId9"/>
          <a:stretch>
            <a:fillRect/>
          </a:stretch>
        </p:blipFill>
        <p:spPr>
          <a:xfrm>
            <a:off x="519980" y="4715941"/>
            <a:ext cx="616204" cy="616204"/>
          </a:xfrm>
          <a:prstGeom prst="rect">
            <a:avLst/>
          </a:prstGeom>
        </p:spPr>
      </p:pic>
      <p:pic>
        <p:nvPicPr>
          <p:cNvPr id="6" name="Obraz 5">
            <a:extLst>
              <a:ext uri="{FF2B5EF4-FFF2-40B4-BE49-F238E27FC236}">
                <a16:creationId xmlns:a16="http://schemas.microsoft.com/office/drawing/2014/main" id="{BD208F59-81A2-4CDF-BF3B-99F29A29B9A7}"/>
              </a:ext>
            </a:extLst>
          </p:cNvPr>
          <p:cNvPicPr>
            <a:picLocks noChangeAspect="1"/>
          </p:cNvPicPr>
          <p:nvPr/>
        </p:nvPicPr>
        <p:blipFill>
          <a:blip r:embed="rId10"/>
          <a:stretch>
            <a:fillRect/>
          </a:stretch>
        </p:blipFill>
        <p:spPr>
          <a:xfrm>
            <a:off x="568690" y="3669441"/>
            <a:ext cx="457200" cy="457200"/>
          </a:xfrm>
          <a:prstGeom prst="rect">
            <a:avLst/>
          </a:prstGeom>
        </p:spPr>
      </p:pic>
      <p:pic>
        <p:nvPicPr>
          <p:cNvPr id="8" name="Obraz 7">
            <a:extLst>
              <a:ext uri="{FF2B5EF4-FFF2-40B4-BE49-F238E27FC236}">
                <a16:creationId xmlns:a16="http://schemas.microsoft.com/office/drawing/2014/main" id="{8C0D0228-DBC4-4C8D-9D0C-7F82A2882AFC}"/>
              </a:ext>
            </a:extLst>
          </p:cNvPr>
          <p:cNvPicPr>
            <a:picLocks noChangeAspect="1"/>
          </p:cNvPicPr>
          <p:nvPr/>
        </p:nvPicPr>
        <p:blipFill>
          <a:blip r:embed="rId11"/>
          <a:stretch>
            <a:fillRect/>
          </a:stretch>
        </p:blipFill>
        <p:spPr>
          <a:xfrm>
            <a:off x="582004" y="4010577"/>
            <a:ext cx="457200" cy="457200"/>
          </a:xfrm>
          <a:prstGeom prst="rect">
            <a:avLst/>
          </a:prstGeom>
        </p:spPr>
      </p:pic>
      <p:pic>
        <p:nvPicPr>
          <p:cNvPr id="11" name="Obraz 10">
            <a:extLst>
              <a:ext uri="{FF2B5EF4-FFF2-40B4-BE49-F238E27FC236}">
                <a16:creationId xmlns:a16="http://schemas.microsoft.com/office/drawing/2014/main" id="{04235159-B280-4BB7-B90C-E8B3FE4E6EBF}"/>
              </a:ext>
            </a:extLst>
          </p:cNvPr>
          <p:cNvPicPr>
            <a:picLocks noChangeAspect="1"/>
          </p:cNvPicPr>
          <p:nvPr/>
        </p:nvPicPr>
        <p:blipFill>
          <a:blip r:embed="rId12"/>
          <a:stretch>
            <a:fillRect/>
          </a:stretch>
        </p:blipFill>
        <p:spPr>
          <a:xfrm>
            <a:off x="519980" y="4363259"/>
            <a:ext cx="552116" cy="552116"/>
          </a:xfrm>
          <a:prstGeom prst="rect">
            <a:avLst/>
          </a:prstGeom>
        </p:spPr>
      </p:pic>
    </p:spTree>
    <p:extLst>
      <p:ext uri="{BB962C8B-B14F-4D97-AF65-F5344CB8AC3E}">
        <p14:creationId xmlns:p14="http://schemas.microsoft.com/office/powerpoint/2010/main" val="3233584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108">
            <a:extLst>
              <a:ext uri="{FF2B5EF4-FFF2-40B4-BE49-F238E27FC236}">
                <a16:creationId xmlns:a16="http://schemas.microsoft.com/office/drawing/2014/main" id="{1A58541B-EF93-436D-A276-F80ACC65CEE7}"/>
              </a:ext>
            </a:extLst>
          </p:cNvPr>
          <p:cNvSpPr/>
          <p:nvPr/>
        </p:nvSpPr>
        <p:spPr>
          <a:xfrm>
            <a:off x="9186578" y="1658970"/>
            <a:ext cx="2933700" cy="3491699"/>
          </a:xfrm>
          <a:prstGeom prst="rect">
            <a:avLst/>
          </a:prstGeom>
          <a:no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FFFFFF"/>
              </a:solidFill>
              <a:effectLst/>
              <a:uLnTx/>
              <a:uFillTx/>
              <a:latin typeface="Arial" panose="020B0604020202020204"/>
              <a:ea typeface="+mn-ea"/>
              <a:cs typeface="+mn-cs"/>
            </a:endParaRPr>
          </a:p>
        </p:txBody>
      </p:sp>
      <p:sp>
        <p:nvSpPr>
          <p:cNvPr id="65" name="Oval 111">
            <a:extLst>
              <a:ext uri="{FF2B5EF4-FFF2-40B4-BE49-F238E27FC236}">
                <a16:creationId xmlns:a16="http://schemas.microsoft.com/office/drawing/2014/main" id="{A99AAFB6-91DB-488D-A1A8-19A35D381FBD}"/>
              </a:ext>
            </a:extLst>
          </p:cNvPr>
          <p:cNvSpPr/>
          <p:nvPr/>
        </p:nvSpPr>
        <p:spPr>
          <a:xfrm>
            <a:off x="10320532" y="1371926"/>
            <a:ext cx="672856" cy="67285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000" b="1"/>
          </a:p>
        </p:txBody>
      </p:sp>
      <p:sp>
        <p:nvSpPr>
          <p:cNvPr id="55" name="Rectangle 104">
            <a:extLst>
              <a:ext uri="{FF2B5EF4-FFF2-40B4-BE49-F238E27FC236}">
                <a16:creationId xmlns:a16="http://schemas.microsoft.com/office/drawing/2014/main" id="{A1F346A8-5B9C-4862-9CDA-F567E87D35A9}"/>
              </a:ext>
            </a:extLst>
          </p:cNvPr>
          <p:cNvSpPr/>
          <p:nvPr/>
        </p:nvSpPr>
        <p:spPr>
          <a:xfrm>
            <a:off x="6388345" y="1654538"/>
            <a:ext cx="2704855" cy="3488435"/>
          </a:xfrm>
          <a:prstGeom prst="rect">
            <a:avLst/>
          </a:prstGeom>
          <a:no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FFFFFF"/>
              </a:solidFill>
              <a:effectLst/>
              <a:uLnTx/>
              <a:uFillTx/>
              <a:latin typeface="Arial" panose="020B0604020202020204"/>
              <a:ea typeface="+mn-ea"/>
              <a:cs typeface="+mn-cs"/>
            </a:endParaRPr>
          </a:p>
        </p:txBody>
      </p:sp>
      <p:sp>
        <p:nvSpPr>
          <p:cNvPr id="64" name="Oval 111">
            <a:extLst>
              <a:ext uri="{FF2B5EF4-FFF2-40B4-BE49-F238E27FC236}">
                <a16:creationId xmlns:a16="http://schemas.microsoft.com/office/drawing/2014/main" id="{C2065731-5181-485A-A778-1A4B9E13ED68}"/>
              </a:ext>
            </a:extLst>
          </p:cNvPr>
          <p:cNvSpPr/>
          <p:nvPr/>
        </p:nvSpPr>
        <p:spPr>
          <a:xfrm>
            <a:off x="7570859" y="1374977"/>
            <a:ext cx="672856" cy="67285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000" b="1"/>
          </a:p>
        </p:txBody>
      </p:sp>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i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51" name="Obraz 150"/>
          <p:cNvPicPr/>
          <p:nvPr/>
        </p:nvPicPr>
        <p:blipFill rotWithShape="1">
          <a:blip r:embed="rId7">
            <a:extLst>
              <a:ext uri="{28A0092B-C50C-407E-A947-70E740481C1C}">
                <a14:useLocalDpi xmlns:a14="http://schemas.microsoft.com/office/drawing/2010/main" val="0"/>
              </a:ext>
            </a:extLst>
          </a:blip>
          <a:srcRect l="62014" b="51403"/>
          <a:stretch/>
        </p:blipFill>
        <p:spPr bwMode="auto">
          <a:xfrm>
            <a:off x="11133517" y="89484"/>
            <a:ext cx="706057" cy="1157468"/>
          </a:xfrm>
          <a:prstGeom prst="rect">
            <a:avLst/>
          </a:prstGeom>
          <a:noFill/>
        </p:spPr>
      </p:pic>
      <p:sp>
        <p:nvSpPr>
          <p:cNvPr id="120" name="Tytuł 5">
            <a:extLst>
              <a:ext uri="{FF2B5EF4-FFF2-40B4-BE49-F238E27FC236}">
                <a16:creationId xmlns:a16="http://schemas.microsoft.com/office/drawing/2014/main" id="{7FBB928C-12E5-4639-BBE7-F4656A58C202}"/>
              </a:ext>
            </a:extLst>
          </p:cNvPr>
          <p:cNvSpPr>
            <a:spLocks noGrp="1"/>
          </p:cNvSpPr>
          <p:nvPr>
            <p:ph type="title"/>
          </p:nvPr>
        </p:nvSpPr>
        <p:spPr>
          <a:xfrm>
            <a:off x="630464" y="468000"/>
            <a:ext cx="11210925" cy="699495"/>
          </a:xfrm>
        </p:spPr>
        <p:txBody>
          <a:bodyPr/>
          <a:lstStyle/>
          <a:p>
            <a:pPr lvl="0"/>
            <a:r>
              <a:rPr lang="en-GB" sz="2000"/>
              <a:t>Bank Pekao Competence Centre for international business ventures and commercial operations of enterprises </a:t>
            </a:r>
            <a:endParaRPr lang="en-GB" sz="2000" b="1">
              <a:solidFill>
                <a:srgbClr val="000000"/>
              </a:solidFill>
            </a:endParaRPr>
          </a:p>
        </p:txBody>
      </p:sp>
      <p:cxnSp>
        <p:nvCxnSpPr>
          <p:cNvPr id="121" name="Łącznik prosty 120"/>
          <p:cNvCxnSpPr/>
          <p:nvPr/>
        </p:nvCxnSpPr>
        <p:spPr>
          <a:xfrm>
            <a:off x="-59247" y="1304181"/>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sp>
        <p:nvSpPr>
          <p:cNvPr id="35" name="Rectangle 90">
            <a:extLst>
              <a:ext uri="{FF2B5EF4-FFF2-40B4-BE49-F238E27FC236}">
                <a16:creationId xmlns:a16="http://schemas.microsoft.com/office/drawing/2014/main" id="{50F57DE3-C33E-44D8-A982-9255F6F0775D}"/>
              </a:ext>
            </a:extLst>
          </p:cNvPr>
          <p:cNvSpPr/>
          <p:nvPr/>
        </p:nvSpPr>
        <p:spPr>
          <a:xfrm>
            <a:off x="59266" y="1662246"/>
            <a:ext cx="2933700" cy="3488437"/>
          </a:xfrm>
          <a:prstGeom prst="rect">
            <a:avLst/>
          </a:prstGeom>
          <a:no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FFFFFF"/>
              </a:solidFill>
              <a:effectLst/>
              <a:uLnTx/>
              <a:uFillTx/>
              <a:latin typeface="Arial" panose="020B0604020202020204"/>
              <a:ea typeface="+mn-ea"/>
              <a:cs typeface="+mn-cs"/>
            </a:endParaRPr>
          </a:p>
        </p:txBody>
      </p:sp>
      <p:sp>
        <p:nvSpPr>
          <p:cNvPr id="36" name="pole tekstowe 1">
            <a:extLst>
              <a:ext uri="{FF2B5EF4-FFF2-40B4-BE49-F238E27FC236}">
                <a16:creationId xmlns:a16="http://schemas.microsoft.com/office/drawing/2014/main" id="{2B6F1CEB-B449-4BC4-AFDA-B702E24799E0}"/>
              </a:ext>
            </a:extLst>
          </p:cNvPr>
          <p:cNvSpPr txBox="1"/>
          <p:nvPr/>
        </p:nvSpPr>
        <p:spPr>
          <a:xfrm>
            <a:off x="205452" y="2844231"/>
            <a:ext cx="2422487" cy="1508105"/>
          </a:xfrm>
          <a:prstGeom prst="rect">
            <a:avLst/>
          </a:prstGeom>
          <a:noFill/>
        </p:spPr>
        <p:txBody>
          <a:bodyPr wrap="square" rtlCol="0">
            <a:spAutoFit/>
          </a:bodyPr>
          <a:lstStyle/>
          <a:p>
            <a:pPr marL="171450" indent="-171450" eaLnBrk="0" fontAlgn="base" hangingPunct="0">
              <a:spcBef>
                <a:spcPct val="0"/>
              </a:spcBef>
              <a:spcAft>
                <a:spcPts val="600"/>
              </a:spcAft>
              <a:buClr>
                <a:srgbClr val="D82A2D"/>
              </a:buClr>
              <a:buFont typeface="Arial" panose="020B0604020202020204" pitchFamily="34" charset="0"/>
              <a:buChar char="•"/>
              <a:defRPr/>
            </a:pPr>
            <a:r>
              <a:rPr lang="en-GB" sz="1100" kern="0">
                <a:solidFill>
                  <a:srgbClr val="000000">
                    <a:lumMod val="65000"/>
                    <a:lumOff val="35000"/>
                  </a:srgbClr>
                </a:solidFill>
                <a:latin typeface="Arial" panose="020B0604020202020204"/>
              </a:rPr>
              <a:t>Expertise and support for foreign expansion of Polish companies</a:t>
            </a:r>
          </a:p>
          <a:p>
            <a:pPr marL="171450" indent="-171450" eaLnBrk="0" fontAlgn="base" hangingPunct="0">
              <a:spcBef>
                <a:spcPct val="0"/>
              </a:spcBef>
              <a:spcAft>
                <a:spcPts val="600"/>
              </a:spcAft>
              <a:buClr>
                <a:srgbClr val="D82A2D"/>
              </a:buClr>
              <a:buFont typeface="Arial" panose="020B0604020202020204" pitchFamily="34" charset="0"/>
              <a:buChar char="•"/>
              <a:defRPr/>
            </a:pPr>
            <a:r>
              <a:rPr lang="en-GB" sz="1100" kern="0">
                <a:solidFill>
                  <a:srgbClr val="000000">
                    <a:lumMod val="65000"/>
                    <a:lumOff val="35000"/>
                  </a:srgbClr>
                </a:solidFill>
                <a:latin typeface="Arial" panose="020B0604020202020204"/>
              </a:rPr>
              <a:t>Comprehensive export finance offer</a:t>
            </a:r>
          </a:p>
          <a:p>
            <a:pPr marL="171450" indent="-171450" eaLnBrk="0" fontAlgn="base" hangingPunct="0">
              <a:spcBef>
                <a:spcPct val="0"/>
              </a:spcBef>
              <a:spcAft>
                <a:spcPts val="600"/>
              </a:spcAft>
              <a:buClr>
                <a:srgbClr val="D82A2D"/>
              </a:buClr>
              <a:buFont typeface="Arial" panose="020B0604020202020204" pitchFamily="34" charset="0"/>
              <a:buChar char="•"/>
              <a:defRPr/>
            </a:pPr>
            <a:r>
              <a:rPr lang="en-GB" sz="1100" kern="0">
                <a:solidFill>
                  <a:srgbClr val="000000">
                    <a:lumMod val="65000"/>
                    <a:lumOff val="35000"/>
                  </a:srgbClr>
                </a:solidFill>
                <a:latin typeface="Arial" panose="020B0604020202020204"/>
              </a:rPr>
              <a:t>Financing foreign acquisitions</a:t>
            </a:r>
          </a:p>
          <a:p>
            <a:pPr marL="171450" indent="-171450" eaLnBrk="0" fontAlgn="base" hangingPunct="0">
              <a:spcBef>
                <a:spcPct val="0"/>
              </a:spcBef>
              <a:spcAft>
                <a:spcPts val="600"/>
              </a:spcAft>
              <a:buClr>
                <a:srgbClr val="D82A2D"/>
              </a:buClr>
              <a:buFont typeface="Arial" panose="020B0604020202020204" pitchFamily="34" charset="0"/>
              <a:buChar char="•"/>
              <a:defRPr/>
            </a:pPr>
            <a:r>
              <a:rPr lang="en-GB" sz="1100" kern="0">
                <a:solidFill>
                  <a:srgbClr val="000000">
                    <a:lumMod val="65000"/>
                    <a:lumOff val="35000"/>
                  </a:srgbClr>
                </a:solidFill>
                <a:latin typeface="Arial" panose="020B0604020202020204"/>
              </a:rPr>
              <a:t>Solutions with the support </a:t>
            </a:r>
            <a:br>
              <a:rPr lang="en-GB" sz="1100" kern="0">
                <a:solidFill>
                  <a:srgbClr val="000000">
                    <a:lumMod val="65000"/>
                    <a:lumOff val="35000"/>
                  </a:srgbClr>
                </a:solidFill>
                <a:latin typeface="Arial" panose="020B0604020202020204"/>
              </a:rPr>
            </a:br>
            <a:r>
              <a:rPr lang="en-GB" sz="1100" kern="0">
                <a:solidFill>
                  <a:srgbClr val="000000">
                    <a:lumMod val="65000"/>
                    <a:lumOff val="35000"/>
                  </a:srgbClr>
                </a:solidFill>
                <a:latin typeface="Arial" panose="020B0604020202020204"/>
              </a:rPr>
              <a:t>of export credit agencies</a:t>
            </a:r>
          </a:p>
        </p:txBody>
      </p:sp>
      <p:sp>
        <p:nvSpPr>
          <p:cNvPr id="37" name="pole tekstowe 1">
            <a:extLst>
              <a:ext uri="{FF2B5EF4-FFF2-40B4-BE49-F238E27FC236}">
                <a16:creationId xmlns:a16="http://schemas.microsoft.com/office/drawing/2014/main" id="{C3A30C69-4017-4B44-A775-124DBCA2E4C0}"/>
              </a:ext>
            </a:extLst>
          </p:cNvPr>
          <p:cNvSpPr txBox="1"/>
          <p:nvPr/>
        </p:nvSpPr>
        <p:spPr>
          <a:xfrm>
            <a:off x="59266" y="2170069"/>
            <a:ext cx="2933700" cy="461665"/>
          </a:xfrm>
          <a:prstGeom prst="rect">
            <a:avLst/>
          </a:prstGeom>
          <a:noFill/>
        </p:spPr>
        <p:txBody>
          <a:bodyPr wrap="square" rtlCol="0">
            <a:spAutoFit/>
          </a:bodyPr>
          <a:lstStyle/>
          <a:p>
            <a:pPr algn="ctr" eaLnBrk="0" fontAlgn="base" hangingPunct="0">
              <a:spcBef>
                <a:spcPct val="0"/>
              </a:spcBef>
              <a:spcAft>
                <a:spcPts val="600"/>
              </a:spcAft>
              <a:buClr>
                <a:srgbClr val="D82A2D"/>
              </a:buClr>
              <a:defRPr/>
            </a:pPr>
            <a:r>
              <a:rPr lang="en-GB" sz="1200" b="1" kern="0">
                <a:solidFill>
                  <a:srgbClr val="1F293E"/>
                </a:solidFill>
                <a:latin typeface="Arial" panose="020B0604020202020204"/>
              </a:rPr>
              <a:t>INTERNATIONAL</a:t>
            </a:r>
            <a:br>
              <a:rPr lang="en-GB" sz="1200" b="1" kern="0">
                <a:solidFill>
                  <a:srgbClr val="1F293E"/>
                </a:solidFill>
                <a:latin typeface="Arial" panose="020B0604020202020204"/>
              </a:rPr>
            </a:br>
            <a:r>
              <a:rPr lang="en-GB" sz="1200" b="1" kern="0">
                <a:solidFill>
                  <a:srgbClr val="1F293E"/>
                </a:solidFill>
                <a:latin typeface="Arial" panose="020B0604020202020204"/>
              </a:rPr>
              <a:t>EXPANSION</a:t>
            </a:r>
          </a:p>
        </p:txBody>
      </p:sp>
      <p:sp>
        <p:nvSpPr>
          <p:cNvPr id="38" name="Oval 95">
            <a:extLst>
              <a:ext uri="{FF2B5EF4-FFF2-40B4-BE49-F238E27FC236}">
                <a16:creationId xmlns:a16="http://schemas.microsoft.com/office/drawing/2014/main" id="{0BDEAB8B-891D-46E1-97BC-981514797CAA}"/>
              </a:ext>
            </a:extLst>
          </p:cNvPr>
          <p:cNvSpPr/>
          <p:nvPr/>
        </p:nvSpPr>
        <p:spPr>
          <a:xfrm>
            <a:off x="1189688" y="1345729"/>
            <a:ext cx="672856" cy="672855"/>
          </a:xfrm>
          <a:prstGeom prst="ellipse">
            <a:avLst/>
          </a:prstGeom>
          <a:solidFill>
            <a:srgbClr val="FFFFFF"/>
          </a:solidFill>
          <a:ln w="12700" cap="flat" cmpd="sng" algn="ctr">
            <a:solidFill>
              <a:srgbClr val="000000"/>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a:ln>
                <a:noFill/>
              </a:ln>
              <a:solidFill>
                <a:srgbClr val="FFFFFF"/>
              </a:solidFill>
              <a:effectLst/>
              <a:uLnTx/>
              <a:uFillTx/>
              <a:latin typeface="Arial" panose="020B0604020202020204"/>
              <a:ea typeface="+mn-ea"/>
              <a:cs typeface="+mn-cs"/>
            </a:endParaRPr>
          </a:p>
        </p:txBody>
      </p:sp>
      <p:sp>
        <p:nvSpPr>
          <p:cNvPr id="39" name="Rectangle 100">
            <a:extLst>
              <a:ext uri="{FF2B5EF4-FFF2-40B4-BE49-F238E27FC236}">
                <a16:creationId xmlns:a16="http://schemas.microsoft.com/office/drawing/2014/main" id="{69A0E4FB-CF1B-46AC-AA9A-532C17CB1A1A}"/>
              </a:ext>
            </a:extLst>
          </p:cNvPr>
          <p:cNvSpPr/>
          <p:nvPr/>
        </p:nvSpPr>
        <p:spPr>
          <a:xfrm>
            <a:off x="3348566" y="1662246"/>
            <a:ext cx="2933700" cy="3488437"/>
          </a:xfrm>
          <a:prstGeom prst="rect">
            <a:avLst/>
          </a:prstGeom>
          <a:no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FFFFFF"/>
              </a:solidFill>
              <a:effectLst/>
              <a:uLnTx/>
              <a:uFillTx/>
              <a:latin typeface="Arial" panose="020B0604020202020204"/>
              <a:ea typeface="+mn-ea"/>
              <a:cs typeface="+mn-cs"/>
            </a:endParaRPr>
          </a:p>
        </p:txBody>
      </p:sp>
      <p:sp>
        <p:nvSpPr>
          <p:cNvPr id="40" name="pole tekstowe 1">
            <a:extLst>
              <a:ext uri="{FF2B5EF4-FFF2-40B4-BE49-F238E27FC236}">
                <a16:creationId xmlns:a16="http://schemas.microsoft.com/office/drawing/2014/main" id="{9FF39BFC-832C-4F61-862F-BF92729C2389}"/>
              </a:ext>
            </a:extLst>
          </p:cNvPr>
          <p:cNvSpPr txBox="1"/>
          <p:nvPr/>
        </p:nvSpPr>
        <p:spPr>
          <a:xfrm>
            <a:off x="3494752" y="2844231"/>
            <a:ext cx="2422487" cy="2000548"/>
          </a:xfrm>
          <a:prstGeom prst="rect">
            <a:avLst/>
          </a:prstGeom>
          <a:noFill/>
        </p:spPr>
        <p:txBody>
          <a:bodyPr wrap="square" rtlCol="0">
            <a:spAutoFit/>
          </a:bodyPr>
          <a:lstStyle/>
          <a:p>
            <a:pPr marL="171450" indent="-171450" eaLnBrk="0" fontAlgn="base" hangingPunct="0">
              <a:spcBef>
                <a:spcPct val="0"/>
              </a:spcBef>
              <a:spcAft>
                <a:spcPts val="600"/>
              </a:spcAft>
              <a:buClr>
                <a:srgbClr val="D82A2D"/>
              </a:buClr>
              <a:buFont typeface="Arial" panose="020B0604020202020204" pitchFamily="34" charset="0"/>
              <a:buChar char="•"/>
            </a:pPr>
            <a:r>
              <a:rPr lang="en-GB" sz="1100" kern="0">
                <a:solidFill>
                  <a:srgbClr val="000000">
                    <a:lumMod val="65000"/>
                    <a:lumOff val="35000"/>
                  </a:srgbClr>
                </a:solidFill>
                <a:latin typeface="Arial" panose="020B0604020202020204"/>
              </a:rPr>
              <a:t>Settlement of commercial transactions</a:t>
            </a:r>
          </a:p>
          <a:p>
            <a:pPr marL="171450" indent="-171450" eaLnBrk="0" fontAlgn="base" hangingPunct="0">
              <a:spcBef>
                <a:spcPct val="0"/>
              </a:spcBef>
              <a:spcAft>
                <a:spcPts val="600"/>
              </a:spcAft>
              <a:buClr>
                <a:srgbClr val="D82A2D"/>
              </a:buClr>
              <a:buFont typeface="Arial" panose="020B0604020202020204" pitchFamily="34" charset="0"/>
              <a:buChar char="•"/>
            </a:pPr>
            <a:r>
              <a:rPr lang="en-GB" sz="1100" kern="0">
                <a:solidFill>
                  <a:srgbClr val="000000">
                    <a:lumMod val="65000"/>
                    <a:lumOff val="35000"/>
                  </a:srgbClr>
                </a:solidFill>
                <a:latin typeface="Arial" panose="020B0604020202020204"/>
              </a:rPr>
              <a:t>Hedging against transaction risk </a:t>
            </a:r>
            <a:br>
              <a:rPr lang="en-GB" sz="1100" kern="0">
                <a:solidFill>
                  <a:srgbClr val="000000">
                    <a:lumMod val="65000"/>
                    <a:lumOff val="35000"/>
                  </a:srgbClr>
                </a:solidFill>
                <a:latin typeface="Arial" panose="020B0604020202020204"/>
              </a:rPr>
            </a:br>
            <a:r>
              <a:rPr lang="en-GB" sz="1100" kern="0">
                <a:solidFill>
                  <a:srgbClr val="000000">
                    <a:lumMod val="65000"/>
                    <a:lumOff val="35000"/>
                  </a:srgbClr>
                </a:solidFill>
                <a:latin typeface="Arial" panose="020B0604020202020204"/>
              </a:rPr>
              <a:t>in most countries of the world</a:t>
            </a:r>
          </a:p>
          <a:p>
            <a:pPr marL="171450" indent="-171450" eaLnBrk="0" fontAlgn="base" hangingPunct="0">
              <a:spcBef>
                <a:spcPct val="0"/>
              </a:spcBef>
              <a:spcAft>
                <a:spcPts val="600"/>
              </a:spcAft>
              <a:buClr>
                <a:srgbClr val="D82A2D"/>
              </a:buClr>
              <a:buFont typeface="Arial" panose="020B0604020202020204" pitchFamily="34" charset="0"/>
              <a:buChar char="•"/>
            </a:pPr>
            <a:r>
              <a:rPr lang="en-GB" sz="1100" kern="0">
                <a:solidFill>
                  <a:srgbClr val="000000">
                    <a:lumMod val="65000"/>
                    <a:lumOff val="35000"/>
                  </a:srgbClr>
                </a:solidFill>
                <a:latin typeface="Arial" panose="020B0604020202020204"/>
              </a:rPr>
              <a:t>Trade financing</a:t>
            </a:r>
          </a:p>
          <a:p>
            <a:pPr marL="171450" indent="-171450" eaLnBrk="0" fontAlgn="base" hangingPunct="0">
              <a:spcBef>
                <a:spcPct val="0"/>
              </a:spcBef>
              <a:spcAft>
                <a:spcPts val="600"/>
              </a:spcAft>
              <a:buClr>
                <a:srgbClr val="D82A2D"/>
              </a:buClr>
              <a:buFont typeface="Arial" panose="020B0604020202020204" pitchFamily="34" charset="0"/>
              <a:buChar char="•"/>
            </a:pPr>
            <a:r>
              <a:rPr lang="en-GB" sz="1100" kern="0">
                <a:solidFill>
                  <a:srgbClr val="000000">
                    <a:lumMod val="65000"/>
                    <a:lumOff val="35000"/>
                  </a:srgbClr>
                </a:solidFill>
                <a:latin typeface="Arial" panose="020B0604020202020204"/>
              </a:rPr>
              <a:t>Financing investments related </a:t>
            </a:r>
            <a:br>
              <a:rPr lang="en-GB" sz="1100" kern="0">
                <a:solidFill>
                  <a:srgbClr val="000000">
                    <a:lumMod val="65000"/>
                    <a:lumOff val="35000"/>
                  </a:srgbClr>
                </a:solidFill>
                <a:latin typeface="Arial" panose="020B0604020202020204"/>
              </a:rPr>
            </a:br>
            <a:r>
              <a:rPr lang="en-GB" sz="1100" kern="0">
                <a:solidFill>
                  <a:srgbClr val="000000">
                    <a:lumMod val="65000"/>
                    <a:lumOff val="35000"/>
                  </a:srgbClr>
                </a:solidFill>
                <a:latin typeface="Arial" panose="020B0604020202020204"/>
              </a:rPr>
              <a:t>to international expansion</a:t>
            </a:r>
          </a:p>
          <a:p>
            <a:pPr marL="171450" indent="-171450" eaLnBrk="0" fontAlgn="base" hangingPunct="0">
              <a:spcBef>
                <a:spcPct val="0"/>
              </a:spcBef>
              <a:spcAft>
                <a:spcPts val="600"/>
              </a:spcAft>
              <a:buClr>
                <a:srgbClr val="D82A2D"/>
              </a:buClr>
              <a:buFont typeface="Arial" panose="020B0604020202020204" pitchFamily="34" charset="0"/>
              <a:buChar char="•"/>
            </a:pPr>
            <a:endParaRPr lang="en-GB" sz="1100" kern="0">
              <a:solidFill>
                <a:srgbClr val="000000">
                  <a:lumMod val="65000"/>
                  <a:lumOff val="35000"/>
                </a:srgbClr>
              </a:solidFill>
              <a:latin typeface="Arial" panose="020B0604020202020204"/>
            </a:endParaRPr>
          </a:p>
          <a:p>
            <a:pPr marL="171450" indent="-171450" eaLnBrk="0" fontAlgn="base" hangingPunct="0">
              <a:spcBef>
                <a:spcPct val="0"/>
              </a:spcBef>
              <a:spcAft>
                <a:spcPts val="600"/>
              </a:spcAft>
              <a:buClr>
                <a:srgbClr val="D82A2D"/>
              </a:buClr>
              <a:buFont typeface="Arial" panose="020B0604020202020204" pitchFamily="34" charset="0"/>
              <a:buChar char="•"/>
            </a:pPr>
            <a:endParaRPr lang="en-GB" sz="1100" kern="0">
              <a:solidFill>
                <a:srgbClr val="000000">
                  <a:lumMod val="65000"/>
                  <a:lumOff val="35000"/>
                </a:srgbClr>
              </a:solidFill>
              <a:latin typeface="Arial" panose="020B0604020202020204"/>
            </a:endParaRPr>
          </a:p>
        </p:txBody>
      </p:sp>
      <p:sp>
        <p:nvSpPr>
          <p:cNvPr id="41" name="pole tekstowe 1">
            <a:extLst>
              <a:ext uri="{FF2B5EF4-FFF2-40B4-BE49-F238E27FC236}">
                <a16:creationId xmlns:a16="http://schemas.microsoft.com/office/drawing/2014/main" id="{32172BE4-86BE-41EE-A8BB-6F2865774420}"/>
              </a:ext>
            </a:extLst>
          </p:cNvPr>
          <p:cNvSpPr txBox="1"/>
          <p:nvPr/>
        </p:nvSpPr>
        <p:spPr>
          <a:xfrm>
            <a:off x="3348566" y="2170069"/>
            <a:ext cx="2933700" cy="461665"/>
          </a:xfrm>
          <a:prstGeom prst="rect">
            <a:avLst/>
          </a:prstGeom>
          <a:noFill/>
        </p:spPr>
        <p:txBody>
          <a:bodyPr wrap="square" rtlCol="0">
            <a:spAutoFit/>
          </a:bodyPr>
          <a:lstStyle/>
          <a:p>
            <a:pPr algn="ctr" eaLnBrk="0" fontAlgn="base" hangingPunct="0">
              <a:spcBef>
                <a:spcPct val="0"/>
              </a:spcBef>
              <a:spcAft>
                <a:spcPts val="600"/>
              </a:spcAft>
              <a:buClr>
                <a:srgbClr val="D82A2D"/>
              </a:buClr>
              <a:defRPr/>
            </a:pPr>
            <a:r>
              <a:rPr lang="en-GB" sz="1200" b="1" kern="0">
                <a:solidFill>
                  <a:srgbClr val="1F293E"/>
                </a:solidFill>
                <a:latin typeface="Arial" panose="020B0604020202020204"/>
              </a:rPr>
              <a:t>A UNIQUE RANGE </a:t>
            </a:r>
            <a:br>
              <a:rPr lang="en-GB" sz="1200" b="1" kern="0">
                <a:solidFill>
                  <a:srgbClr val="1F293E"/>
                </a:solidFill>
                <a:latin typeface="Arial" panose="020B0604020202020204"/>
              </a:rPr>
            </a:br>
            <a:r>
              <a:rPr lang="en-GB" sz="1200" b="1" kern="0">
                <a:solidFill>
                  <a:srgbClr val="1F293E"/>
                </a:solidFill>
                <a:latin typeface="Arial" panose="020B0604020202020204"/>
              </a:rPr>
              <a:t>OF PRODUCTS </a:t>
            </a:r>
          </a:p>
        </p:txBody>
      </p:sp>
      <p:sp>
        <p:nvSpPr>
          <p:cNvPr id="42" name="Oval 103">
            <a:extLst>
              <a:ext uri="{FF2B5EF4-FFF2-40B4-BE49-F238E27FC236}">
                <a16:creationId xmlns:a16="http://schemas.microsoft.com/office/drawing/2014/main" id="{6732ED72-5BF1-43A4-8C56-4B98894ADED6}"/>
              </a:ext>
            </a:extLst>
          </p:cNvPr>
          <p:cNvSpPr/>
          <p:nvPr/>
        </p:nvSpPr>
        <p:spPr>
          <a:xfrm>
            <a:off x="4478988" y="1345729"/>
            <a:ext cx="672856" cy="672855"/>
          </a:xfrm>
          <a:prstGeom prst="ellipse">
            <a:avLst/>
          </a:prstGeom>
          <a:solidFill>
            <a:srgbClr val="FFFFFF"/>
          </a:solidFill>
          <a:ln w="12700" cap="flat" cmpd="sng" algn="ctr">
            <a:solidFill>
              <a:srgbClr val="000000"/>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a:ln>
                <a:noFill/>
              </a:ln>
              <a:solidFill>
                <a:srgbClr val="FFFFFF"/>
              </a:solidFill>
              <a:effectLst/>
              <a:uLnTx/>
              <a:uFillTx/>
              <a:latin typeface="Arial" panose="020B0604020202020204"/>
              <a:ea typeface="+mn-ea"/>
              <a:cs typeface="+mn-cs"/>
            </a:endParaRPr>
          </a:p>
        </p:txBody>
      </p:sp>
      <p:pic>
        <p:nvPicPr>
          <p:cNvPr id="43" name="Picture 113">
            <a:extLst>
              <a:ext uri="{FF2B5EF4-FFF2-40B4-BE49-F238E27FC236}">
                <a16:creationId xmlns:a16="http://schemas.microsoft.com/office/drawing/2014/main" id="{C086DEBE-75F7-42D7-ABED-8BEB4BFF5DC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379890" y="1528906"/>
            <a:ext cx="311305" cy="311305"/>
          </a:xfrm>
          <a:prstGeom prst="rect">
            <a:avLst/>
          </a:prstGeom>
        </p:spPr>
      </p:pic>
      <p:pic>
        <p:nvPicPr>
          <p:cNvPr id="44" name="Picture 115">
            <a:extLst>
              <a:ext uri="{FF2B5EF4-FFF2-40B4-BE49-F238E27FC236}">
                <a16:creationId xmlns:a16="http://schemas.microsoft.com/office/drawing/2014/main" id="{7565D4BE-4C42-4AF1-8397-F37EE5817EB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661661" y="1530417"/>
            <a:ext cx="307510" cy="300521"/>
          </a:xfrm>
          <a:prstGeom prst="rect">
            <a:avLst/>
          </a:prstGeom>
        </p:spPr>
      </p:pic>
      <p:sp>
        <p:nvSpPr>
          <p:cNvPr id="56" name="pole tekstowe 1">
            <a:extLst>
              <a:ext uri="{FF2B5EF4-FFF2-40B4-BE49-F238E27FC236}">
                <a16:creationId xmlns:a16="http://schemas.microsoft.com/office/drawing/2014/main" id="{E9C6E28E-7751-4CC0-ACBC-FF9493C6D05B}"/>
              </a:ext>
            </a:extLst>
          </p:cNvPr>
          <p:cNvSpPr txBox="1"/>
          <p:nvPr/>
        </p:nvSpPr>
        <p:spPr>
          <a:xfrm>
            <a:off x="6534531" y="2980972"/>
            <a:ext cx="2422487" cy="1092607"/>
          </a:xfrm>
          <a:prstGeom prst="rect">
            <a:avLst/>
          </a:prstGeom>
          <a:noFill/>
        </p:spPr>
        <p:txBody>
          <a:bodyPr wrap="square" rtlCol="0">
            <a:spAutoFit/>
          </a:bodyPr>
          <a:lstStyle/>
          <a:p>
            <a:pPr marL="171450" indent="-171450" eaLnBrk="0" fontAlgn="base" hangingPunct="0">
              <a:spcBef>
                <a:spcPct val="0"/>
              </a:spcBef>
              <a:spcAft>
                <a:spcPts val="600"/>
              </a:spcAft>
              <a:buClr>
                <a:srgbClr val="D82A2D"/>
              </a:buClr>
              <a:buFont typeface="Arial" panose="020B0604020202020204" pitchFamily="34" charset="0"/>
              <a:buChar char="•"/>
            </a:pPr>
            <a:r>
              <a:rPr lang="en-GB" sz="1100" kern="0">
                <a:solidFill>
                  <a:srgbClr val="000000">
                    <a:lumMod val="65000"/>
                    <a:lumOff val="35000"/>
                  </a:srgbClr>
                </a:solidFill>
                <a:latin typeface="Arial" panose="020B0604020202020204"/>
              </a:rPr>
              <a:t>Modern tools</a:t>
            </a:r>
          </a:p>
          <a:p>
            <a:pPr marL="171450" indent="-171450" eaLnBrk="0" fontAlgn="base" hangingPunct="0">
              <a:spcBef>
                <a:spcPct val="0"/>
              </a:spcBef>
              <a:spcAft>
                <a:spcPts val="600"/>
              </a:spcAft>
              <a:buClr>
                <a:srgbClr val="D82A2D"/>
              </a:buClr>
              <a:buFont typeface="Arial" panose="020B0604020202020204" pitchFamily="34" charset="0"/>
              <a:buChar char="•"/>
            </a:pPr>
            <a:r>
              <a:rPr lang="en-GB" sz="1100" kern="0">
                <a:solidFill>
                  <a:srgbClr val="000000">
                    <a:lumMod val="65000"/>
                    <a:lumOff val="35000"/>
                  </a:srgbClr>
                </a:solidFill>
                <a:latin typeface="Arial" panose="020B0604020202020204"/>
              </a:rPr>
              <a:t>Specialized teams </a:t>
            </a:r>
            <a:br>
              <a:rPr lang="en-GB" sz="1100" kern="0">
                <a:solidFill>
                  <a:srgbClr val="000000">
                    <a:lumMod val="65000"/>
                    <a:lumOff val="35000"/>
                  </a:srgbClr>
                </a:solidFill>
                <a:latin typeface="Arial" panose="020B0604020202020204"/>
              </a:rPr>
            </a:br>
            <a:r>
              <a:rPr lang="en-GB" sz="1100" kern="0">
                <a:solidFill>
                  <a:srgbClr val="000000">
                    <a:lumMod val="65000"/>
                    <a:lumOff val="35000"/>
                  </a:srgbClr>
                </a:solidFill>
                <a:latin typeface="Arial" panose="020B0604020202020204"/>
              </a:rPr>
              <a:t>of product experts</a:t>
            </a:r>
          </a:p>
          <a:p>
            <a:pPr marL="171450" indent="-171450" eaLnBrk="0" fontAlgn="base" hangingPunct="0">
              <a:spcBef>
                <a:spcPct val="0"/>
              </a:spcBef>
              <a:spcAft>
                <a:spcPts val="600"/>
              </a:spcAft>
              <a:buClr>
                <a:srgbClr val="D82A2D"/>
              </a:buClr>
              <a:buFont typeface="Arial" panose="020B0604020202020204" pitchFamily="34" charset="0"/>
              <a:buChar char="•"/>
            </a:pPr>
            <a:r>
              <a:rPr lang="en-GB" sz="1100" kern="0">
                <a:solidFill>
                  <a:srgbClr val="000000">
                    <a:lumMod val="65000"/>
                    <a:lumOff val="35000"/>
                  </a:srgbClr>
                </a:solidFill>
                <a:latin typeface="Arial" panose="020B0604020202020204"/>
              </a:rPr>
              <a:t>Best Trade Finance Provider – 2023</a:t>
            </a:r>
          </a:p>
        </p:txBody>
      </p:sp>
      <p:sp>
        <p:nvSpPr>
          <p:cNvPr id="57" name="pole tekstowe 1">
            <a:extLst>
              <a:ext uri="{FF2B5EF4-FFF2-40B4-BE49-F238E27FC236}">
                <a16:creationId xmlns:a16="http://schemas.microsoft.com/office/drawing/2014/main" id="{858E31F4-E934-4F35-B451-947AB7288C30}"/>
              </a:ext>
            </a:extLst>
          </p:cNvPr>
          <p:cNvSpPr txBox="1"/>
          <p:nvPr/>
        </p:nvSpPr>
        <p:spPr>
          <a:xfrm>
            <a:off x="6388345" y="2306810"/>
            <a:ext cx="2933700" cy="461665"/>
          </a:xfrm>
          <a:prstGeom prst="rect">
            <a:avLst/>
          </a:prstGeom>
          <a:noFill/>
        </p:spPr>
        <p:txBody>
          <a:bodyPr wrap="square" rtlCol="0">
            <a:spAutoFit/>
          </a:bodyPr>
          <a:lstStyle/>
          <a:p>
            <a:pPr algn="ctr" eaLnBrk="0" fontAlgn="base" hangingPunct="0">
              <a:spcBef>
                <a:spcPct val="0"/>
              </a:spcBef>
              <a:spcAft>
                <a:spcPts val="600"/>
              </a:spcAft>
              <a:buClr>
                <a:srgbClr val="D82A2D"/>
              </a:buClr>
              <a:defRPr/>
            </a:pPr>
            <a:r>
              <a:rPr lang="en-GB" sz="1200" b="1" kern="0">
                <a:solidFill>
                  <a:srgbClr val="1F293E"/>
                </a:solidFill>
                <a:latin typeface="Arial" panose="020B0604020202020204"/>
              </a:rPr>
              <a:t>TRADE</a:t>
            </a:r>
            <a:br>
              <a:rPr lang="en-GB" sz="1200" b="1" kern="0">
                <a:solidFill>
                  <a:srgbClr val="1F293E"/>
                </a:solidFill>
                <a:latin typeface="Arial" panose="020B0604020202020204"/>
              </a:rPr>
            </a:br>
            <a:r>
              <a:rPr lang="en-GB" sz="1200" b="1" kern="0">
                <a:solidFill>
                  <a:srgbClr val="1F293E"/>
                </a:solidFill>
                <a:latin typeface="Arial" panose="020B0604020202020204"/>
              </a:rPr>
              <a:t>FINANCING</a:t>
            </a:r>
          </a:p>
        </p:txBody>
      </p:sp>
      <p:sp>
        <p:nvSpPr>
          <p:cNvPr id="59" name="pole tekstowe 1">
            <a:extLst>
              <a:ext uri="{FF2B5EF4-FFF2-40B4-BE49-F238E27FC236}">
                <a16:creationId xmlns:a16="http://schemas.microsoft.com/office/drawing/2014/main" id="{0A40D259-8D25-4622-A263-249B4913319E}"/>
              </a:ext>
            </a:extLst>
          </p:cNvPr>
          <p:cNvSpPr txBox="1"/>
          <p:nvPr/>
        </p:nvSpPr>
        <p:spPr>
          <a:xfrm>
            <a:off x="9332765" y="2904769"/>
            <a:ext cx="2799970" cy="1769715"/>
          </a:xfrm>
          <a:prstGeom prst="rect">
            <a:avLst/>
          </a:prstGeom>
          <a:noFill/>
        </p:spPr>
        <p:txBody>
          <a:bodyPr wrap="square" rtlCol="0">
            <a:spAutoFit/>
          </a:bodyPr>
          <a:lstStyle/>
          <a:p>
            <a:pPr marL="171450" indent="-171450" eaLnBrk="0" fontAlgn="base" hangingPunct="0">
              <a:spcBef>
                <a:spcPct val="0"/>
              </a:spcBef>
              <a:spcAft>
                <a:spcPts val="600"/>
              </a:spcAft>
              <a:buClr>
                <a:srgbClr val="D82A2D"/>
              </a:buClr>
              <a:buFont typeface="Arial" panose="020B0604020202020204" pitchFamily="34" charset="0"/>
              <a:buChar char="•"/>
            </a:pPr>
            <a:r>
              <a:rPr lang="en-GB" sz="1100" kern="0">
                <a:solidFill>
                  <a:srgbClr val="000000">
                    <a:lumMod val="65000"/>
                    <a:lumOff val="35000"/>
                  </a:srgbClr>
                </a:solidFill>
                <a:latin typeface="Arial" panose="020B0604020202020204"/>
              </a:rPr>
              <a:t>Support for international companies operating in Poland and entering </a:t>
            </a:r>
            <a:br>
              <a:rPr lang="en-GB" sz="1100" kern="0">
                <a:solidFill>
                  <a:srgbClr val="000000">
                    <a:lumMod val="65000"/>
                    <a:lumOff val="35000"/>
                  </a:srgbClr>
                </a:solidFill>
                <a:latin typeface="Arial" panose="020B0604020202020204"/>
              </a:rPr>
            </a:br>
            <a:r>
              <a:rPr lang="en-GB" sz="1100" kern="0">
                <a:solidFill>
                  <a:srgbClr val="000000">
                    <a:lumMod val="65000"/>
                    <a:lumOff val="35000"/>
                  </a:srgbClr>
                </a:solidFill>
                <a:latin typeface="Arial" panose="020B0604020202020204"/>
              </a:rPr>
              <a:t>the Polish market</a:t>
            </a:r>
          </a:p>
          <a:p>
            <a:pPr marL="171450" indent="-171450" eaLnBrk="0" fontAlgn="base" hangingPunct="0">
              <a:spcBef>
                <a:spcPct val="0"/>
              </a:spcBef>
              <a:spcAft>
                <a:spcPts val="600"/>
              </a:spcAft>
              <a:buClr>
                <a:srgbClr val="D82A2D"/>
              </a:buClr>
              <a:buFont typeface="Arial" panose="020B0604020202020204" pitchFamily="34" charset="0"/>
              <a:buChar char="•"/>
            </a:pPr>
            <a:r>
              <a:rPr lang="en-GB" sz="1100" kern="0">
                <a:solidFill>
                  <a:srgbClr val="000000">
                    <a:lumMod val="65000"/>
                    <a:lumOff val="35000"/>
                  </a:srgbClr>
                </a:solidFill>
                <a:latin typeface="Arial" panose="020B0604020202020204"/>
              </a:rPr>
              <a:t>First Point of Contact for international representatives of corporate clients. </a:t>
            </a:r>
          </a:p>
          <a:p>
            <a:pPr marL="171450" indent="-171450" eaLnBrk="0" fontAlgn="base" hangingPunct="0">
              <a:spcBef>
                <a:spcPct val="0"/>
              </a:spcBef>
              <a:spcAft>
                <a:spcPts val="600"/>
              </a:spcAft>
              <a:buClr>
                <a:srgbClr val="D82A2D"/>
              </a:buClr>
              <a:buFont typeface="Arial" panose="020B0604020202020204" pitchFamily="34" charset="0"/>
              <a:buChar char="•"/>
            </a:pPr>
            <a:r>
              <a:rPr lang="en-GB" sz="1100" kern="0">
                <a:solidFill>
                  <a:srgbClr val="000000">
                    <a:lumMod val="65000"/>
                    <a:lumOff val="35000"/>
                  </a:srgbClr>
                </a:solidFill>
                <a:latin typeface="Arial" panose="020B0604020202020204"/>
              </a:rPr>
              <a:t>Experienced team of experts coordinating  business meetings, talks &amp; development of an offer tailored to the needs of an international company</a:t>
            </a:r>
          </a:p>
        </p:txBody>
      </p:sp>
      <p:sp>
        <p:nvSpPr>
          <p:cNvPr id="60" name="pole tekstowe 1">
            <a:extLst>
              <a:ext uri="{FF2B5EF4-FFF2-40B4-BE49-F238E27FC236}">
                <a16:creationId xmlns:a16="http://schemas.microsoft.com/office/drawing/2014/main" id="{25266E87-F6C8-4E78-B89C-78B72789AFFA}"/>
              </a:ext>
            </a:extLst>
          </p:cNvPr>
          <p:cNvSpPr txBox="1"/>
          <p:nvPr/>
        </p:nvSpPr>
        <p:spPr>
          <a:xfrm>
            <a:off x="9186578" y="2230607"/>
            <a:ext cx="2933700" cy="461665"/>
          </a:xfrm>
          <a:prstGeom prst="rect">
            <a:avLst/>
          </a:prstGeom>
          <a:noFill/>
        </p:spPr>
        <p:txBody>
          <a:bodyPr wrap="square" rtlCol="0">
            <a:spAutoFit/>
          </a:bodyPr>
          <a:lstStyle/>
          <a:p>
            <a:pPr algn="ctr" eaLnBrk="0" fontAlgn="base" hangingPunct="0">
              <a:spcBef>
                <a:spcPct val="0"/>
              </a:spcBef>
              <a:spcAft>
                <a:spcPts val="600"/>
              </a:spcAft>
              <a:buClr>
                <a:srgbClr val="D82A2D"/>
              </a:buClr>
            </a:pPr>
            <a:r>
              <a:rPr lang="en-GB" sz="1200" b="1" kern="0">
                <a:solidFill>
                  <a:srgbClr val="1F293E"/>
                </a:solidFill>
                <a:latin typeface="Arial" panose="020B0604020202020204"/>
              </a:rPr>
              <a:t>SERVICES FOR</a:t>
            </a:r>
            <a:br>
              <a:rPr lang="en-GB" sz="1200" b="1" kern="0">
                <a:solidFill>
                  <a:srgbClr val="1F293E"/>
                </a:solidFill>
                <a:latin typeface="Arial" panose="020B0604020202020204"/>
              </a:rPr>
            </a:br>
            <a:r>
              <a:rPr lang="en-GB" sz="1200" b="1" kern="0">
                <a:solidFill>
                  <a:srgbClr val="1F293E"/>
                </a:solidFill>
                <a:latin typeface="Arial" panose="020B0604020202020204"/>
              </a:rPr>
              <a:t>INTERNATIONAL CUSTOMERS </a:t>
            </a:r>
          </a:p>
        </p:txBody>
      </p:sp>
      <p:pic>
        <p:nvPicPr>
          <p:cNvPr id="62" name="Picture 116">
            <a:extLst>
              <a:ext uri="{FF2B5EF4-FFF2-40B4-BE49-F238E27FC236}">
                <a16:creationId xmlns:a16="http://schemas.microsoft.com/office/drawing/2014/main" id="{22C0309C-D91A-4F65-81E5-5F780A2E2E1C}"/>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731079" y="1617547"/>
            <a:ext cx="361116" cy="218032"/>
          </a:xfrm>
          <a:prstGeom prst="rect">
            <a:avLst/>
          </a:prstGeom>
        </p:spPr>
      </p:pic>
      <p:pic>
        <p:nvPicPr>
          <p:cNvPr id="63" name="Picture 117">
            <a:extLst>
              <a:ext uri="{FF2B5EF4-FFF2-40B4-BE49-F238E27FC236}">
                <a16:creationId xmlns:a16="http://schemas.microsoft.com/office/drawing/2014/main" id="{2ED7DAD2-5ED7-475C-9574-5CE034A1A23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455999" y="1578335"/>
            <a:ext cx="403804" cy="247667"/>
          </a:xfrm>
          <a:prstGeom prst="rect">
            <a:avLst/>
          </a:prstGeom>
        </p:spPr>
      </p:pic>
      <p:sp>
        <p:nvSpPr>
          <p:cNvPr id="66" name="Oval 87">
            <a:extLst>
              <a:ext uri="{FF2B5EF4-FFF2-40B4-BE49-F238E27FC236}">
                <a16:creationId xmlns:a16="http://schemas.microsoft.com/office/drawing/2014/main" id="{1257CF19-6C39-4DF2-8581-ACB596ECC6ED}"/>
              </a:ext>
            </a:extLst>
          </p:cNvPr>
          <p:cNvSpPr/>
          <p:nvPr/>
        </p:nvSpPr>
        <p:spPr>
          <a:xfrm>
            <a:off x="5361519" y="4897725"/>
            <a:ext cx="1960275" cy="19602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000" b="1"/>
          </a:p>
        </p:txBody>
      </p:sp>
      <p:sp>
        <p:nvSpPr>
          <p:cNvPr id="67" name="pole tekstowe 1">
            <a:extLst>
              <a:ext uri="{FF2B5EF4-FFF2-40B4-BE49-F238E27FC236}">
                <a16:creationId xmlns:a16="http://schemas.microsoft.com/office/drawing/2014/main" id="{AD25B8A9-678B-4BC2-B8E5-2F4C55D4E09E}"/>
              </a:ext>
            </a:extLst>
          </p:cNvPr>
          <p:cNvSpPr txBox="1"/>
          <p:nvPr/>
        </p:nvSpPr>
        <p:spPr>
          <a:xfrm>
            <a:off x="4901230" y="5858627"/>
            <a:ext cx="2933700" cy="523220"/>
          </a:xfrm>
          <a:prstGeom prst="rect">
            <a:avLst/>
          </a:prstGeom>
          <a:noFill/>
        </p:spPr>
        <p:txBody>
          <a:bodyPr wrap="square" rtlCol="0">
            <a:spAutoFit/>
          </a:bodyPr>
          <a:lstStyle/>
          <a:p>
            <a:pPr lvl="0" algn="ctr" eaLnBrk="0" fontAlgn="base" hangingPunct="0">
              <a:spcBef>
                <a:spcPct val="0"/>
              </a:spcBef>
              <a:spcAft>
                <a:spcPts val="600"/>
              </a:spcAft>
              <a:buClr>
                <a:schemeClr val="accent1"/>
              </a:buClr>
              <a:defRPr/>
            </a:pPr>
            <a:r>
              <a:rPr lang="en-GB" sz="1400" kern="0">
                <a:solidFill>
                  <a:schemeClr val="bg1"/>
                </a:solidFill>
              </a:rPr>
              <a:t>COMPETENCE</a:t>
            </a:r>
            <a:br>
              <a:rPr lang="en-GB" sz="1400" kern="0">
                <a:solidFill>
                  <a:schemeClr val="bg1"/>
                </a:solidFill>
              </a:rPr>
            </a:br>
            <a:r>
              <a:rPr lang="en-GB" sz="1400" kern="0">
                <a:solidFill>
                  <a:schemeClr val="bg1"/>
                </a:solidFill>
              </a:rPr>
              <a:t>CENTRE</a:t>
            </a:r>
          </a:p>
        </p:txBody>
      </p:sp>
      <p:pic>
        <p:nvPicPr>
          <p:cNvPr id="68" name="Picture 2">
            <a:extLst>
              <a:ext uri="{FF2B5EF4-FFF2-40B4-BE49-F238E27FC236}">
                <a16:creationId xmlns:a16="http://schemas.microsoft.com/office/drawing/2014/main" id="{10BFBA87-BE0E-4C96-96E4-B6AC04A41A70}"/>
              </a:ext>
            </a:extLst>
          </p:cNvPr>
          <p:cNvPicPr>
            <a:picLocks noChangeAspect="1"/>
          </p:cNvPicPr>
          <p:nvPr/>
        </p:nvPicPr>
        <p:blipFill>
          <a:blip r:embed="rId12"/>
          <a:stretch>
            <a:fillRect/>
          </a:stretch>
        </p:blipFill>
        <p:spPr>
          <a:xfrm>
            <a:off x="6165806" y="5237801"/>
            <a:ext cx="379229" cy="455074"/>
          </a:xfrm>
          <a:prstGeom prst="rect">
            <a:avLst/>
          </a:prstGeom>
        </p:spPr>
      </p:pic>
      <p:pic>
        <p:nvPicPr>
          <p:cNvPr id="2" name="Obraz 1">
            <a:extLst>
              <a:ext uri="{FF2B5EF4-FFF2-40B4-BE49-F238E27FC236}">
                <a16:creationId xmlns:a16="http://schemas.microsoft.com/office/drawing/2014/main" id="{07BA91D5-43A8-4DC9-9746-26B40D54EE92}"/>
              </a:ext>
            </a:extLst>
          </p:cNvPr>
          <p:cNvPicPr>
            <a:picLocks noChangeAspect="1"/>
          </p:cNvPicPr>
          <p:nvPr/>
        </p:nvPicPr>
        <p:blipFill>
          <a:blip r:embed="rId13"/>
          <a:stretch>
            <a:fillRect/>
          </a:stretch>
        </p:blipFill>
        <p:spPr>
          <a:xfrm>
            <a:off x="7478413" y="3869363"/>
            <a:ext cx="1120527" cy="1232579"/>
          </a:xfrm>
          <a:prstGeom prst="rect">
            <a:avLst/>
          </a:prstGeom>
        </p:spPr>
      </p:pic>
    </p:spTree>
    <p:extLst>
      <p:ext uri="{BB962C8B-B14F-4D97-AF65-F5344CB8AC3E}">
        <p14:creationId xmlns:p14="http://schemas.microsoft.com/office/powerpoint/2010/main" val="544445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i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51" name="Obraz 150"/>
          <p:cNvPicPr/>
          <p:nvPr/>
        </p:nvPicPr>
        <p:blipFill rotWithShape="1">
          <a:blip r:embed="rId7">
            <a:extLst>
              <a:ext uri="{28A0092B-C50C-407E-A947-70E740481C1C}">
                <a14:useLocalDpi xmlns:a14="http://schemas.microsoft.com/office/drawing/2010/main" val="0"/>
              </a:ext>
            </a:extLst>
          </a:blip>
          <a:srcRect l="62014" b="51403"/>
          <a:stretch/>
        </p:blipFill>
        <p:spPr bwMode="auto">
          <a:xfrm>
            <a:off x="11473378" y="531024"/>
            <a:ext cx="706057" cy="1157468"/>
          </a:xfrm>
          <a:prstGeom prst="rect">
            <a:avLst/>
          </a:prstGeom>
          <a:noFill/>
        </p:spPr>
      </p:pic>
      <p:cxnSp>
        <p:nvCxnSpPr>
          <p:cNvPr id="121" name="Łącznik prosty 120"/>
          <p:cNvCxnSpPr/>
          <p:nvPr/>
        </p:nvCxnSpPr>
        <p:spPr>
          <a:xfrm>
            <a:off x="-112115" y="550605"/>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sp>
        <p:nvSpPr>
          <p:cNvPr id="5" name="Tytuł 4">
            <a:extLst>
              <a:ext uri="{FF2B5EF4-FFF2-40B4-BE49-F238E27FC236}">
                <a16:creationId xmlns:a16="http://schemas.microsoft.com/office/drawing/2014/main" id="{1CF6C14E-4999-40E5-A548-38AB2D541588}"/>
              </a:ext>
            </a:extLst>
          </p:cNvPr>
          <p:cNvSpPr>
            <a:spLocks noGrp="1"/>
          </p:cNvSpPr>
          <p:nvPr>
            <p:ph type="title"/>
          </p:nvPr>
        </p:nvSpPr>
        <p:spPr>
          <a:xfrm>
            <a:off x="725125" y="2835251"/>
            <a:ext cx="11466875" cy="404119"/>
          </a:xfrm>
        </p:spPr>
        <p:txBody>
          <a:bodyPr/>
          <a:lstStyle/>
          <a:p>
            <a:r>
              <a:rPr lang="en-US" dirty="0"/>
              <a:t>Our experience - examples of transactions</a:t>
            </a:r>
            <a:endParaRPr lang="pl-PL" dirty="0"/>
          </a:p>
        </p:txBody>
      </p:sp>
      <p:sp>
        <p:nvSpPr>
          <p:cNvPr id="3" name="pole tekstowe 2">
            <a:extLst>
              <a:ext uri="{FF2B5EF4-FFF2-40B4-BE49-F238E27FC236}">
                <a16:creationId xmlns:a16="http://schemas.microsoft.com/office/drawing/2014/main" id="{98A6BD3E-28A3-4FC4-880B-8214BFAF1041}"/>
              </a:ext>
            </a:extLst>
          </p:cNvPr>
          <p:cNvSpPr txBox="1"/>
          <p:nvPr/>
        </p:nvSpPr>
        <p:spPr>
          <a:xfrm>
            <a:off x="725125" y="5066815"/>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pl-PL" sz="2400" dirty="0">
                <a:solidFill>
                  <a:sysClr val="windowText" lastClr="000000"/>
                </a:solidFill>
              </a:rPr>
              <a:t>Part III</a:t>
            </a:r>
          </a:p>
        </p:txBody>
      </p:sp>
    </p:spTree>
    <p:extLst>
      <p:ext uri="{BB962C8B-B14F-4D97-AF65-F5344CB8AC3E}">
        <p14:creationId xmlns:p14="http://schemas.microsoft.com/office/powerpoint/2010/main" val="1154210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10" descr="Geo Map - Europe - Estonia">
            <a:extLst>
              <a:ext uri="{FF2B5EF4-FFF2-40B4-BE49-F238E27FC236}">
                <a16:creationId xmlns:a16="http://schemas.microsoft.com/office/drawing/2014/main" id="{784FAD65-AA7F-44E0-8163-FA9B16B0D2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54356" y="1011948"/>
            <a:ext cx="3693933" cy="2726929"/>
          </a:xfrm>
          <a:prstGeom prst="rect">
            <a:avLst/>
          </a:prstGeom>
          <a:noFill/>
          <a:extLst>
            <a:ext uri="{909E8E84-426E-40DD-AFC4-6F175D3DCCD1}">
              <a14:hiddenFill xmlns:a14="http://schemas.microsoft.com/office/drawing/2010/main">
                <a:solidFill>
                  <a:srgbClr val="FFFFFF"/>
                </a:solidFill>
              </a14:hiddenFill>
            </a:ext>
          </a:extLst>
        </p:spPr>
      </p:pic>
      <p:pic>
        <p:nvPicPr>
          <p:cNvPr id="4" name="Obraz 3">
            <a:extLst>
              <a:ext uri="{FF2B5EF4-FFF2-40B4-BE49-F238E27FC236}">
                <a16:creationId xmlns:a16="http://schemas.microsoft.com/office/drawing/2014/main" id="{78940915-90F0-4CDD-BACF-4BC499F21911}"/>
              </a:ext>
            </a:extLst>
          </p:cNvPr>
          <p:cNvPicPr>
            <a:picLocks noChangeAspect="1"/>
          </p:cNvPicPr>
          <p:nvPr/>
        </p:nvPicPr>
        <p:blipFill>
          <a:blip r:embed="rId6"/>
          <a:stretch>
            <a:fillRect/>
          </a:stretch>
        </p:blipFill>
        <p:spPr>
          <a:xfrm>
            <a:off x="9980549" y="1912088"/>
            <a:ext cx="434843" cy="595584"/>
          </a:xfrm>
          <a:prstGeom prst="rect">
            <a:avLst/>
          </a:prstGeom>
          <a:effectLst>
            <a:softEdge rad="12700"/>
          </a:effectLst>
        </p:spPr>
      </p:pic>
      <p:pic>
        <p:nvPicPr>
          <p:cNvPr id="25" name="Picture 8" descr="Geo Map - Europe - Poland">
            <a:extLst>
              <a:ext uri="{FF2B5EF4-FFF2-40B4-BE49-F238E27FC236}">
                <a16:creationId xmlns:a16="http://schemas.microsoft.com/office/drawing/2014/main" id="{A665DDFA-2C5E-4B45-BF09-4DEB8E58067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36906" y="909823"/>
            <a:ext cx="3135952" cy="290714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9" name="Obi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51" name="Obraz 150"/>
          <p:cNvPicPr/>
          <p:nvPr/>
        </p:nvPicPr>
        <p:blipFill rotWithShape="1">
          <a:blip r:embed="rId10">
            <a:extLst>
              <a:ext uri="{28A0092B-C50C-407E-A947-70E740481C1C}">
                <a14:useLocalDpi xmlns:a14="http://schemas.microsoft.com/office/drawing/2010/main" val="0"/>
              </a:ext>
            </a:extLst>
          </a:blip>
          <a:srcRect l="62014" b="51403"/>
          <a:stretch/>
        </p:blipFill>
        <p:spPr bwMode="auto">
          <a:xfrm>
            <a:off x="11501389" y="663812"/>
            <a:ext cx="706057" cy="1157468"/>
          </a:xfrm>
          <a:prstGeom prst="rect">
            <a:avLst/>
          </a:prstGeom>
          <a:noFill/>
        </p:spPr>
      </p:pic>
      <p:sp>
        <p:nvSpPr>
          <p:cNvPr id="120" name="Tytuł 5">
            <a:extLst>
              <a:ext uri="{FF2B5EF4-FFF2-40B4-BE49-F238E27FC236}">
                <a16:creationId xmlns:a16="http://schemas.microsoft.com/office/drawing/2014/main" id="{7FBB928C-12E5-4639-BBE7-F4656A58C202}"/>
              </a:ext>
            </a:extLst>
          </p:cNvPr>
          <p:cNvSpPr>
            <a:spLocks noGrp="1"/>
          </p:cNvSpPr>
          <p:nvPr>
            <p:ph type="title"/>
          </p:nvPr>
        </p:nvSpPr>
        <p:spPr>
          <a:xfrm>
            <a:off x="490537" y="312453"/>
            <a:ext cx="11210925" cy="699495"/>
          </a:xfrm>
        </p:spPr>
        <p:txBody>
          <a:bodyPr/>
          <a:lstStyle/>
          <a:p>
            <a:pPr lvl="0" algn="ctr"/>
            <a:r>
              <a:rPr lang="en-GB" sz="2000" dirty="0">
                <a:solidFill>
                  <a:srgbClr val="000000"/>
                </a:solidFill>
              </a:rPr>
              <a:t>Case 1: Spanish capital group manufactures means of transport in Poland and exports them to Estonia</a:t>
            </a:r>
            <a:br>
              <a:rPr lang="en-GB" sz="2000" dirty="0">
                <a:solidFill>
                  <a:srgbClr val="000000"/>
                </a:solidFill>
              </a:rPr>
            </a:br>
            <a:endParaRPr lang="en-GB" sz="2000" b="1" dirty="0">
              <a:solidFill>
                <a:srgbClr val="000000"/>
              </a:solidFill>
            </a:endParaRPr>
          </a:p>
        </p:txBody>
      </p:sp>
      <p:cxnSp>
        <p:nvCxnSpPr>
          <p:cNvPr id="121" name="Łącznik prosty 120"/>
          <p:cNvCxnSpPr/>
          <p:nvPr/>
        </p:nvCxnSpPr>
        <p:spPr>
          <a:xfrm>
            <a:off x="0" y="711004"/>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sp>
        <p:nvSpPr>
          <p:cNvPr id="5" name="pole tekstowe 4"/>
          <p:cNvSpPr txBox="1"/>
          <p:nvPr/>
        </p:nvSpPr>
        <p:spPr>
          <a:xfrm>
            <a:off x="4635500" y="711004"/>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GB" sz="1400" b="1" dirty="0">
                <a:solidFill>
                  <a:sysClr val="windowText" lastClr="000000"/>
                </a:solidFill>
              </a:rPr>
              <a:t>Delivery of vehicles manufactured in Poland</a:t>
            </a:r>
          </a:p>
        </p:txBody>
      </p:sp>
      <p:pic>
        <p:nvPicPr>
          <p:cNvPr id="24" name="Obraz 23">
            <a:extLst>
              <a:ext uri="{FF2B5EF4-FFF2-40B4-BE49-F238E27FC236}">
                <a16:creationId xmlns:a16="http://schemas.microsoft.com/office/drawing/2014/main" id="{3D4574ED-54F5-4C4E-AE20-4363B2C00E02}"/>
              </a:ext>
            </a:extLst>
          </p:cNvPr>
          <p:cNvPicPr preferRelativeResize="0">
            <a:picLocks/>
          </p:cNvPicPr>
          <p:nvPr/>
        </p:nvPicPr>
        <p:blipFill>
          <a:blip r:embed="rId11">
            <a:extLst>
              <a:ext uri="{28A0092B-C50C-407E-A947-70E740481C1C}">
                <a14:useLocalDpi xmlns:a14="http://schemas.microsoft.com/office/drawing/2010/main" val="0"/>
              </a:ext>
            </a:extLst>
          </a:blip>
          <a:stretch>
            <a:fillRect/>
          </a:stretch>
        </p:blipFill>
        <p:spPr>
          <a:xfrm>
            <a:off x="3598288" y="2148263"/>
            <a:ext cx="370401" cy="265754"/>
          </a:xfrm>
          <a:prstGeom prst="rect">
            <a:avLst/>
          </a:prstGeom>
          <a:ln w="3175">
            <a:solidFill>
              <a:srgbClr val="C00000"/>
            </a:solidFill>
          </a:ln>
        </p:spPr>
      </p:pic>
      <p:sp>
        <p:nvSpPr>
          <p:cNvPr id="19" name="pole tekstowe 18">
            <a:extLst>
              <a:ext uri="{FF2B5EF4-FFF2-40B4-BE49-F238E27FC236}">
                <a16:creationId xmlns:a16="http://schemas.microsoft.com/office/drawing/2014/main" id="{3E7034B2-316D-4517-AD1E-720CF01C26A3}"/>
              </a:ext>
            </a:extLst>
          </p:cNvPr>
          <p:cNvSpPr txBox="1"/>
          <p:nvPr/>
        </p:nvSpPr>
        <p:spPr>
          <a:xfrm>
            <a:off x="5072502" y="3241023"/>
            <a:ext cx="2473665"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b="1" dirty="0">
                <a:solidFill>
                  <a:sysClr val="windowText" lastClr="000000"/>
                </a:solidFill>
              </a:rPr>
              <a:t>Financed by Bank Pekao </a:t>
            </a:r>
            <a:r>
              <a:rPr lang="en-GB" sz="1600" dirty="0">
                <a:solidFill>
                  <a:sysClr val="windowText" lastClr="000000"/>
                </a:solidFill>
              </a:rPr>
              <a:t>via purchase of receivables from the delivery contract</a:t>
            </a:r>
          </a:p>
        </p:txBody>
      </p:sp>
      <p:sp>
        <p:nvSpPr>
          <p:cNvPr id="22" name="pole tekstowe 21">
            <a:extLst>
              <a:ext uri="{FF2B5EF4-FFF2-40B4-BE49-F238E27FC236}">
                <a16:creationId xmlns:a16="http://schemas.microsoft.com/office/drawing/2014/main" id="{CD7273F6-BA67-48BF-A90D-D316680C0086}"/>
              </a:ext>
            </a:extLst>
          </p:cNvPr>
          <p:cNvSpPr txBox="1"/>
          <p:nvPr/>
        </p:nvSpPr>
        <p:spPr>
          <a:xfrm>
            <a:off x="639537" y="4012958"/>
            <a:ext cx="4620870" cy="28450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GB" sz="1200" b="1" dirty="0">
                <a:solidFill>
                  <a:srgbClr val="C00000"/>
                </a:solidFill>
              </a:rPr>
              <a:t>BENEFITS for Exporter / Borrower:</a:t>
            </a:r>
          </a:p>
          <a:p>
            <a:pPr algn="ctr"/>
            <a:endParaRPr lang="en-GB" sz="1200" dirty="0">
              <a:solidFill>
                <a:sysClr val="windowText" lastClr="000000"/>
              </a:solidFill>
            </a:endParaRPr>
          </a:p>
          <a:p>
            <a:pPr marL="285750" indent="-285750">
              <a:buFont typeface="Arial" panose="020B0604020202020204" pitchFamily="34" charset="0"/>
              <a:buChar char="•"/>
            </a:pPr>
            <a:r>
              <a:rPr lang="en-GB" sz="1200" dirty="0">
                <a:solidFill>
                  <a:sysClr val="windowText" lastClr="000000"/>
                </a:solidFill>
              </a:rPr>
              <a:t>The Exporter: </a:t>
            </a:r>
            <a:r>
              <a:rPr lang="en-GB" sz="1200" b="1" dirty="0">
                <a:solidFill>
                  <a:sysClr val="windowText" lastClr="000000"/>
                </a:solidFill>
              </a:rPr>
              <a:t>subsidiary of a Spanish capital group located in Poland</a:t>
            </a:r>
          </a:p>
          <a:p>
            <a:pPr>
              <a:spcAft>
                <a:spcPts val="600"/>
              </a:spcAft>
            </a:pPr>
            <a:r>
              <a:rPr lang="en-GB" sz="1200" dirty="0">
                <a:solidFill>
                  <a:sysClr val="windowText" lastClr="000000"/>
                </a:solidFill>
              </a:rPr>
              <a:t>        Won the tender for delivery of vehicles</a:t>
            </a:r>
          </a:p>
          <a:p>
            <a:pPr marL="285750" indent="-285750">
              <a:spcAft>
                <a:spcPts val="600"/>
              </a:spcAft>
              <a:buFont typeface="Arial" panose="020B0604020202020204" pitchFamily="34" charset="0"/>
              <a:buChar char="•"/>
            </a:pPr>
            <a:r>
              <a:rPr lang="en-GB" sz="1200" dirty="0">
                <a:solidFill>
                  <a:sysClr val="windowText" lastClr="000000"/>
                </a:solidFill>
              </a:rPr>
              <a:t>Profited from accelerated payment terms and improved liquidity thanks to bank financing</a:t>
            </a:r>
          </a:p>
          <a:p>
            <a:pPr marL="285750" indent="-285750">
              <a:spcAft>
                <a:spcPts val="600"/>
              </a:spcAft>
              <a:buFont typeface="Arial" panose="020B0604020202020204" pitchFamily="34" charset="0"/>
              <a:buChar char="•"/>
            </a:pPr>
            <a:r>
              <a:rPr lang="en-GB" sz="1200" dirty="0">
                <a:solidFill>
                  <a:sysClr val="windowText" lastClr="000000"/>
                </a:solidFill>
              </a:rPr>
              <a:t>Banks’s flexible approach to collateral</a:t>
            </a:r>
          </a:p>
          <a:p>
            <a:pPr marL="285750" indent="-285750">
              <a:spcAft>
                <a:spcPts val="600"/>
              </a:spcAft>
              <a:buFont typeface="Arial" panose="020B0604020202020204" pitchFamily="34" charset="0"/>
              <a:buChar char="•"/>
            </a:pPr>
            <a:r>
              <a:rPr lang="en-GB" sz="1200" dirty="0">
                <a:solidFill>
                  <a:sysClr val="windowText" lastClr="000000"/>
                </a:solidFill>
              </a:rPr>
              <a:t>Transferred risk of non-payment to the Bank</a:t>
            </a:r>
          </a:p>
          <a:p>
            <a:pPr marL="285750" indent="-285750">
              <a:spcAft>
                <a:spcPts val="600"/>
              </a:spcAft>
              <a:buFont typeface="Arial" panose="020B0604020202020204" pitchFamily="34" charset="0"/>
              <a:buChar char="•"/>
            </a:pPr>
            <a:r>
              <a:rPr lang="en-GB" sz="1200" dirty="0">
                <a:solidFill>
                  <a:sysClr val="windowText" lastClr="000000"/>
                </a:solidFill>
              </a:rPr>
              <a:t>Long term cooperation, repeated export finance  transactions</a:t>
            </a:r>
          </a:p>
        </p:txBody>
      </p:sp>
      <p:sp>
        <p:nvSpPr>
          <p:cNvPr id="23" name="pole tekstowe 22">
            <a:extLst>
              <a:ext uri="{FF2B5EF4-FFF2-40B4-BE49-F238E27FC236}">
                <a16:creationId xmlns:a16="http://schemas.microsoft.com/office/drawing/2014/main" id="{C1A33552-8A18-4D72-9FBC-F6722193A61B}"/>
              </a:ext>
            </a:extLst>
          </p:cNvPr>
          <p:cNvSpPr txBox="1"/>
          <p:nvPr/>
        </p:nvSpPr>
        <p:spPr>
          <a:xfrm>
            <a:off x="7921299" y="4363114"/>
            <a:ext cx="3868230" cy="17213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200" b="1" dirty="0">
              <a:solidFill>
                <a:sysClr val="windowText" lastClr="000000"/>
              </a:solidFill>
            </a:endParaRPr>
          </a:p>
          <a:p>
            <a:pPr algn="ctr"/>
            <a:endParaRPr lang="en-GB" sz="1200" b="1" dirty="0">
              <a:solidFill>
                <a:sysClr val="windowText" lastClr="000000"/>
              </a:solidFill>
            </a:endParaRPr>
          </a:p>
          <a:p>
            <a:pPr algn="ctr"/>
            <a:endParaRPr lang="en-GB" sz="1200" b="1" dirty="0">
              <a:solidFill>
                <a:sysClr val="windowText" lastClr="000000"/>
              </a:solidFill>
            </a:endParaRPr>
          </a:p>
          <a:p>
            <a:pPr algn="ctr"/>
            <a:endParaRPr lang="en-GB" sz="1200" b="1" dirty="0">
              <a:solidFill>
                <a:sysClr val="windowText" lastClr="000000"/>
              </a:solidFill>
            </a:endParaRPr>
          </a:p>
          <a:p>
            <a:pPr algn="ctr"/>
            <a:endParaRPr lang="en-GB" sz="1200" b="1" dirty="0">
              <a:solidFill>
                <a:sysClr val="windowText" lastClr="000000"/>
              </a:solidFill>
            </a:endParaRPr>
          </a:p>
          <a:p>
            <a:r>
              <a:rPr lang="en-GB" sz="1200" b="1" dirty="0">
                <a:solidFill>
                  <a:srgbClr val="C00000"/>
                </a:solidFill>
              </a:rPr>
              <a:t>BENEFITS for Importer:</a:t>
            </a:r>
          </a:p>
          <a:p>
            <a:pPr algn="ctr">
              <a:spcAft>
                <a:spcPts val="600"/>
              </a:spcAft>
            </a:pPr>
            <a:endParaRPr lang="en-GB" sz="1200" b="1" dirty="0">
              <a:solidFill>
                <a:sysClr val="windowText" lastClr="000000"/>
              </a:solidFill>
            </a:endParaRPr>
          </a:p>
          <a:p>
            <a:pPr marL="285750" indent="-285750">
              <a:spcAft>
                <a:spcPts val="600"/>
              </a:spcAft>
              <a:buFont typeface="Arial" panose="020B0604020202020204" pitchFamily="34" charset="0"/>
              <a:buChar char="•"/>
            </a:pPr>
            <a:r>
              <a:rPr lang="en-GB" sz="1200" dirty="0">
                <a:solidFill>
                  <a:sysClr val="windowText" lastClr="000000"/>
                </a:solidFill>
              </a:rPr>
              <a:t>The Importer: </a:t>
            </a:r>
            <a:r>
              <a:rPr lang="en-GB" sz="1200" b="1" dirty="0">
                <a:solidFill>
                  <a:sysClr val="windowText" lastClr="000000"/>
                </a:solidFill>
              </a:rPr>
              <a:t>municipal company located in Estonia</a:t>
            </a:r>
          </a:p>
          <a:p>
            <a:pPr marL="285750" indent="-285750">
              <a:spcAft>
                <a:spcPts val="600"/>
              </a:spcAft>
              <a:buFont typeface="Arial" panose="020B0604020202020204" pitchFamily="34" charset="0"/>
              <a:buChar char="•"/>
            </a:pPr>
            <a:r>
              <a:rPr lang="en-GB" sz="1200" dirty="0">
                <a:solidFill>
                  <a:sysClr val="windowText" lastClr="000000"/>
                </a:solidFill>
              </a:rPr>
              <a:t>Purchased modern high-quality transport fleet </a:t>
            </a:r>
          </a:p>
          <a:p>
            <a:pPr marL="285750" indent="-285750">
              <a:spcAft>
                <a:spcPts val="600"/>
              </a:spcAft>
              <a:buFont typeface="Arial" panose="020B0604020202020204" pitchFamily="34" charset="0"/>
              <a:buChar char="•"/>
            </a:pPr>
            <a:r>
              <a:rPr lang="en-GB" sz="1200" dirty="0">
                <a:solidFill>
                  <a:sysClr val="windowText" lastClr="000000"/>
                </a:solidFill>
              </a:rPr>
              <a:t>Comfort of bank partner supporting the contractor</a:t>
            </a:r>
          </a:p>
          <a:p>
            <a:pPr marL="285750" indent="-285750">
              <a:spcAft>
                <a:spcPts val="600"/>
              </a:spcAft>
              <a:buFont typeface="Arial" panose="020B0604020202020204" pitchFamily="34" charset="0"/>
              <a:buChar char="•"/>
            </a:pPr>
            <a:r>
              <a:rPr lang="en-GB" sz="1200" dirty="0">
                <a:solidFill>
                  <a:sysClr val="windowText" lastClr="000000"/>
                </a:solidFill>
              </a:rPr>
              <a:t>Reliability</a:t>
            </a:r>
          </a:p>
          <a:p>
            <a:pPr marL="285750" indent="-285750">
              <a:spcAft>
                <a:spcPts val="600"/>
              </a:spcAft>
              <a:buFont typeface="Arial" panose="020B0604020202020204" pitchFamily="34" charset="0"/>
              <a:buChar char="•"/>
            </a:pPr>
            <a:r>
              <a:rPr lang="en-GB" sz="1200" dirty="0">
                <a:solidFill>
                  <a:sysClr val="windowText" lastClr="000000"/>
                </a:solidFill>
              </a:rPr>
              <a:t>Conformity with tender rules and requirements</a:t>
            </a:r>
          </a:p>
          <a:p>
            <a:pPr marL="285750" indent="-285750">
              <a:buFont typeface="Arial" panose="020B0604020202020204" pitchFamily="34" charset="0"/>
              <a:buChar char="•"/>
            </a:pPr>
            <a:endParaRPr lang="en-GB" sz="1200" dirty="0">
              <a:solidFill>
                <a:sysClr val="windowText" lastClr="000000"/>
              </a:solidFill>
            </a:endParaRPr>
          </a:p>
          <a:p>
            <a:pPr marL="285750" indent="-285750">
              <a:buFont typeface="Arial" panose="020B0604020202020204" pitchFamily="34" charset="0"/>
              <a:buChar char="•"/>
            </a:pPr>
            <a:endParaRPr lang="en-GB" sz="1200" dirty="0">
              <a:solidFill>
                <a:sysClr val="windowText" lastClr="000000"/>
              </a:solidFill>
            </a:endParaRPr>
          </a:p>
          <a:p>
            <a:pPr algn="ctr"/>
            <a:endParaRPr lang="en-GB" sz="1200" b="1" dirty="0">
              <a:solidFill>
                <a:sysClr val="windowText" lastClr="000000"/>
              </a:solidFill>
            </a:endParaRPr>
          </a:p>
          <a:p>
            <a:pPr algn="ctr"/>
            <a:endParaRPr lang="en-GB" sz="1200" b="1" dirty="0">
              <a:solidFill>
                <a:sysClr val="windowText" lastClr="000000"/>
              </a:solidFill>
            </a:endParaRPr>
          </a:p>
        </p:txBody>
      </p:sp>
      <p:pic>
        <p:nvPicPr>
          <p:cNvPr id="6" name="Obraz 5">
            <a:extLst>
              <a:ext uri="{FF2B5EF4-FFF2-40B4-BE49-F238E27FC236}">
                <a16:creationId xmlns:a16="http://schemas.microsoft.com/office/drawing/2014/main" id="{F933DFDE-D5E4-44D7-926A-BA573BC4EE9C}"/>
              </a:ext>
            </a:extLst>
          </p:cNvPr>
          <p:cNvPicPr>
            <a:picLocks noChangeAspect="1"/>
          </p:cNvPicPr>
          <p:nvPr/>
        </p:nvPicPr>
        <p:blipFill>
          <a:blip r:embed="rId12"/>
          <a:stretch>
            <a:fillRect/>
          </a:stretch>
        </p:blipFill>
        <p:spPr>
          <a:xfrm>
            <a:off x="2754047" y="2126576"/>
            <a:ext cx="437238" cy="287441"/>
          </a:xfrm>
          <a:prstGeom prst="rect">
            <a:avLst/>
          </a:prstGeom>
        </p:spPr>
      </p:pic>
      <p:cxnSp>
        <p:nvCxnSpPr>
          <p:cNvPr id="10" name="Łącznik prosty ze strzałką 9">
            <a:extLst>
              <a:ext uri="{FF2B5EF4-FFF2-40B4-BE49-F238E27FC236}">
                <a16:creationId xmlns:a16="http://schemas.microsoft.com/office/drawing/2014/main" id="{F176026D-07AD-419F-AF48-E344576F121D}"/>
              </a:ext>
            </a:extLst>
          </p:cNvPr>
          <p:cNvCxnSpPr/>
          <p:nvPr/>
        </p:nvCxnSpPr>
        <p:spPr>
          <a:xfrm>
            <a:off x="4922650" y="2321600"/>
            <a:ext cx="2919503" cy="0"/>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 name="Prostokąt 1">
            <a:extLst>
              <a:ext uri="{FF2B5EF4-FFF2-40B4-BE49-F238E27FC236}">
                <a16:creationId xmlns:a16="http://schemas.microsoft.com/office/drawing/2014/main" id="{4CCFA326-8B50-45E8-86E0-88676A668335}"/>
              </a:ext>
            </a:extLst>
          </p:cNvPr>
          <p:cNvSpPr/>
          <p:nvPr/>
        </p:nvSpPr>
        <p:spPr>
          <a:xfrm>
            <a:off x="10011167" y="2058641"/>
            <a:ext cx="378703" cy="266769"/>
          </a:xfrm>
          <a:prstGeom prst="rect">
            <a:avLst/>
          </a:prstGeom>
          <a:noFill/>
          <a:ln w="6350"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dirty="0">
              <a:solidFill>
                <a:srgbClr val="FFFFFF"/>
              </a:solidFill>
            </a:endParaRPr>
          </a:p>
        </p:txBody>
      </p:sp>
      <p:pic>
        <p:nvPicPr>
          <p:cNvPr id="30" name="Obraz 29">
            <a:extLst>
              <a:ext uri="{FF2B5EF4-FFF2-40B4-BE49-F238E27FC236}">
                <a16:creationId xmlns:a16="http://schemas.microsoft.com/office/drawing/2014/main" id="{4F6B1033-47DF-4F63-9060-86A7E35ECE06}"/>
              </a:ext>
            </a:extLst>
          </p:cNvPr>
          <p:cNvPicPr>
            <a:picLocks noChangeAspect="1"/>
          </p:cNvPicPr>
          <p:nvPr/>
        </p:nvPicPr>
        <p:blipFill>
          <a:blip r:embed="rId13"/>
          <a:stretch>
            <a:fillRect/>
          </a:stretch>
        </p:blipFill>
        <p:spPr>
          <a:xfrm>
            <a:off x="5343954" y="1502053"/>
            <a:ext cx="646210" cy="646210"/>
          </a:xfrm>
          <a:prstGeom prst="rect">
            <a:avLst/>
          </a:prstGeom>
        </p:spPr>
      </p:pic>
      <p:pic>
        <p:nvPicPr>
          <p:cNvPr id="35" name="Obraz 34">
            <a:extLst>
              <a:ext uri="{FF2B5EF4-FFF2-40B4-BE49-F238E27FC236}">
                <a16:creationId xmlns:a16="http://schemas.microsoft.com/office/drawing/2014/main" id="{74569ADB-6542-4CE1-A96B-7C9BBA0DBDDF}"/>
              </a:ext>
            </a:extLst>
          </p:cNvPr>
          <p:cNvPicPr>
            <a:picLocks noChangeAspect="1"/>
          </p:cNvPicPr>
          <p:nvPr/>
        </p:nvPicPr>
        <p:blipFill>
          <a:blip r:embed="rId13"/>
          <a:stretch>
            <a:fillRect/>
          </a:stretch>
        </p:blipFill>
        <p:spPr>
          <a:xfrm>
            <a:off x="5775759" y="1502047"/>
            <a:ext cx="646210" cy="646210"/>
          </a:xfrm>
          <a:prstGeom prst="rect">
            <a:avLst/>
          </a:prstGeom>
        </p:spPr>
      </p:pic>
      <p:pic>
        <p:nvPicPr>
          <p:cNvPr id="36" name="Obraz 35">
            <a:extLst>
              <a:ext uri="{FF2B5EF4-FFF2-40B4-BE49-F238E27FC236}">
                <a16:creationId xmlns:a16="http://schemas.microsoft.com/office/drawing/2014/main" id="{B4814521-E873-4BEA-9804-1F13C0FF7BEA}"/>
              </a:ext>
            </a:extLst>
          </p:cNvPr>
          <p:cNvPicPr>
            <a:picLocks noChangeAspect="1"/>
          </p:cNvPicPr>
          <p:nvPr/>
        </p:nvPicPr>
        <p:blipFill>
          <a:blip r:embed="rId13"/>
          <a:stretch>
            <a:fillRect/>
          </a:stretch>
        </p:blipFill>
        <p:spPr>
          <a:xfrm>
            <a:off x="6199087" y="1502048"/>
            <a:ext cx="646210" cy="646210"/>
          </a:xfrm>
          <a:prstGeom prst="rect">
            <a:avLst/>
          </a:prstGeom>
        </p:spPr>
      </p:pic>
      <p:pic>
        <p:nvPicPr>
          <p:cNvPr id="12" name="Obraz 11">
            <a:extLst>
              <a:ext uri="{FF2B5EF4-FFF2-40B4-BE49-F238E27FC236}">
                <a16:creationId xmlns:a16="http://schemas.microsoft.com/office/drawing/2014/main" id="{E7743304-2A95-4675-BD68-0D563B09E412}"/>
              </a:ext>
            </a:extLst>
          </p:cNvPr>
          <p:cNvPicPr>
            <a:picLocks noChangeAspect="1"/>
          </p:cNvPicPr>
          <p:nvPr/>
        </p:nvPicPr>
        <p:blipFill>
          <a:blip r:embed="rId14"/>
          <a:stretch>
            <a:fillRect/>
          </a:stretch>
        </p:blipFill>
        <p:spPr>
          <a:xfrm>
            <a:off x="2889800" y="1524158"/>
            <a:ext cx="724813" cy="724813"/>
          </a:xfrm>
          <a:prstGeom prst="rect">
            <a:avLst/>
          </a:prstGeom>
        </p:spPr>
      </p:pic>
      <p:pic>
        <p:nvPicPr>
          <p:cNvPr id="15" name="Obraz 14">
            <a:extLst>
              <a:ext uri="{FF2B5EF4-FFF2-40B4-BE49-F238E27FC236}">
                <a16:creationId xmlns:a16="http://schemas.microsoft.com/office/drawing/2014/main" id="{9D0A5B44-3061-4D55-BEB4-7CB628EB542C}"/>
              </a:ext>
            </a:extLst>
          </p:cNvPr>
          <p:cNvPicPr>
            <a:picLocks noChangeAspect="1"/>
          </p:cNvPicPr>
          <p:nvPr/>
        </p:nvPicPr>
        <p:blipFill>
          <a:blip r:embed="rId15"/>
          <a:stretch>
            <a:fillRect/>
          </a:stretch>
        </p:blipFill>
        <p:spPr>
          <a:xfrm>
            <a:off x="3192066" y="1560324"/>
            <a:ext cx="699495" cy="699495"/>
          </a:xfrm>
          <a:prstGeom prst="rect">
            <a:avLst/>
          </a:prstGeom>
        </p:spPr>
      </p:pic>
    </p:spTree>
    <p:extLst>
      <p:ext uri="{BB962C8B-B14F-4D97-AF65-F5344CB8AC3E}">
        <p14:creationId xmlns:p14="http://schemas.microsoft.com/office/powerpoint/2010/main" val="1380652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i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cxnSp>
        <p:nvCxnSpPr>
          <p:cNvPr id="121" name="Łącznik prosty 120"/>
          <p:cNvCxnSpPr/>
          <p:nvPr/>
        </p:nvCxnSpPr>
        <p:spPr>
          <a:xfrm>
            <a:off x="0" y="700301"/>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sp>
        <p:nvSpPr>
          <p:cNvPr id="52" name="Prostokąt 51">
            <a:extLst>
              <a:ext uri="{FF2B5EF4-FFF2-40B4-BE49-F238E27FC236}">
                <a16:creationId xmlns:a16="http://schemas.microsoft.com/office/drawing/2014/main" id="{49F4CE7F-89AE-44D7-98B3-894974923A39}"/>
              </a:ext>
            </a:extLst>
          </p:cNvPr>
          <p:cNvSpPr/>
          <p:nvPr/>
        </p:nvSpPr>
        <p:spPr>
          <a:xfrm>
            <a:off x="83430" y="1399796"/>
            <a:ext cx="6081896" cy="3949061"/>
          </a:xfrm>
          <a:prstGeom prst="rect">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none" strike="noStrike" kern="0" cap="none" spc="0" normalizeH="0" baseline="0" dirty="0">
              <a:ln>
                <a:noFill/>
              </a:ln>
              <a:solidFill>
                <a:prstClr val="black"/>
              </a:solidFill>
              <a:effectLst/>
              <a:uLnTx/>
              <a:uFillTx/>
              <a:latin typeface="Calibri" panose="020F0502020204030204"/>
              <a:ea typeface="+mn-ea"/>
              <a:cs typeface="+mn-cs"/>
            </a:endParaRPr>
          </a:p>
        </p:txBody>
      </p:sp>
      <p:sp>
        <p:nvSpPr>
          <p:cNvPr id="53" name="pole tekstowe 10">
            <a:extLst>
              <a:ext uri="{FF2B5EF4-FFF2-40B4-BE49-F238E27FC236}">
                <a16:creationId xmlns:a16="http://schemas.microsoft.com/office/drawing/2014/main" id="{913B6E0A-6CD2-4EED-ADC4-49F4C8C78013}"/>
              </a:ext>
            </a:extLst>
          </p:cNvPr>
          <p:cNvSpPr txBox="1">
            <a:spLocks noChangeArrowheads="1"/>
          </p:cNvSpPr>
          <p:nvPr/>
        </p:nvSpPr>
        <p:spPr bwMode="auto">
          <a:xfrm>
            <a:off x="6615497" y="3203503"/>
            <a:ext cx="5292322" cy="120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8016" tIns="64008" rIns="128016" bIns="64008">
            <a:spAutoFit/>
          </a:bodyPr>
          <a:lstStyle>
            <a:lvl1pPr>
              <a:spcBef>
                <a:spcPct val="20000"/>
              </a:spcBef>
              <a:buClr>
                <a:srgbClr val="E60A0A"/>
              </a:buClr>
              <a:buSzPct val="130000"/>
              <a:buFont typeface="Arial" pitchFamily="34" charset="0"/>
              <a:buChar char="•"/>
              <a:defRPr sz="2000">
                <a:solidFill>
                  <a:schemeClr val="tx1"/>
                </a:solidFill>
                <a:latin typeface="Arial" pitchFamily="34" charset="0"/>
              </a:defRPr>
            </a:lvl1pPr>
            <a:lvl2pPr marL="742950" indent="-285750">
              <a:spcBef>
                <a:spcPct val="20000"/>
              </a:spcBef>
              <a:buClr>
                <a:srgbClr val="E60A0A"/>
              </a:buClr>
              <a:buSzPct val="120000"/>
              <a:buFont typeface="Arial" pitchFamily="34" charset="0"/>
              <a:buChar char="•"/>
              <a:defRPr>
                <a:solidFill>
                  <a:schemeClr val="tx1"/>
                </a:solidFill>
                <a:latin typeface="Arial" pitchFamily="34" charset="0"/>
              </a:defRPr>
            </a:lvl2pPr>
            <a:lvl3pPr marL="1143000" indent="-228600">
              <a:spcBef>
                <a:spcPct val="20000"/>
              </a:spcBef>
              <a:buClr>
                <a:srgbClr val="E60A0A"/>
              </a:buClr>
              <a:buSzPct val="110000"/>
              <a:buFont typeface="Arial" pitchFamily="34" charset="0"/>
              <a:buChar char="•"/>
              <a:defRPr sz="1600">
                <a:solidFill>
                  <a:schemeClr val="tx1"/>
                </a:solidFill>
                <a:latin typeface="Arial" pitchFamily="34" charset="0"/>
              </a:defRPr>
            </a:lvl3pPr>
            <a:lvl4pPr marL="1600200" indent="-228600">
              <a:spcBef>
                <a:spcPct val="20000"/>
              </a:spcBef>
              <a:buClr>
                <a:srgbClr val="E60A0A"/>
              </a:buClr>
              <a:buFont typeface="Arial" pitchFamily="34" charset="0"/>
              <a:buChar char="•"/>
              <a:defRPr sz="1400">
                <a:solidFill>
                  <a:schemeClr val="tx1"/>
                </a:solidFill>
                <a:latin typeface="Arial" pitchFamily="34" charset="0"/>
              </a:defRPr>
            </a:lvl4pPr>
            <a:lvl5pPr marL="2057400" indent="-228600">
              <a:spcBef>
                <a:spcPct val="20000"/>
              </a:spcBef>
              <a:buClr>
                <a:srgbClr val="E60A0A"/>
              </a:buClr>
              <a:buSzPct val="90000"/>
              <a:buFont typeface="Arial" pitchFamily="34" charset="0"/>
              <a:buChar char="•"/>
              <a:defRPr sz="1200">
                <a:solidFill>
                  <a:schemeClr val="tx1"/>
                </a:solidFill>
                <a:latin typeface="Arial" pitchFamily="34" charset="0"/>
              </a:defRPr>
            </a:lvl5pPr>
            <a:lvl6pPr marL="2514600" indent="-228600" eaLnBrk="0" fontAlgn="base" hangingPunct="0">
              <a:spcBef>
                <a:spcPct val="20000"/>
              </a:spcBef>
              <a:spcAft>
                <a:spcPct val="0"/>
              </a:spcAft>
              <a:buClr>
                <a:srgbClr val="E60A0A"/>
              </a:buClr>
              <a:buSzPct val="90000"/>
              <a:buFont typeface="Arial" pitchFamily="34" charset="0"/>
              <a:buChar char="•"/>
              <a:defRPr sz="1200">
                <a:solidFill>
                  <a:schemeClr val="tx1"/>
                </a:solidFill>
                <a:latin typeface="Arial" pitchFamily="34" charset="0"/>
              </a:defRPr>
            </a:lvl6pPr>
            <a:lvl7pPr marL="2971800" indent="-228600" eaLnBrk="0" fontAlgn="base" hangingPunct="0">
              <a:spcBef>
                <a:spcPct val="20000"/>
              </a:spcBef>
              <a:spcAft>
                <a:spcPct val="0"/>
              </a:spcAft>
              <a:buClr>
                <a:srgbClr val="E60A0A"/>
              </a:buClr>
              <a:buSzPct val="90000"/>
              <a:buFont typeface="Arial" pitchFamily="34" charset="0"/>
              <a:buChar char="•"/>
              <a:defRPr sz="1200">
                <a:solidFill>
                  <a:schemeClr val="tx1"/>
                </a:solidFill>
                <a:latin typeface="Arial" pitchFamily="34" charset="0"/>
              </a:defRPr>
            </a:lvl7pPr>
            <a:lvl8pPr marL="3429000" indent="-228600" eaLnBrk="0" fontAlgn="base" hangingPunct="0">
              <a:spcBef>
                <a:spcPct val="20000"/>
              </a:spcBef>
              <a:spcAft>
                <a:spcPct val="0"/>
              </a:spcAft>
              <a:buClr>
                <a:srgbClr val="E60A0A"/>
              </a:buClr>
              <a:buSzPct val="90000"/>
              <a:buFont typeface="Arial" pitchFamily="34" charset="0"/>
              <a:buChar char="•"/>
              <a:defRPr sz="1200">
                <a:solidFill>
                  <a:schemeClr val="tx1"/>
                </a:solidFill>
                <a:latin typeface="Arial" pitchFamily="34" charset="0"/>
              </a:defRPr>
            </a:lvl8pPr>
            <a:lvl9pPr marL="3886200" indent="-228600" eaLnBrk="0" fontAlgn="base" hangingPunct="0">
              <a:spcBef>
                <a:spcPct val="20000"/>
              </a:spcBef>
              <a:spcAft>
                <a:spcPct val="0"/>
              </a:spcAft>
              <a:buClr>
                <a:srgbClr val="E60A0A"/>
              </a:buClr>
              <a:buSzPct val="90000"/>
              <a:buFont typeface="Arial" pitchFamily="34" charset="0"/>
              <a:buChar char="•"/>
              <a:defRPr sz="1200">
                <a:solidFill>
                  <a:schemeClr val="tx1"/>
                </a:solidFill>
                <a:latin typeface="Arial" pitchFamily="34" charset="0"/>
              </a:defRPr>
            </a:lvl9pPr>
          </a:lstStyle>
          <a:p>
            <a:pPr marL="228600" indent="-228600" algn="just" eaLnBrk="0" fontAlgn="base" hangingPunct="0">
              <a:lnSpc>
                <a:spcPct val="150000"/>
              </a:lnSpc>
              <a:spcBef>
                <a:spcPct val="0"/>
              </a:spcBef>
              <a:spcAft>
                <a:spcPct val="0"/>
              </a:spcAft>
              <a:buClrTx/>
              <a:buSzTx/>
              <a:buFont typeface="+mj-lt"/>
              <a:buAutoNum type="arabicPeriod"/>
            </a:pPr>
            <a:r>
              <a:rPr lang="en-GB" altLang="pl-PL" sz="1200" dirty="0">
                <a:solidFill>
                  <a:prstClr val="white">
                    <a:lumMod val="50000"/>
                  </a:prstClr>
                </a:solidFill>
                <a:latin typeface="Calibri" panose="020F0502020204030204"/>
              </a:rPr>
              <a:t>The supplier (exporter) provides trade credit to a foreign contractor (importer) on the basis of an export contract</a:t>
            </a:r>
          </a:p>
          <a:p>
            <a:pPr marL="228600" indent="-228600" algn="just" eaLnBrk="0" fontAlgn="base" hangingPunct="0">
              <a:lnSpc>
                <a:spcPct val="150000"/>
              </a:lnSpc>
              <a:spcBef>
                <a:spcPct val="0"/>
              </a:spcBef>
              <a:spcAft>
                <a:spcPct val="0"/>
              </a:spcAft>
              <a:buClrTx/>
              <a:buSzTx/>
              <a:buFont typeface="+mj-lt"/>
              <a:buAutoNum type="arabicPeriod"/>
            </a:pPr>
            <a:r>
              <a:rPr lang="en-GB" altLang="pl-PL" sz="1200" dirty="0">
                <a:solidFill>
                  <a:prstClr val="white">
                    <a:lumMod val="50000"/>
                  </a:prstClr>
                </a:solidFill>
                <a:latin typeface="Calibri" panose="020F0502020204030204"/>
              </a:rPr>
              <a:t>The Bank provides financing to the  Exporter by discounting invoices</a:t>
            </a:r>
          </a:p>
          <a:p>
            <a:pPr marL="228600" indent="-228600" algn="just" eaLnBrk="0" fontAlgn="base" hangingPunct="0">
              <a:lnSpc>
                <a:spcPct val="150000"/>
              </a:lnSpc>
              <a:spcBef>
                <a:spcPct val="0"/>
              </a:spcBef>
              <a:spcAft>
                <a:spcPct val="0"/>
              </a:spcAft>
              <a:buClrTx/>
              <a:buSzTx/>
              <a:buFont typeface="+mj-lt"/>
              <a:buAutoNum type="arabicPeriod"/>
            </a:pPr>
            <a:endParaRPr lang="en-GB" altLang="pl-PL" sz="1200" dirty="0">
              <a:solidFill>
                <a:prstClr val="white">
                  <a:lumMod val="50000"/>
                </a:prstClr>
              </a:solidFill>
              <a:latin typeface="Calibri" panose="020F0502020204030204"/>
            </a:endParaRPr>
          </a:p>
        </p:txBody>
      </p:sp>
      <p:sp>
        <p:nvSpPr>
          <p:cNvPr id="54" name="Prostokąt 12">
            <a:extLst>
              <a:ext uri="{FF2B5EF4-FFF2-40B4-BE49-F238E27FC236}">
                <a16:creationId xmlns:a16="http://schemas.microsoft.com/office/drawing/2014/main" id="{C8BAD3AF-B457-4085-BF8F-FC6D5268C3A5}"/>
              </a:ext>
            </a:extLst>
          </p:cNvPr>
          <p:cNvSpPr>
            <a:spLocks noChangeArrowheads="1"/>
          </p:cNvSpPr>
          <p:nvPr/>
        </p:nvSpPr>
        <p:spPr bwMode="auto">
          <a:xfrm>
            <a:off x="6658256" y="2958793"/>
            <a:ext cx="2927688" cy="754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ts val="600"/>
              </a:spcBef>
              <a:spcAft>
                <a:spcPct val="0"/>
              </a:spcAft>
              <a:buFont typeface="Wingdings 2" pitchFamily="18" charset="2"/>
              <a:buNone/>
            </a:pPr>
            <a:r>
              <a:rPr lang="en-GB" altLang="pl-PL" sz="1100" b="1" dirty="0">
                <a:solidFill>
                  <a:srgbClr val="111516"/>
                </a:solidFill>
                <a:latin typeface="Arial" pitchFamily="34" charset="0"/>
                <a:ea typeface="Calibri" pitchFamily="34" charset="0"/>
              </a:rPr>
              <a:t>Characteristics</a:t>
            </a:r>
          </a:p>
          <a:p>
            <a:pPr eaLnBrk="1" fontAlgn="base" hangingPunct="1">
              <a:spcBef>
                <a:spcPts val="600"/>
              </a:spcBef>
              <a:spcAft>
                <a:spcPct val="0"/>
              </a:spcAft>
              <a:buFont typeface="Wingdings 2" pitchFamily="18" charset="2"/>
              <a:buNone/>
            </a:pPr>
            <a:endParaRPr lang="en-GB" altLang="pl-PL" sz="1100" b="1" dirty="0">
              <a:solidFill>
                <a:srgbClr val="111516"/>
              </a:solidFill>
              <a:latin typeface="Arial" pitchFamily="34" charset="0"/>
              <a:ea typeface="Calibri" pitchFamily="34" charset="0"/>
            </a:endParaRPr>
          </a:p>
          <a:p>
            <a:pPr eaLnBrk="1" fontAlgn="base" hangingPunct="1">
              <a:spcBef>
                <a:spcPts val="600"/>
              </a:spcBef>
              <a:spcAft>
                <a:spcPct val="0"/>
              </a:spcAft>
              <a:buFont typeface="Wingdings 2" pitchFamily="18" charset="2"/>
              <a:buNone/>
            </a:pPr>
            <a:endParaRPr lang="en-GB" altLang="pl-PL" sz="1100" b="1" dirty="0">
              <a:solidFill>
                <a:srgbClr val="111516"/>
              </a:solidFill>
              <a:latin typeface="Arial" pitchFamily="34" charset="0"/>
              <a:ea typeface="Calibri" pitchFamily="34" charset="0"/>
            </a:endParaRPr>
          </a:p>
        </p:txBody>
      </p:sp>
      <p:sp>
        <p:nvSpPr>
          <p:cNvPr id="55" name="Prostokąt: zaokrąglone rogi 54">
            <a:extLst>
              <a:ext uri="{FF2B5EF4-FFF2-40B4-BE49-F238E27FC236}">
                <a16:creationId xmlns:a16="http://schemas.microsoft.com/office/drawing/2014/main" id="{B9B683CB-A614-478C-A0AA-996DB1EE2C10}"/>
              </a:ext>
            </a:extLst>
          </p:cNvPr>
          <p:cNvSpPr/>
          <p:nvPr/>
        </p:nvSpPr>
        <p:spPr>
          <a:xfrm>
            <a:off x="3711426" y="2132117"/>
            <a:ext cx="2022933" cy="377999"/>
          </a:xfrm>
          <a:prstGeom prst="round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0" i="0"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t>   Buyer  </a:t>
            </a:r>
          </a:p>
        </p:txBody>
      </p:sp>
      <p:sp>
        <p:nvSpPr>
          <p:cNvPr id="56" name="Schemat blokowy: łącznik 55">
            <a:extLst>
              <a:ext uri="{FF2B5EF4-FFF2-40B4-BE49-F238E27FC236}">
                <a16:creationId xmlns:a16="http://schemas.microsoft.com/office/drawing/2014/main" id="{7E46DBA4-EF5C-441A-A76F-B71EBA6B5441}"/>
              </a:ext>
            </a:extLst>
          </p:cNvPr>
          <p:cNvSpPr/>
          <p:nvPr/>
        </p:nvSpPr>
        <p:spPr>
          <a:xfrm>
            <a:off x="3194538" y="2397060"/>
            <a:ext cx="185010" cy="194016"/>
          </a:xfrm>
          <a:prstGeom prst="flowChartConnector">
            <a:avLst/>
          </a:prstGeom>
          <a:solidFill>
            <a:sysClr val="window" lastClr="FFFFFF"/>
          </a:solidFill>
          <a:ln w="1270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57" name="Prostokąt: zaokrąglone rogi 56">
            <a:extLst>
              <a:ext uri="{FF2B5EF4-FFF2-40B4-BE49-F238E27FC236}">
                <a16:creationId xmlns:a16="http://schemas.microsoft.com/office/drawing/2014/main" id="{D317B136-3BF1-4F81-A523-84EF44785325}"/>
              </a:ext>
            </a:extLst>
          </p:cNvPr>
          <p:cNvSpPr/>
          <p:nvPr/>
        </p:nvSpPr>
        <p:spPr>
          <a:xfrm>
            <a:off x="834322" y="2124471"/>
            <a:ext cx="2022933" cy="377999"/>
          </a:xfrm>
          <a:prstGeom prst="round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1400" b="0" i="0"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t>Supplier / Exporter</a:t>
            </a:r>
          </a:p>
        </p:txBody>
      </p:sp>
      <p:sp>
        <p:nvSpPr>
          <p:cNvPr id="59" name="Prostokąt: zaokrąglone rogi 58">
            <a:extLst>
              <a:ext uri="{FF2B5EF4-FFF2-40B4-BE49-F238E27FC236}">
                <a16:creationId xmlns:a16="http://schemas.microsoft.com/office/drawing/2014/main" id="{83AFCB3C-53DA-4DD7-B018-16EF01948AD2}"/>
              </a:ext>
            </a:extLst>
          </p:cNvPr>
          <p:cNvSpPr/>
          <p:nvPr/>
        </p:nvSpPr>
        <p:spPr>
          <a:xfrm>
            <a:off x="2823233" y="3710407"/>
            <a:ext cx="2022933" cy="377999"/>
          </a:xfrm>
          <a:prstGeom prst="round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0" i="0"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t>Bank</a:t>
            </a:r>
          </a:p>
        </p:txBody>
      </p:sp>
      <p:sp>
        <p:nvSpPr>
          <p:cNvPr id="60" name="Schemat blokowy: łącznik 59">
            <a:extLst>
              <a:ext uri="{FF2B5EF4-FFF2-40B4-BE49-F238E27FC236}">
                <a16:creationId xmlns:a16="http://schemas.microsoft.com/office/drawing/2014/main" id="{68FBD380-6656-46CA-9E9C-EF73BEE767C1}"/>
              </a:ext>
            </a:extLst>
          </p:cNvPr>
          <p:cNvSpPr/>
          <p:nvPr/>
        </p:nvSpPr>
        <p:spPr>
          <a:xfrm>
            <a:off x="3152452" y="1956156"/>
            <a:ext cx="228414" cy="224398"/>
          </a:xfrm>
          <a:prstGeom prst="flowChartConnector">
            <a:avLst/>
          </a:prstGeom>
          <a:solidFill>
            <a:sysClr val="window" lastClr="FFFFFF"/>
          </a:solidFill>
          <a:ln w="1270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62" name="Schemat blokowy: łącznik 61">
            <a:extLst>
              <a:ext uri="{FF2B5EF4-FFF2-40B4-BE49-F238E27FC236}">
                <a16:creationId xmlns:a16="http://schemas.microsoft.com/office/drawing/2014/main" id="{3C100CFB-D603-4006-8572-5A27804D6329}"/>
              </a:ext>
            </a:extLst>
          </p:cNvPr>
          <p:cNvSpPr/>
          <p:nvPr/>
        </p:nvSpPr>
        <p:spPr>
          <a:xfrm>
            <a:off x="2210532" y="3032001"/>
            <a:ext cx="235407" cy="225550"/>
          </a:xfrm>
          <a:prstGeom prst="flowChartConnector">
            <a:avLst/>
          </a:prstGeom>
          <a:solidFill>
            <a:sysClr val="window" lastClr="FFFFFF"/>
          </a:solidFill>
          <a:ln w="1270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lang="en-GB" sz="1200" kern="0" dirty="0">
                <a:solidFill>
                  <a:prstClr val="black"/>
                </a:solidFill>
                <a:latin typeface="Arial" panose="020B0604020202020204" pitchFamily="34" charset="0"/>
                <a:cs typeface="Arial" panose="020B0604020202020204" pitchFamily="34" charset="0"/>
              </a:rPr>
              <a:t>4</a:t>
            </a:r>
            <a:endParaRPr kumimoji="0" lang="en-GB" sz="12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3" name="pole tekstowe 10">
            <a:extLst>
              <a:ext uri="{FF2B5EF4-FFF2-40B4-BE49-F238E27FC236}">
                <a16:creationId xmlns:a16="http://schemas.microsoft.com/office/drawing/2014/main" id="{E3B5B140-568B-4EF4-94E1-6B0BE6BF3678}"/>
              </a:ext>
            </a:extLst>
          </p:cNvPr>
          <p:cNvSpPr txBox="1">
            <a:spLocks noChangeArrowheads="1"/>
          </p:cNvSpPr>
          <p:nvPr/>
        </p:nvSpPr>
        <p:spPr bwMode="auto">
          <a:xfrm>
            <a:off x="113699" y="3250996"/>
            <a:ext cx="2747086" cy="228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8016" tIns="64008" rIns="128016" bIns="64008">
            <a:spAutoFit/>
          </a:bodyPr>
          <a:lstStyle>
            <a:defPPr>
              <a:defRPr lang="pl-PL"/>
            </a:defPPr>
            <a:lvl1pPr algn="l" rtl="0" eaLnBrk="0" fontAlgn="base" hangingPunct="0">
              <a:spcBef>
                <a:spcPct val="0"/>
              </a:spcBef>
              <a:spcAft>
                <a:spcPct val="0"/>
              </a:spcAft>
              <a:defRPr sz="800" kern="1200">
                <a:solidFill>
                  <a:schemeClr val="tx1"/>
                </a:solidFill>
                <a:latin typeface="Arial" charset="0"/>
                <a:ea typeface="+mn-ea"/>
                <a:cs typeface="+mn-cs"/>
              </a:defRPr>
            </a:lvl1pPr>
            <a:lvl2pPr marL="385826" algn="l" rtl="0" eaLnBrk="0" fontAlgn="base" hangingPunct="0">
              <a:spcBef>
                <a:spcPct val="0"/>
              </a:spcBef>
              <a:spcAft>
                <a:spcPct val="0"/>
              </a:spcAft>
              <a:defRPr sz="800" kern="1200">
                <a:solidFill>
                  <a:schemeClr val="tx1"/>
                </a:solidFill>
                <a:latin typeface="Arial" charset="0"/>
                <a:ea typeface="+mn-ea"/>
                <a:cs typeface="+mn-cs"/>
              </a:defRPr>
            </a:lvl2pPr>
            <a:lvl3pPr marL="771650" algn="l" rtl="0" eaLnBrk="0" fontAlgn="base" hangingPunct="0">
              <a:spcBef>
                <a:spcPct val="0"/>
              </a:spcBef>
              <a:spcAft>
                <a:spcPct val="0"/>
              </a:spcAft>
              <a:defRPr sz="800" kern="1200">
                <a:solidFill>
                  <a:schemeClr val="tx1"/>
                </a:solidFill>
                <a:latin typeface="Arial" charset="0"/>
                <a:ea typeface="+mn-ea"/>
                <a:cs typeface="+mn-cs"/>
              </a:defRPr>
            </a:lvl3pPr>
            <a:lvl4pPr marL="1157477" algn="l" rtl="0" eaLnBrk="0" fontAlgn="base" hangingPunct="0">
              <a:spcBef>
                <a:spcPct val="0"/>
              </a:spcBef>
              <a:spcAft>
                <a:spcPct val="0"/>
              </a:spcAft>
              <a:defRPr sz="800" kern="1200">
                <a:solidFill>
                  <a:schemeClr val="tx1"/>
                </a:solidFill>
                <a:latin typeface="Arial" charset="0"/>
                <a:ea typeface="+mn-ea"/>
                <a:cs typeface="+mn-cs"/>
              </a:defRPr>
            </a:lvl4pPr>
            <a:lvl5pPr marL="1543303" algn="l" rtl="0" eaLnBrk="0" fontAlgn="base" hangingPunct="0">
              <a:spcBef>
                <a:spcPct val="0"/>
              </a:spcBef>
              <a:spcAft>
                <a:spcPct val="0"/>
              </a:spcAft>
              <a:defRPr sz="800" kern="1200">
                <a:solidFill>
                  <a:schemeClr val="tx1"/>
                </a:solidFill>
                <a:latin typeface="Arial" charset="0"/>
                <a:ea typeface="+mn-ea"/>
                <a:cs typeface="+mn-cs"/>
              </a:defRPr>
            </a:lvl5pPr>
            <a:lvl6pPr marL="1929128" algn="l" defTabSz="771650" rtl="0" eaLnBrk="1" latinLnBrk="0" hangingPunct="1">
              <a:defRPr sz="800" kern="1200">
                <a:solidFill>
                  <a:schemeClr val="tx1"/>
                </a:solidFill>
                <a:latin typeface="Arial" charset="0"/>
                <a:ea typeface="+mn-ea"/>
                <a:cs typeface="+mn-cs"/>
              </a:defRPr>
            </a:lvl6pPr>
            <a:lvl7pPr marL="2314953" algn="l" defTabSz="771650" rtl="0" eaLnBrk="1" latinLnBrk="0" hangingPunct="1">
              <a:defRPr sz="800" kern="1200">
                <a:solidFill>
                  <a:schemeClr val="tx1"/>
                </a:solidFill>
                <a:latin typeface="Arial" charset="0"/>
                <a:ea typeface="+mn-ea"/>
                <a:cs typeface="+mn-cs"/>
              </a:defRPr>
            </a:lvl7pPr>
            <a:lvl8pPr marL="2700780" algn="l" defTabSz="771650" rtl="0" eaLnBrk="1" latinLnBrk="0" hangingPunct="1">
              <a:defRPr sz="800" kern="1200">
                <a:solidFill>
                  <a:schemeClr val="tx1"/>
                </a:solidFill>
                <a:latin typeface="Arial" charset="0"/>
                <a:ea typeface="+mn-ea"/>
                <a:cs typeface="+mn-cs"/>
              </a:defRPr>
            </a:lvl8pPr>
            <a:lvl9pPr marL="3086605" algn="l" defTabSz="771650" rtl="0" eaLnBrk="1" latinLnBrk="0" hangingPunct="1">
              <a:defRPr sz="800" kern="1200">
                <a:solidFill>
                  <a:schemeClr val="tx1"/>
                </a:solidFill>
                <a:latin typeface="Arial" charset="0"/>
                <a:ea typeface="+mn-ea"/>
                <a:cs typeface="+mn-cs"/>
              </a:defRPr>
            </a:lvl9pPr>
          </a:lstStyle>
          <a:p>
            <a:pPr marL="228600" indent="-228600" algn="just">
              <a:buFont typeface="+mj-lt"/>
              <a:buAutoNum type="arabicPeriod"/>
            </a:pPr>
            <a:r>
              <a:rPr lang="en-GB" altLang="pl-PL" sz="1200" dirty="0">
                <a:solidFill>
                  <a:prstClr val="white">
                    <a:lumMod val="50000"/>
                  </a:prstClr>
                </a:solidFill>
                <a:latin typeface="Calibri" panose="020F0502020204030204"/>
              </a:rPr>
              <a:t>Contract </a:t>
            </a:r>
          </a:p>
          <a:p>
            <a:pPr marL="228600" indent="-228600" algn="just">
              <a:buFont typeface="+mj-lt"/>
              <a:buAutoNum type="arabicPeriod"/>
            </a:pPr>
            <a:endParaRPr lang="en-GB" altLang="pl-PL" sz="1200" dirty="0">
              <a:solidFill>
                <a:prstClr val="white">
                  <a:lumMod val="50000"/>
                </a:prstClr>
              </a:solidFill>
              <a:latin typeface="Calibri" panose="020F0502020204030204"/>
            </a:endParaRPr>
          </a:p>
          <a:p>
            <a:pPr marL="228600" indent="-228600" algn="just">
              <a:buFont typeface="+mj-lt"/>
              <a:buAutoNum type="arabicPeriod"/>
            </a:pPr>
            <a:r>
              <a:rPr lang="en-GB" altLang="pl-PL" sz="1200" dirty="0">
                <a:solidFill>
                  <a:prstClr val="white">
                    <a:lumMod val="50000"/>
                  </a:prstClr>
                </a:solidFill>
                <a:latin typeface="Calibri" panose="020F0502020204030204"/>
              </a:rPr>
              <a:t>Financing agreement with the Bank</a:t>
            </a:r>
          </a:p>
          <a:p>
            <a:pPr marL="228600" indent="-228600" algn="just">
              <a:buFont typeface="+mj-lt"/>
              <a:buAutoNum type="arabicPeriod"/>
            </a:pPr>
            <a:endParaRPr lang="en-GB" altLang="pl-PL" sz="1200" dirty="0">
              <a:solidFill>
                <a:prstClr val="white">
                  <a:lumMod val="50000"/>
                </a:prstClr>
              </a:solidFill>
              <a:latin typeface="Calibri" panose="020F0502020204030204"/>
            </a:endParaRPr>
          </a:p>
          <a:p>
            <a:pPr marL="228600" indent="-228600" algn="just">
              <a:buFont typeface="+mj-lt"/>
              <a:buAutoNum type="arabicPeriod"/>
            </a:pPr>
            <a:r>
              <a:rPr lang="en-GB" altLang="pl-PL" sz="1200" dirty="0">
                <a:solidFill>
                  <a:prstClr val="white">
                    <a:lumMod val="50000"/>
                  </a:prstClr>
                </a:solidFill>
                <a:latin typeface="Calibri" panose="020F0502020204030204"/>
              </a:rPr>
              <a:t>Dispatch of goods / Invoice</a:t>
            </a:r>
          </a:p>
          <a:p>
            <a:pPr marL="228600" indent="-228600" algn="just">
              <a:buFont typeface="+mj-lt"/>
              <a:buAutoNum type="arabicPeriod"/>
            </a:pPr>
            <a:endParaRPr lang="en-GB" altLang="pl-PL" sz="1200" dirty="0">
              <a:solidFill>
                <a:prstClr val="white">
                  <a:lumMod val="50000"/>
                </a:prstClr>
              </a:solidFill>
              <a:latin typeface="Calibri" panose="020F0502020204030204"/>
            </a:endParaRPr>
          </a:p>
          <a:p>
            <a:pPr marL="228600" indent="-228600" algn="just">
              <a:buFont typeface="+mj-lt"/>
              <a:buAutoNum type="arabicPeriod"/>
            </a:pPr>
            <a:r>
              <a:rPr lang="en-GB" altLang="pl-PL" sz="1200" dirty="0">
                <a:solidFill>
                  <a:prstClr val="white">
                    <a:lumMod val="50000"/>
                  </a:prstClr>
                </a:solidFill>
                <a:latin typeface="Calibri" panose="020F0502020204030204"/>
              </a:rPr>
              <a:t>Accelerated payment of funds by the Bank to the Exporter</a:t>
            </a:r>
          </a:p>
          <a:p>
            <a:pPr marL="228600" indent="-228600" algn="just">
              <a:buFont typeface="+mj-lt"/>
              <a:buAutoNum type="arabicPeriod"/>
            </a:pPr>
            <a:endParaRPr lang="en-GB" altLang="pl-PL" sz="1200" dirty="0">
              <a:solidFill>
                <a:prstClr val="white">
                  <a:lumMod val="50000"/>
                </a:prstClr>
              </a:solidFill>
              <a:latin typeface="Calibri" panose="020F0502020204030204"/>
            </a:endParaRPr>
          </a:p>
          <a:p>
            <a:pPr marL="228600" indent="-228600" algn="just">
              <a:buFont typeface="+mj-lt"/>
              <a:buAutoNum type="arabicPeriod"/>
            </a:pPr>
            <a:r>
              <a:rPr lang="en-GB" altLang="pl-PL" sz="1200" dirty="0">
                <a:solidFill>
                  <a:prstClr val="white">
                    <a:lumMod val="50000"/>
                  </a:prstClr>
                </a:solidFill>
                <a:latin typeface="Calibri" panose="020F0502020204030204"/>
              </a:rPr>
              <a:t>Payment by the Buyer</a:t>
            </a:r>
          </a:p>
          <a:p>
            <a:pPr marL="228600" indent="-228600" algn="just">
              <a:buFont typeface="+mj-lt"/>
              <a:buAutoNum type="arabicPeriod"/>
            </a:pPr>
            <a:endParaRPr lang="en-GB" altLang="pl-PL" sz="1000" dirty="0">
              <a:solidFill>
                <a:prstClr val="white">
                  <a:lumMod val="50000"/>
                </a:prstClr>
              </a:solidFill>
              <a:latin typeface="Calibri" panose="020F0502020204030204"/>
            </a:endParaRPr>
          </a:p>
          <a:p>
            <a:pPr marL="228600" indent="-228600" algn="just">
              <a:buFont typeface="+mj-lt"/>
              <a:buAutoNum type="arabicPeriod"/>
            </a:pPr>
            <a:endParaRPr lang="en-GB" altLang="pl-PL" sz="1000" dirty="0">
              <a:solidFill>
                <a:prstClr val="white">
                  <a:lumMod val="50000"/>
                </a:prstClr>
              </a:solidFill>
              <a:latin typeface="Calibri" panose="020F0502020204030204"/>
            </a:endParaRPr>
          </a:p>
        </p:txBody>
      </p:sp>
      <p:sp>
        <p:nvSpPr>
          <p:cNvPr id="64" name="Prostokąt 63">
            <a:extLst>
              <a:ext uri="{FF2B5EF4-FFF2-40B4-BE49-F238E27FC236}">
                <a16:creationId xmlns:a16="http://schemas.microsoft.com/office/drawing/2014/main" id="{AA30D8FF-CDD6-40A9-9BFD-8AA8AB625181}"/>
              </a:ext>
            </a:extLst>
          </p:cNvPr>
          <p:cNvSpPr>
            <a:spLocks noChangeArrowheads="1"/>
          </p:cNvSpPr>
          <p:nvPr/>
        </p:nvSpPr>
        <p:spPr bwMode="auto">
          <a:xfrm>
            <a:off x="312000" y="2788833"/>
            <a:ext cx="2927688" cy="754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pl-PL"/>
            </a:defPPr>
            <a:lvl1pPr algn="l" rtl="0" eaLnBrk="0" fontAlgn="base" hangingPunct="0">
              <a:spcBef>
                <a:spcPct val="0"/>
              </a:spcBef>
              <a:spcAft>
                <a:spcPct val="0"/>
              </a:spcAft>
              <a:defRPr sz="800" kern="1200">
                <a:solidFill>
                  <a:schemeClr val="tx1"/>
                </a:solidFill>
                <a:latin typeface="Arial" charset="0"/>
                <a:ea typeface="+mn-ea"/>
                <a:cs typeface="+mn-cs"/>
              </a:defRPr>
            </a:lvl1pPr>
            <a:lvl2pPr marL="385826" algn="l" rtl="0" eaLnBrk="0" fontAlgn="base" hangingPunct="0">
              <a:spcBef>
                <a:spcPct val="0"/>
              </a:spcBef>
              <a:spcAft>
                <a:spcPct val="0"/>
              </a:spcAft>
              <a:defRPr sz="800" kern="1200">
                <a:solidFill>
                  <a:schemeClr val="tx1"/>
                </a:solidFill>
                <a:latin typeface="Arial" charset="0"/>
                <a:ea typeface="+mn-ea"/>
                <a:cs typeface="+mn-cs"/>
              </a:defRPr>
            </a:lvl2pPr>
            <a:lvl3pPr marL="771650" algn="l" rtl="0" eaLnBrk="0" fontAlgn="base" hangingPunct="0">
              <a:spcBef>
                <a:spcPct val="0"/>
              </a:spcBef>
              <a:spcAft>
                <a:spcPct val="0"/>
              </a:spcAft>
              <a:defRPr sz="800" kern="1200">
                <a:solidFill>
                  <a:schemeClr val="tx1"/>
                </a:solidFill>
                <a:latin typeface="Arial" charset="0"/>
                <a:ea typeface="+mn-ea"/>
                <a:cs typeface="+mn-cs"/>
              </a:defRPr>
            </a:lvl3pPr>
            <a:lvl4pPr marL="1157477" algn="l" rtl="0" eaLnBrk="0" fontAlgn="base" hangingPunct="0">
              <a:spcBef>
                <a:spcPct val="0"/>
              </a:spcBef>
              <a:spcAft>
                <a:spcPct val="0"/>
              </a:spcAft>
              <a:defRPr sz="800" kern="1200">
                <a:solidFill>
                  <a:schemeClr val="tx1"/>
                </a:solidFill>
                <a:latin typeface="Arial" charset="0"/>
                <a:ea typeface="+mn-ea"/>
                <a:cs typeface="+mn-cs"/>
              </a:defRPr>
            </a:lvl4pPr>
            <a:lvl5pPr marL="1543303" algn="l" rtl="0" eaLnBrk="0" fontAlgn="base" hangingPunct="0">
              <a:spcBef>
                <a:spcPct val="0"/>
              </a:spcBef>
              <a:spcAft>
                <a:spcPct val="0"/>
              </a:spcAft>
              <a:defRPr sz="800" kern="1200">
                <a:solidFill>
                  <a:schemeClr val="tx1"/>
                </a:solidFill>
                <a:latin typeface="Arial" charset="0"/>
                <a:ea typeface="+mn-ea"/>
                <a:cs typeface="+mn-cs"/>
              </a:defRPr>
            </a:lvl5pPr>
            <a:lvl6pPr marL="1929128" algn="l" defTabSz="771650" rtl="0" eaLnBrk="1" latinLnBrk="0" hangingPunct="1">
              <a:defRPr sz="800" kern="1200">
                <a:solidFill>
                  <a:schemeClr val="tx1"/>
                </a:solidFill>
                <a:latin typeface="Arial" charset="0"/>
                <a:ea typeface="+mn-ea"/>
                <a:cs typeface="+mn-cs"/>
              </a:defRPr>
            </a:lvl6pPr>
            <a:lvl7pPr marL="2314953" algn="l" defTabSz="771650" rtl="0" eaLnBrk="1" latinLnBrk="0" hangingPunct="1">
              <a:defRPr sz="800" kern="1200">
                <a:solidFill>
                  <a:schemeClr val="tx1"/>
                </a:solidFill>
                <a:latin typeface="Arial" charset="0"/>
                <a:ea typeface="+mn-ea"/>
                <a:cs typeface="+mn-cs"/>
              </a:defRPr>
            </a:lvl7pPr>
            <a:lvl8pPr marL="2700780" algn="l" defTabSz="771650" rtl="0" eaLnBrk="1" latinLnBrk="0" hangingPunct="1">
              <a:defRPr sz="800" kern="1200">
                <a:solidFill>
                  <a:schemeClr val="tx1"/>
                </a:solidFill>
                <a:latin typeface="Arial" charset="0"/>
                <a:ea typeface="+mn-ea"/>
                <a:cs typeface="+mn-cs"/>
              </a:defRPr>
            </a:lvl8pPr>
            <a:lvl9pPr marL="3086605" algn="l" defTabSz="771650" rtl="0" eaLnBrk="1" latinLnBrk="0" hangingPunct="1">
              <a:defRPr sz="800" kern="1200">
                <a:solidFill>
                  <a:schemeClr val="tx1"/>
                </a:solidFill>
                <a:latin typeface="Arial" charset="0"/>
                <a:ea typeface="+mn-ea"/>
                <a:cs typeface="+mn-cs"/>
              </a:defRPr>
            </a:lvl9pPr>
          </a:lstStyle>
          <a:p>
            <a:pPr eaLnBrk="1" hangingPunct="1">
              <a:spcBef>
                <a:spcPts val="600"/>
              </a:spcBef>
              <a:buFont typeface="Wingdings 2" pitchFamily="18" charset="2"/>
              <a:buNone/>
            </a:pPr>
            <a:r>
              <a:rPr lang="en-GB" altLang="pl-PL" sz="1100" b="1" dirty="0">
                <a:solidFill>
                  <a:prstClr val="black"/>
                </a:solidFill>
                <a:latin typeface="Arial" pitchFamily="34" charset="0"/>
              </a:rPr>
              <a:t>Transaction process </a:t>
            </a:r>
          </a:p>
          <a:p>
            <a:pPr eaLnBrk="1" hangingPunct="1">
              <a:spcBef>
                <a:spcPts val="600"/>
              </a:spcBef>
              <a:buFont typeface="Wingdings 2" pitchFamily="18" charset="2"/>
              <a:buNone/>
            </a:pPr>
            <a:endParaRPr lang="en-GB" altLang="pl-PL" sz="1100" b="1" dirty="0">
              <a:solidFill>
                <a:prstClr val="black"/>
              </a:solidFill>
              <a:latin typeface="Arial" pitchFamily="34" charset="0"/>
            </a:endParaRPr>
          </a:p>
          <a:p>
            <a:pPr eaLnBrk="1" hangingPunct="1">
              <a:spcBef>
                <a:spcPts val="600"/>
              </a:spcBef>
              <a:buFont typeface="Wingdings 2" pitchFamily="18" charset="2"/>
              <a:buNone/>
            </a:pPr>
            <a:r>
              <a:rPr lang="en-GB" altLang="pl-PL" sz="1100" b="1" dirty="0">
                <a:solidFill>
                  <a:prstClr val="black"/>
                </a:solidFill>
                <a:latin typeface="Arial" pitchFamily="34" charset="0"/>
              </a:rPr>
              <a:t> </a:t>
            </a:r>
          </a:p>
        </p:txBody>
      </p:sp>
      <p:cxnSp>
        <p:nvCxnSpPr>
          <p:cNvPr id="65" name="Łącznik prosty ze strzałką 64">
            <a:extLst>
              <a:ext uri="{FF2B5EF4-FFF2-40B4-BE49-F238E27FC236}">
                <a16:creationId xmlns:a16="http://schemas.microsoft.com/office/drawing/2014/main" id="{CD958F0D-8E5B-41D0-A9FB-8A9A00FC0DBB}"/>
              </a:ext>
            </a:extLst>
          </p:cNvPr>
          <p:cNvCxnSpPr>
            <a:cxnSpLocks/>
          </p:cNvCxnSpPr>
          <p:nvPr/>
        </p:nvCxnSpPr>
        <p:spPr>
          <a:xfrm>
            <a:off x="2941890" y="2313470"/>
            <a:ext cx="721572" cy="0"/>
          </a:xfrm>
          <a:prstGeom prst="straightConnector1">
            <a:avLst/>
          </a:prstGeom>
          <a:noFill/>
          <a:ln w="12700" cap="flat" cmpd="sng" algn="ctr">
            <a:solidFill>
              <a:srgbClr val="C00000"/>
            </a:solidFill>
            <a:prstDash val="solid"/>
            <a:miter lim="800000"/>
            <a:headEnd type="triangle" w="med" len="lg"/>
            <a:tailEnd type="triangle" w="med" len="lg"/>
          </a:ln>
          <a:effectLst/>
        </p:spPr>
      </p:cxnSp>
      <p:sp>
        <p:nvSpPr>
          <p:cNvPr id="68" name="Prostokąt 12">
            <a:extLst>
              <a:ext uri="{FF2B5EF4-FFF2-40B4-BE49-F238E27FC236}">
                <a16:creationId xmlns:a16="http://schemas.microsoft.com/office/drawing/2014/main" id="{CA5D1F80-1D83-4F47-9091-BB4301F11668}"/>
              </a:ext>
            </a:extLst>
          </p:cNvPr>
          <p:cNvSpPr>
            <a:spLocks noChangeArrowheads="1"/>
          </p:cNvSpPr>
          <p:nvPr/>
        </p:nvSpPr>
        <p:spPr bwMode="auto">
          <a:xfrm>
            <a:off x="6634703" y="1743349"/>
            <a:ext cx="29276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ts val="600"/>
              </a:spcBef>
              <a:spcAft>
                <a:spcPct val="0"/>
              </a:spcAft>
              <a:buFont typeface="Wingdings 2" pitchFamily="18" charset="2"/>
              <a:buNone/>
            </a:pPr>
            <a:r>
              <a:rPr lang="en-GB" altLang="pl-PL" sz="1100" b="1" dirty="0">
                <a:solidFill>
                  <a:srgbClr val="111516"/>
                </a:solidFill>
                <a:latin typeface="Arial" pitchFamily="34" charset="0"/>
              </a:rPr>
              <a:t>Purpose of financing</a:t>
            </a:r>
          </a:p>
        </p:txBody>
      </p:sp>
      <p:sp>
        <p:nvSpPr>
          <p:cNvPr id="69" name="Prostokąt 68">
            <a:extLst>
              <a:ext uri="{FF2B5EF4-FFF2-40B4-BE49-F238E27FC236}">
                <a16:creationId xmlns:a16="http://schemas.microsoft.com/office/drawing/2014/main" id="{581D50CA-A799-458A-91C3-B57BF076F4D2}"/>
              </a:ext>
            </a:extLst>
          </p:cNvPr>
          <p:cNvSpPr>
            <a:spLocks noChangeArrowheads="1"/>
          </p:cNvSpPr>
          <p:nvPr/>
        </p:nvSpPr>
        <p:spPr bwMode="auto">
          <a:xfrm>
            <a:off x="6634702" y="2004959"/>
            <a:ext cx="420474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just" eaLnBrk="1" fontAlgn="base" hangingPunct="1">
              <a:spcBef>
                <a:spcPts val="600"/>
              </a:spcBef>
              <a:spcAft>
                <a:spcPct val="0"/>
              </a:spcAft>
              <a:buFont typeface="Wingdings 2" pitchFamily="18" charset="2"/>
              <a:buNone/>
            </a:pPr>
            <a:r>
              <a:rPr lang="en-GB" altLang="pl-PL" sz="1200" dirty="0">
                <a:solidFill>
                  <a:prstClr val="white">
                    <a:lumMod val="50000"/>
                  </a:prstClr>
                </a:solidFill>
                <a:latin typeface="Calibri" panose="020F0502020204030204"/>
              </a:rPr>
              <a:t>Financing of invoices issued by the Exporter</a:t>
            </a:r>
          </a:p>
          <a:p>
            <a:pPr algn="just" eaLnBrk="1" fontAlgn="base" hangingPunct="1">
              <a:spcBef>
                <a:spcPts val="600"/>
              </a:spcBef>
              <a:spcAft>
                <a:spcPct val="0"/>
              </a:spcAft>
              <a:buFont typeface="Wingdings 2" pitchFamily="18" charset="2"/>
              <a:buNone/>
            </a:pPr>
            <a:endParaRPr lang="en-GB" altLang="pl-PL" sz="1000" dirty="0">
              <a:solidFill>
                <a:prstClr val="white">
                  <a:lumMod val="50000"/>
                </a:prstClr>
              </a:solidFill>
              <a:latin typeface="Calibri" panose="020F0502020204030204"/>
            </a:endParaRPr>
          </a:p>
          <a:p>
            <a:pPr algn="just" eaLnBrk="1" fontAlgn="base" hangingPunct="1">
              <a:spcBef>
                <a:spcPts val="600"/>
              </a:spcBef>
              <a:spcAft>
                <a:spcPct val="0"/>
              </a:spcAft>
              <a:buFont typeface="Wingdings 2" pitchFamily="18" charset="2"/>
              <a:buNone/>
            </a:pPr>
            <a:endParaRPr lang="en-GB" altLang="pl-PL" sz="1000" dirty="0">
              <a:solidFill>
                <a:prstClr val="white">
                  <a:lumMod val="50000"/>
                </a:prstClr>
              </a:solidFill>
              <a:latin typeface="Calibri" panose="020F0502020204030204"/>
            </a:endParaRPr>
          </a:p>
        </p:txBody>
      </p:sp>
      <p:cxnSp>
        <p:nvCxnSpPr>
          <p:cNvPr id="70" name="Łącznik prostoliniowy 17">
            <a:extLst>
              <a:ext uri="{FF2B5EF4-FFF2-40B4-BE49-F238E27FC236}">
                <a16:creationId xmlns:a16="http://schemas.microsoft.com/office/drawing/2014/main" id="{6BE2BB6F-7782-4164-B826-A558EC7AEC18}"/>
              </a:ext>
            </a:extLst>
          </p:cNvPr>
          <p:cNvCxnSpPr>
            <a:cxnSpLocks/>
          </p:cNvCxnSpPr>
          <p:nvPr/>
        </p:nvCxnSpPr>
        <p:spPr bwMode="auto">
          <a:xfrm>
            <a:off x="6739527" y="2003437"/>
            <a:ext cx="2493461" cy="0"/>
          </a:xfrm>
          <a:prstGeom prst="line">
            <a:avLst/>
          </a:prstGeom>
          <a:noFill/>
          <a:ln w="6350" cap="flat" cmpd="sng" algn="ctr">
            <a:solidFill>
              <a:srgbClr val="C00000"/>
            </a:solidFill>
            <a:prstDash val="dash"/>
            <a:miter lim="800000"/>
          </a:ln>
          <a:effectLst/>
        </p:spPr>
      </p:cxnSp>
      <p:cxnSp>
        <p:nvCxnSpPr>
          <p:cNvPr id="71" name="Łącznik prostoliniowy 17">
            <a:extLst>
              <a:ext uri="{FF2B5EF4-FFF2-40B4-BE49-F238E27FC236}">
                <a16:creationId xmlns:a16="http://schemas.microsoft.com/office/drawing/2014/main" id="{7527F896-1324-47BF-BED7-3B6CE3B5BDE8}"/>
              </a:ext>
            </a:extLst>
          </p:cNvPr>
          <p:cNvCxnSpPr>
            <a:cxnSpLocks/>
          </p:cNvCxnSpPr>
          <p:nvPr/>
        </p:nvCxnSpPr>
        <p:spPr bwMode="auto">
          <a:xfrm>
            <a:off x="6714388" y="3250996"/>
            <a:ext cx="2493461" cy="0"/>
          </a:xfrm>
          <a:prstGeom prst="line">
            <a:avLst/>
          </a:prstGeom>
          <a:noFill/>
          <a:ln w="6350" cap="flat" cmpd="sng" algn="ctr">
            <a:solidFill>
              <a:srgbClr val="C00000"/>
            </a:solidFill>
            <a:prstDash val="dash"/>
            <a:miter lim="800000"/>
          </a:ln>
          <a:effectLst/>
        </p:spPr>
      </p:cxnSp>
      <p:cxnSp>
        <p:nvCxnSpPr>
          <p:cNvPr id="76" name="Łącznik prosty ze strzałką 75">
            <a:extLst>
              <a:ext uri="{FF2B5EF4-FFF2-40B4-BE49-F238E27FC236}">
                <a16:creationId xmlns:a16="http://schemas.microsoft.com/office/drawing/2014/main" id="{185ABE57-13B1-4770-8C55-C79F0FD441B6}"/>
              </a:ext>
            </a:extLst>
          </p:cNvPr>
          <p:cNvCxnSpPr>
            <a:cxnSpLocks/>
          </p:cNvCxnSpPr>
          <p:nvPr/>
        </p:nvCxnSpPr>
        <p:spPr>
          <a:xfrm flipH="1">
            <a:off x="4596967" y="2558121"/>
            <a:ext cx="808400" cy="1068697"/>
          </a:xfrm>
          <a:prstGeom prst="straightConnector1">
            <a:avLst/>
          </a:prstGeom>
          <a:noFill/>
          <a:ln w="12700" cap="flat" cmpd="sng" algn="ctr">
            <a:solidFill>
              <a:srgbClr val="C00000"/>
            </a:solidFill>
            <a:prstDash val="solid"/>
            <a:miter lim="800000"/>
            <a:headEnd type="none" w="med" len="lg"/>
            <a:tailEnd type="triangle" w="med" len="lg"/>
          </a:ln>
          <a:effectLst/>
        </p:spPr>
      </p:cxnSp>
      <p:cxnSp>
        <p:nvCxnSpPr>
          <p:cNvPr id="77" name="Łącznik prosty ze strzałką 76">
            <a:extLst>
              <a:ext uri="{FF2B5EF4-FFF2-40B4-BE49-F238E27FC236}">
                <a16:creationId xmlns:a16="http://schemas.microsoft.com/office/drawing/2014/main" id="{DD5B3E37-BDA7-4F10-A132-4956E37BE1C7}"/>
              </a:ext>
            </a:extLst>
          </p:cNvPr>
          <p:cNvCxnSpPr>
            <a:cxnSpLocks/>
          </p:cNvCxnSpPr>
          <p:nvPr/>
        </p:nvCxnSpPr>
        <p:spPr>
          <a:xfrm flipH="1" flipV="1">
            <a:off x="2189884" y="2655829"/>
            <a:ext cx="755265" cy="945313"/>
          </a:xfrm>
          <a:prstGeom prst="straightConnector1">
            <a:avLst/>
          </a:prstGeom>
          <a:noFill/>
          <a:ln w="12700" cap="flat" cmpd="sng" algn="ctr">
            <a:solidFill>
              <a:srgbClr val="C00000"/>
            </a:solidFill>
            <a:prstDash val="solid"/>
            <a:miter lim="800000"/>
            <a:headEnd type="none" w="med" len="lg"/>
            <a:tailEnd type="triangle" w="med" len="lg"/>
          </a:ln>
          <a:effectLst/>
        </p:spPr>
      </p:cxnSp>
      <p:sp>
        <p:nvSpPr>
          <p:cNvPr id="58" name="Schemat blokowy: łącznik 57">
            <a:extLst>
              <a:ext uri="{FF2B5EF4-FFF2-40B4-BE49-F238E27FC236}">
                <a16:creationId xmlns:a16="http://schemas.microsoft.com/office/drawing/2014/main" id="{95B34752-DE0E-46B6-BC5C-E6D9CF03FFE5}"/>
              </a:ext>
            </a:extLst>
          </p:cNvPr>
          <p:cNvSpPr/>
          <p:nvPr/>
        </p:nvSpPr>
        <p:spPr>
          <a:xfrm>
            <a:off x="4539818" y="3037191"/>
            <a:ext cx="219893" cy="215169"/>
          </a:xfrm>
          <a:prstGeom prst="flowChartConnector">
            <a:avLst/>
          </a:prstGeom>
          <a:solidFill>
            <a:sysClr val="window" lastClr="FFFFFF"/>
          </a:solidFill>
          <a:ln w="1270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5</a:t>
            </a:r>
          </a:p>
        </p:txBody>
      </p:sp>
      <p:sp>
        <p:nvSpPr>
          <p:cNvPr id="29" name="Tytuł 5">
            <a:extLst>
              <a:ext uri="{FF2B5EF4-FFF2-40B4-BE49-F238E27FC236}">
                <a16:creationId xmlns:a16="http://schemas.microsoft.com/office/drawing/2014/main" id="{34103E3C-6973-4FE6-A41C-7CA94681DB0D}"/>
              </a:ext>
            </a:extLst>
          </p:cNvPr>
          <p:cNvSpPr>
            <a:spLocks noGrp="1"/>
          </p:cNvSpPr>
          <p:nvPr>
            <p:ph type="title"/>
          </p:nvPr>
        </p:nvSpPr>
        <p:spPr>
          <a:xfrm>
            <a:off x="602652" y="178424"/>
            <a:ext cx="11210925" cy="699495"/>
          </a:xfrm>
        </p:spPr>
        <p:txBody>
          <a:bodyPr/>
          <a:lstStyle/>
          <a:p>
            <a:pPr lvl="0" algn="ctr"/>
            <a:r>
              <a:rPr lang="en-GB" sz="2000" dirty="0">
                <a:solidFill>
                  <a:srgbClr val="000000"/>
                </a:solidFill>
              </a:rPr>
              <a:t>Case 1: Spanish capital group manufactures means of transport in Poland and exports them to Estonia</a:t>
            </a:r>
            <a:br>
              <a:rPr lang="en-GB" sz="2000" dirty="0">
                <a:solidFill>
                  <a:srgbClr val="000000"/>
                </a:solidFill>
              </a:rPr>
            </a:br>
            <a:endParaRPr lang="en-GB" sz="2000" b="1" dirty="0">
              <a:solidFill>
                <a:srgbClr val="000000"/>
              </a:solidFill>
            </a:endParaRPr>
          </a:p>
        </p:txBody>
      </p:sp>
      <p:cxnSp>
        <p:nvCxnSpPr>
          <p:cNvPr id="30" name="Łącznik prosty ze strzałką 29">
            <a:extLst>
              <a:ext uri="{FF2B5EF4-FFF2-40B4-BE49-F238E27FC236}">
                <a16:creationId xmlns:a16="http://schemas.microsoft.com/office/drawing/2014/main" id="{4C5B566C-FCB4-496F-95DB-EC38C11EA05A}"/>
              </a:ext>
            </a:extLst>
          </p:cNvPr>
          <p:cNvCxnSpPr>
            <a:cxnSpLocks/>
          </p:cNvCxnSpPr>
          <p:nvPr/>
        </p:nvCxnSpPr>
        <p:spPr>
          <a:xfrm>
            <a:off x="2606056" y="2591080"/>
            <a:ext cx="718169" cy="945313"/>
          </a:xfrm>
          <a:prstGeom prst="straightConnector1">
            <a:avLst/>
          </a:prstGeom>
          <a:noFill/>
          <a:ln w="12700" cap="flat" cmpd="sng" algn="ctr">
            <a:solidFill>
              <a:srgbClr val="C00000"/>
            </a:solidFill>
            <a:prstDash val="solid"/>
            <a:miter lim="800000"/>
            <a:headEnd type="triangle" w="med" len="lg"/>
            <a:tailEnd type="triangle" w="med" len="lg"/>
          </a:ln>
          <a:effectLst/>
        </p:spPr>
      </p:cxnSp>
      <p:sp>
        <p:nvSpPr>
          <p:cNvPr id="35" name="Schemat blokowy: łącznik 34">
            <a:extLst>
              <a:ext uri="{FF2B5EF4-FFF2-40B4-BE49-F238E27FC236}">
                <a16:creationId xmlns:a16="http://schemas.microsoft.com/office/drawing/2014/main" id="{829FA711-F093-43CB-9BDB-79A3C68E297D}"/>
              </a:ext>
            </a:extLst>
          </p:cNvPr>
          <p:cNvSpPr/>
          <p:nvPr/>
        </p:nvSpPr>
        <p:spPr>
          <a:xfrm>
            <a:off x="3152041" y="3015942"/>
            <a:ext cx="229333" cy="220287"/>
          </a:xfrm>
          <a:prstGeom prst="flowChartConnector">
            <a:avLst/>
          </a:prstGeom>
          <a:solidFill>
            <a:sysClr val="window" lastClr="FFFFFF"/>
          </a:solidFill>
          <a:ln w="1270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2</a:t>
            </a:r>
          </a:p>
        </p:txBody>
      </p:sp>
    </p:spTree>
    <p:extLst>
      <p:ext uri="{BB962C8B-B14F-4D97-AF65-F5344CB8AC3E}">
        <p14:creationId xmlns:p14="http://schemas.microsoft.com/office/powerpoint/2010/main" val="329485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5646" name="Picture 30" descr="Eurasia | Map outline, Asia map, Map">
            <a:extLst>
              <a:ext uri="{FF2B5EF4-FFF2-40B4-BE49-F238E27FC236}">
                <a16:creationId xmlns:a16="http://schemas.microsoft.com/office/drawing/2014/main" id="{F233D965-E575-45B1-8D07-A7ACA4F0A2E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94029" y="654177"/>
            <a:ext cx="4461408" cy="325045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descr="Geo Map - Europe - Poland">
            <a:extLst>
              <a:ext uri="{FF2B5EF4-FFF2-40B4-BE49-F238E27FC236}">
                <a16:creationId xmlns:a16="http://schemas.microsoft.com/office/drawing/2014/main" id="{A665DDFA-2C5E-4B45-BF09-4DEB8E5806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8211" y="820143"/>
            <a:ext cx="2633371" cy="244123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9" name="Obi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51" name="Obraz 150"/>
          <p:cNvPicPr/>
          <p:nvPr/>
        </p:nvPicPr>
        <p:blipFill rotWithShape="1">
          <a:blip r:embed="rId9">
            <a:extLst>
              <a:ext uri="{28A0092B-C50C-407E-A947-70E740481C1C}">
                <a14:useLocalDpi xmlns:a14="http://schemas.microsoft.com/office/drawing/2010/main" val="0"/>
              </a:ext>
            </a:extLst>
          </a:blip>
          <a:srcRect l="62014" b="51403"/>
          <a:stretch/>
        </p:blipFill>
        <p:spPr bwMode="auto">
          <a:xfrm>
            <a:off x="11473378" y="531024"/>
            <a:ext cx="706057" cy="1157468"/>
          </a:xfrm>
          <a:prstGeom prst="rect">
            <a:avLst/>
          </a:prstGeom>
          <a:noFill/>
        </p:spPr>
      </p:pic>
      <p:sp>
        <p:nvSpPr>
          <p:cNvPr id="120" name="Tytuł 5">
            <a:extLst>
              <a:ext uri="{FF2B5EF4-FFF2-40B4-BE49-F238E27FC236}">
                <a16:creationId xmlns:a16="http://schemas.microsoft.com/office/drawing/2014/main" id="{7FBB928C-12E5-4639-BBE7-F4656A58C202}"/>
              </a:ext>
            </a:extLst>
          </p:cNvPr>
          <p:cNvSpPr>
            <a:spLocks noGrp="1"/>
          </p:cNvSpPr>
          <p:nvPr>
            <p:ph type="title"/>
          </p:nvPr>
        </p:nvSpPr>
        <p:spPr>
          <a:xfrm>
            <a:off x="184377" y="181277"/>
            <a:ext cx="11603792" cy="699495"/>
          </a:xfrm>
        </p:spPr>
        <p:txBody>
          <a:bodyPr/>
          <a:lstStyle/>
          <a:p>
            <a:pPr lvl="0" algn="ctr"/>
            <a:r>
              <a:rPr lang="en-GB" sz="2000" dirty="0">
                <a:latin typeface="+mn-lt"/>
              </a:rPr>
              <a:t>Case 2:</a:t>
            </a:r>
            <a:r>
              <a:rPr lang="en-GB" sz="1600" dirty="0">
                <a:latin typeface="+mn-lt"/>
              </a:rPr>
              <a:t>  </a:t>
            </a:r>
            <a:r>
              <a:rPr lang="en-GB" sz="2000" dirty="0">
                <a:effectLst/>
                <a:latin typeface="+mn-lt"/>
                <a:ea typeface="Calibri" panose="020F0502020204030204" pitchFamily="34" charset="0"/>
                <a:cs typeface="Times New Roman" panose="02020603050405020304" pitchFamily="18" charset="0"/>
              </a:rPr>
              <a:t>Asian and European manufacturers deliver to a clothing company based in Poland</a:t>
            </a:r>
            <a:br>
              <a:rPr lang="en-GB" sz="2000" dirty="0">
                <a:solidFill>
                  <a:srgbClr val="000000"/>
                </a:solidFill>
              </a:rPr>
            </a:br>
            <a:endParaRPr lang="en-GB" sz="2000" b="1" dirty="0">
              <a:solidFill>
                <a:srgbClr val="000000"/>
              </a:solidFill>
            </a:endParaRPr>
          </a:p>
        </p:txBody>
      </p:sp>
      <p:cxnSp>
        <p:nvCxnSpPr>
          <p:cNvPr id="121" name="Łącznik prosty 120"/>
          <p:cNvCxnSpPr/>
          <p:nvPr/>
        </p:nvCxnSpPr>
        <p:spPr>
          <a:xfrm>
            <a:off x="-112115" y="550605"/>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pic>
        <p:nvPicPr>
          <p:cNvPr id="24" name="Obraz 23">
            <a:extLst>
              <a:ext uri="{FF2B5EF4-FFF2-40B4-BE49-F238E27FC236}">
                <a16:creationId xmlns:a16="http://schemas.microsoft.com/office/drawing/2014/main" id="{3D4574ED-54F5-4C4E-AE20-4363B2C00E02}"/>
              </a:ext>
            </a:extLst>
          </p:cNvPr>
          <p:cNvPicPr preferRelativeResize="0">
            <a:picLocks/>
          </p:cNvPicPr>
          <p:nvPr/>
        </p:nvPicPr>
        <p:blipFill>
          <a:blip r:embed="rId10">
            <a:extLst>
              <a:ext uri="{28A0092B-C50C-407E-A947-70E740481C1C}">
                <a14:useLocalDpi xmlns:a14="http://schemas.microsoft.com/office/drawing/2010/main" val="0"/>
              </a:ext>
            </a:extLst>
          </a:blip>
          <a:stretch>
            <a:fillRect/>
          </a:stretch>
        </p:blipFill>
        <p:spPr>
          <a:xfrm>
            <a:off x="2249424" y="2037967"/>
            <a:ext cx="317362" cy="181993"/>
          </a:xfrm>
          <a:prstGeom prst="rect">
            <a:avLst/>
          </a:prstGeom>
          <a:ln w="3175">
            <a:solidFill>
              <a:srgbClr val="C00000"/>
            </a:solidFill>
          </a:ln>
        </p:spPr>
      </p:pic>
      <p:sp>
        <p:nvSpPr>
          <p:cNvPr id="23" name="pole tekstowe 22">
            <a:extLst>
              <a:ext uri="{FF2B5EF4-FFF2-40B4-BE49-F238E27FC236}">
                <a16:creationId xmlns:a16="http://schemas.microsoft.com/office/drawing/2014/main" id="{C1A33552-8A18-4D72-9FBC-F6722193A61B}"/>
              </a:ext>
            </a:extLst>
          </p:cNvPr>
          <p:cNvSpPr txBox="1"/>
          <p:nvPr/>
        </p:nvSpPr>
        <p:spPr>
          <a:xfrm>
            <a:off x="8185092" y="4374436"/>
            <a:ext cx="3868230" cy="17213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200" b="1" dirty="0">
              <a:solidFill>
                <a:sysClr val="windowText" lastClr="000000"/>
              </a:solidFill>
            </a:endParaRPr>
          </a:p>
          <a:p>
            <a:pPr algn="ctr"/>
            <a:endParaRPr lang="en-GB" sz="1200" b="1" dirty="0">
              <a:solidFill>
                <a:sysClr val="windowText" lastClr="000000"/>
              </a:solidFill>
            </a:endParaRPr>
          </a:p>
          <a:p>
            <a:pPr algn="ctr"/>
            <a:endParaRPr lang="en-GB" sz="1200" b="1" dirty="0">
              <a:solidFill>
                <a:sysClr val="windowText" lastClr="000000"/>
              </a:solidFill>
            </a:endParaRPr>
          </a:p>
          <a:p>
            <a:pPr algn="ctr"/>
            <a:endParaRPr lang="en-GB" sz="1200" b="1" dirty="0">
              <a:solidFill>
                <a:sysClr val="windowText" lastClr="000000"/>
              </a:solidFill>
            </a:endParaRPr>
          </a:p>
          <a:p>
            <a:pPr algn="ctr"/>
            <a:endParaRPr lang="en-GB" sz="1200" b="1" dirty="0">
              <a:solidFill>
                <a:sysClr val="windowText" lastClr="000000"/>
              </a:solidFill>
            </a:endParaRPr>
          </a:p>
        </p:txBody>
      </p:sp>
      <p:pic>
        <p:nvPicPr>
          <p:cNvPr id="27" name="Obraz 26">
            <a:extLst>
              <a:ext uri="{FF2B5EF4-FFF2-40B4-BE49-F238E27FC236}">
                <a16:creationId xmlns:a16="http://schemas.microsoft.com/office/drawing/2014/main" id="{3CB0BCB0-361A-4028-84BC-FBFD057BE5DE}"/>
              </a:ext>
            </a:extLst>
          </p:cNvPr>
          <p:cNvPicPr>
            <a:picLocks noChangeAspect="1"/>
          </p:cNvPicPr>
          <p:nvPr/>
        </p:nvPicPr>
        <p:blipFill>
          <a:blip r:embed="rId11"/>
          <a:stretch>
            <a:fillRect/>
          </a:stretch>
        </p:blipFill>
        <p:spPr>
          <a:xfrm>
            <a:off x="8878669" y="2903391"/>
            <a:ext cx="348675" cy="305874"/>
          </a:xfrm>
          <a:prstGeom prst="rect">
            <a:avLst/>
          </a:prstGeom>
        </p:spPr>
      </p:pic>
      <p:pic>
        <p:nvPicPr>
          <p:cNvPr id="29" name="Obraz 28" descr="Obraz zawierający tekst, clipart, grafika wektorowa&#10;&#10;Opis wygenerowany automatycznie">
            <a:extLst>
              <a:ext uri="{FF2B5EF4-FFF2-40B4-BE49-F238E27FC236}">
                <a16:creationId xmlns:a16="http://schemas.microsoft.com/office/drawing/2014/main" id="{6F6A8291-0A40-4397-9BB0-C2842C3F7E78}"/>
              </a:ext>
            </a:extLst>
          </p:cNvPr>
          <p:cNvPicPr>
            <a:picLocks noChangeAspect="1"/>
          </p:cNvPicPr>
          <p:nvPr/>
        </p:nvPicPr>
        <p:blipFill>
          <a:blip r:embed="rId12"/>
          <a:stretch>
            <a:fillRect/>
          </a:stretch>
        </p:blipFill>
        <p:spPr>
          <a:xfrm>
            <a:off x="7927200" y="2582637"/>
            <a:ext cx="257892" cy="154117"/>
          </a:xfrm>
          <a:prstGeom prst="rect">
            <a:avLst/>
          </a:prstGeom>
        </p:spPr>
      </p:pic>
      <p:pic>
        <p:nvPicPr>
          <p:cNvPr id="49" name="Obraz 48">
            <a:extLst>
              <a:ext uri="{FF2B5EF4-FFF2-40B4-BE49-F238E27FC236}">
                <a16:creationId xmlns:a16="http://schemas.microsoft.com/office/drawing/2014/main" id="{4F084D65-7D3E-4B83-B7D8-2B7C09A96E94}"/>
              </a:ext>
            </a:extLst>
          </p:cNvPr>
          <p:cNvPicPr>
            <a:picLocks noChangeAspect="1"/>
          </p:cNvPicPr>
          <p:nvPr/>
        </p:nvPicPr>
        <p:blipFill>
          <a:blip r:embed="rId13"/>
          <a:stretch>
            <a:fillRect/>
          </a:stretch>
        </p:blipFill>
        <p:spPr>
          <a:xfrm>
            <a:off x="9225253" y="2875013"/>
            <a:ext cx="277459" cy="142507"/>
          </a:xfrm>
          <a:prstGeom prst="rect">
            <a:avLst/>
          </a:prstGeom>
        </p:spPr>
      </p:pic>
      <p:pic>
        <p:nvPicPr>
          <p:cNvPr id="51" name="Obraz 50">
            <a:extLst>
              <a:ext uri="{FF2B5EF4-FFF2-40B4-BE49-F238E27FC236}">
                <a16:creationId xmlns:a16="http://schemas.microsoft.com/office/drawing/2014/main" id="{5CA39FD8-29C7-458B-A4A8-E7AE3CD0A2F4}"/>
              </a:ext>
            </a:extLst>
          </p:cNvPr>
          <p:cNvPicPr>
            <a:picLocks noChangeAspect="1"/>
          </p:cNvPicPr>
          <p:nvPr/>
        </p:nvPicPr>
        <p:blipFill>
          <a:blip r:embed="rId14"/>
          <a:stretch>
            <a:fillRect/>
          </a:stretch>
        </p:blipFill>
        <p:spPr>
          <a:xfrm>
            <a:off x="9715546" y="2658256"/>
            <a:ext cx="286600" cy="185974"/>
          </a:xfrm>
          <a:prstGeom prst="rect">
            <a:avLst/>
          </a:prstGeom>
        </p:spPr>
      </p:pic>
      <p:pic>
        <p:nvPicPr>
          <p:cNvPr id="53" name="Obraz 52">
            <a:extLst>
              <a:ext uri="{FF2B5EF4-FFF2-40B4-BE49-F238E27FC236}">
                <a16:creationId xmlns:a16="http://schemas.microsoft.com/office/drawing/2014/main" id="{8A87FFD0-48DD-406E-AF9B-F767A450D9FA}"/>
              </a:ext>
            </a:extLst>
          </p:cNvPr>
          <p:cNvPicPr>
            <a:picLocks noChangeAspect="1"/>
          </p:cNvPicPr>
          <p:nvPr/>
        </p:nvPicPr>
        <p:blipFill>
          <a:blip r:embed="rId15"/>
          <a:stretch>
            <a:fillRect/>
          </a:stretch>
        </p:blipFill>
        <p:spPr>
          <a:xfrm>
            <a:off x="7263872" y="2153972"/>
            <a:ext cx="257892" cy="198926"/>
          </a:xfrm>
          <a:prstGeom prst="rect">
            <a:avLst/>
          </a:prstGeom>
        </p:spPr>
      </p:pic>
      <p:pic>
        <p:nvPicPr>
          <p:cNvPr id="55" name="Obraz 54">
            <a:extLst>
              <a:ext uri="{FF2B5EF4-FFF2-40B4-BE49-F238E27FC236}">
                <a16:creationId xmlns:a16="http://schemas.microsoft.com/office/drawing/2014/main" id="{FBF9EB20-3463-499B-9724-4795A6F249BD}"/>
              </a:ext>
            </a:extLst>
          </p:cNvPr>
          <p:cNvPicPr>
            <a:picLocks noChangeAspect="1"/>
          </p:cNvPicPr>
          <p:nvPr/>
        </p:nvPicPr>
        <p:blipFill>
          <a:blip r:embed="rId16"/>
          <a:stretch>
            <a:fillRect/>
          </a:stretch>
        </p:blipFill>
        <p:spPr>
          <a:xfrm>
            <a:off x="7565097" y="2352898"/>
            <a:ext cx="257892" cy="185974"/>
          </a:xfrm>
          <a:prstGeom prst="rect">
            <a:avLst/>
          </a:prstGeom>
        </p:spPr>
      </p:pic>
      <p:cxnSp>
        <p:nvCxnSpPr>
          <p:cNvPr id="3" name="Łącznik prosty ze strzałką 2">
            <a:extLst>
              <a:ext uri="{FF2B5EF4-FFF2-40B4-BE49-F238E27FC236}">
                <a16:creationId xmlns:a16="http://schemas.microsoft.com/office/drawing/2014/main" id="{71FFDA09-E928-4D02-A85F-DC99E13C06DA}"/>
              </a:ext>
            </a:extLst>
          </p:cNvPr>
          <p:cNvCxnSpPr>
            <a:cxnSpLocks/>
          </p:cNvCxnSpPr>
          <p:nvPr/>
        </p:nvCxnSpPr>
        <p:spPr>
          <a:xfrm flipH="1">
            <a:off x="3521582" y="2075801"/>
            <a:ext cx="3216093" cy="10063"/>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 name="pole tekstowe 3">
            <a:extLst>
              <a:ext uri="{FF2B5EF4-FFF2-40B4-BE49-F238E27FC236}">
                <a16:creationId xmlns:a16="http://schemas.microsoft.com/office/drawing/2014/main" id="{2D27D938-1621-460A-9382-7DCA47B7F443}"/>
              </a:ext>
            </a:extLst>
          </p:cNvPr>
          <p:cNvSpPr txBox="1"/>
          <p:nvPr/>
        </p:nvSpPr>
        <p:spPr>
          <a:xfrm>
            <a:off x="7061201" y="4926625"/>
            <a:ext cx="4585500" cy="4819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just">
              <a:lnSpc>
                <a:spcPct val="150000"/>
              </a:lnSpc>
            </a:pPr>
            <a:endParaRPr lang="en-GB" sz="1200" b="1" dirty="0">
              <a:solidFill>
                <a:srgbClr val="C00000"/>
              </a:solidFill>
            </a:endParaRPr>
          </a:p>
          <a:p>
            <a:pPr algn="just">
              <a:lnSpc>
                <a:spcPct val="150000"/>
              </a:lnSpc>
            </a:pPr>
            <a:r>
              <a:rPr lang="en-GB" sz="1200" b="1" dirty="0">
                <a:solidFill>
                  <a:srgbClr val="C00000"/>
                </a:solidFill>
              </a:rPr>
              <a:t>BENEFITS for Exporters / Borrowers:</a:t>
            </a:r>
          </a:p>
          <a:p>
            <a:pPr marL="171450" indent="-171450" algn="just">
              <a:lnSpc>
                <a:spcPct val="150000"/>
              </a:lnSpc>
              <a:buFont typeface="Arial" panose="020B0604020202020204" pitchFamily="34" charset="0"/>
              <a:buChar char="•"/>
            </a:pPr>
            <a:endParaRPr lang="en-GB" sz="1200" b="1" dirty="0">
              <a:solidFill>
                <a:sysClr val="windowText" lastClr="000000"/>
              </a:solidFill>
            </a:endParaRPr>
          </a:p>
          <a:p>
            <a:pPr marL="171450" indent="-171450" algn="just">
              <a:lnSpc>
                <a:spcPct val="150000"/>
              </a:lnSpc>
              <a:buFont typeface="Arial" panose="020B0604020202020204" pitchFamily="34" charset="0"/>
              <a:buChar char="•"/>
            </a:pPr>
            <a:r>
              <a:rPr lang="en-GB" sz="1200" dirty="0">
                <a:solidFill>
                  <a:sysClr val="windowText" lastClr="000000"/>
                </a:solidFill>
              </a:rPr>
              <a:t>Exporters: </a:t>
            </a:r>
            <a:r>
              <a:rPr lang="en-GB" sz="1200" b="1" dirty="0">
                <a:solidFill>
                  <a:sysClr val="windowText" lastClr="000000"/>
                </a:solidFill>
              </a:rPr>
              <a:t>SME</a:t>
            </a:r>
            <a:r>
              <a:rPr lang="en-GB" sz="1200" dirty="0">
                <a:solidFill>
                  <a:sysClr val="windowText" lastClr="000000"/>
                </a:solidFill>
              </a:rPr>
              <a:t> </a:t>
            </a:r>
            <a:r>
              <a:rPr lang="en-GB" sz="1200" b="1" dirty="0">
                <a:solidFill>
                  <a:sysClr val="windowText" lastClr="000000"/>
                </a:solidFill>
              </a:rPr>
              <a:t>companies based in Bangladesh, China, Germany, Hungary, India, Turkey</a:t>
            </a:r>
          </a:p>
          <a:p>
            <a:pPr marL="285750" indent="-285750" algn="just">
              <a:lnSpc>
                <a:spcPct val="150000"/>
              </a:lnSpc>
              <a:buFont typeface="Arial" panose="020B0604020202020204" pitchFamily="34" charset="0"/>
              <a:buChar char="•"/>
            </a:pPr>
            <a:r>
              <a:rPr lang="en-GB" sz="1200" dirty="0">
                <a:solidFill>
                  <a:sysClr val="windowText" lastClr="000000"/>
                </a:solidFill>
              </a:rPr>
              <a:t>Invoice paid earlier on non-recourse basis</a:t>
            </a:r>
          </a:p>
          <a:p>
            <a:pPr marL="285750" indent="-285750" algn="just">
              <a:lnSpc>
                <a:spcPct val="150000"/>
              </a:lnSpc>
              <a:buFont typeface="Arial" panose="020B0604020202020204" pitchFamily="34" charset="0"/>
              <a:buChar char="•"/>
            </a:pPr>
            <a:r>
              <a:rPr lang="en-GB" sz="1200" dirty="0">
                <a:solidFill>
                  <a:sysClr val="windowText" lastClr="000000"/>
                </a:solidFill>
              </a:rPr>
              <a:t>Cash-flow optimization &amp; balance sheet improvement</a:t>
            </a:r>
          </a:p>
          <a:p>
            <a:pPr marL="285750" indent="-285750" algn="just">
              <a:lnSpc>
                <a:spcPct val="150000"/>
              </a:lnSpc>
              <a:buFont typeface="Arial" panose="020B0604020202020204" pitchFamily="34" charset="0"/>
              <a:buChar char="•"/>
            </a:pPr>
            <a:r>
              <a:rPr lang="en-GB" sz="1200" dirty="0">
                <a:solidFill>
                  <a:sysClr val="windowText" lastClr="000000"/>
                </a:solidFill>
              </a:rPr>
              <a:t>Access to financing without the need of the Bank financial analysis</a:t>
            </a:r>
          </a:p>
          <a:p>
            <a:pPr marL="285750" indent="-285750" algn="just">
              <a:lnSpc>
                <a:spcPct val="150000"/>
              </a:lnSpc>
              <a:buFont typeface="Arial" panose="020B0604020202020204" pitchFamily="34" charset="0"/>
              <a:buChar char="•"/>
            </a:pPr>
            <a:r>
              <a:rPr lang="en-GB" sz="1200" dirty="0">
                <a:solidFill>
                  <a:sysClr val="windowText" lastClr="000000"/>
                </a:solidFill>
              </a:rPr>
              <a:t>Free of charge access 24/7 on-line to the Open Platform for Financing</a:t>
            </a:r>
          </a:p>
          <a:p>
            <a:pPr marL="285750" indent="-285750" algn="just">
              <a:lnSpc>
                <a:spcPct val="150000"/>
              </a:lnSpc>
              <a:buFont typeface="Arial" panose="020B0604020202020204" pitchFamily="34" charset="0"/>
              <a:buChar char="•"/>
            </a:pPr>
            <a:r>
              <a:rPr lang="en-GB" sz="1200" dirty="0">
                <a:solidFill>
                  <a:sysClr val="windowText" lastClr="000000"/>
                </a:solidFill>
              </a:rPr>
              <a:t>International service desk &amp; point of contact</a:t>
            </a:r>
          </a:p>
        </p:txBody>
      </p:sp>
      <p:pic>
        <p:nvPicPr>
          <p:cNvPr id="34" name="Obraz 33">
            <a:extLst>
              <a:ext uri="{FF2B5EF4-FFF2-40B4-BE49-F238E27FC236}">
                <a16:creationId xmlns:a16="http://schemas.microsoft.com/office/drawing/2014/main" id="{C1F5973A-F5CF-40C7-838E-ADE86977CD27}"/>
              </a:ext>
            </a:extLst>
          </p:cNvPr>
          <p:cNvPicPr>
            <a:picLocks noChangeAspect="1"/>
          </p:cNvPicPr>
          <p:nvPr/>
        </p:nvPicPr>
        <p:blipFill>
          <a:blip r:embed="rId17"/>
          <a:stretch>
            <a:fillRect/>
          </a:stretch>
        </p:blipFill>
        <p:spPr>
          <a:xfrm>
            <a:off x="10732175" y="2489099"/>
            <a:ext cx="724813" cy="724813"/>
          </a:xfrm>
          <a:prstGeom prst="rect">
            <a:avLst/>
          </a:prstGeom>
        </p:spPr>
      </p:pic>
      <p:pic>
        <p:nvPicPr>
          <p:cNvPr id="37" name="Obraz 36">
            <a:extLst>
              <a:ext uri="{FF2B5EF4-FFF2-40B4-BE49-F238E27FC236}">
                <a16:creationId xmlns:a16="http://schemas.microsoft.com/office/drawing/2014/main" id="{2F9AF464-FBB0-4D93-886C-1EAD57AF3D67}"/>
              </a:ext>
            </a:extLst>
          </p:cNvPr>
          <p:cNvPicPr>
            <a:picLocks noChangeAspect="1"/>
          </p:cNvPicPr>
          <p:nvPr/>
        </p:nvPicPr>
        <p:blipFill>
          <a:blip r:embed="rId18"/>
          <a:stretch>
            <a:fillRect/>
          </a:stretch>
        </p:blipFill>
        <p:spPr>
          <a:xfrm>
            <a:off x="11034441" y="2525265"/>
            <a:ext cx="699495" cy="699495"/>
          </a:xfrm>
          <a:prstGeom prst="rect">
            <a:avLst/>
          </a:prstGeom>
        </p:spPr>
      </p:pic>
      <p:sp>
        <p:nvSpPr>
          <p:cNvPr id="39" name="pole tekstowe 38">
            <a:extLst>
              <a:ext uri="{FF2B5EF4-FFF2-40B4-BE49-F238E27FC236}">
                <a16:creationId xmlns:a16="http://schemas.microsoft.com/office/drawing/2014/main" id="{211DE176-C0AD-412E-A974-EF0496463ECB}"/>
              </a:ext>
            </a:extLst>
          </p:cNvPr>
          <p:cNvSpPr txBox="1"/>
          <p:nvPr/>
        </p:nvSpPr>
        <p:spPr>
          <a:xfrm>
            <a:off x="4143284" y="2325416"/>
            <a:ext cx="2473665"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b="1" dirty="0">
                <a:solidFill>
                  <a:sysClr val="windowText" lastClr="000000"/>
                </a:solidFill>
              </a:rPr>
              <a:t>Suppliers financed by Bank Pekao </a:t>
            </a:r>
            <a:r>
              <a:rPr lang="en-GB" sz="1600" dirty="0">
                <a:solidFill>
                  <a:sysClr val="windowText" lastClr="000000"/>
                </a:solidFill>
              </a:rPr>
              <a:t>via Open Platform for Financing</a:t>
            </a:r>
          </a:p>
        </p:txBody>
      </p:sp>
      <p:sp>
        <p:nvSpPr>
          <p:cNvPr id="40" name="pole tekstowe 39">
            <a:extLst>
              <a:ext uri="{FF2B5EF4-FFF2-40B4-BE49-F238E27FC236}">
                <a16:creationId xmlns:a16="http://schemas.microsoft.com/office/drawing/2014/main" id="{84B094E9-3BF5-4D98-B8DA-40022D5428FB}"/>
              </a:ext>
            </a:extLst>
          </p:cNvPr>
          <p:cNvSpPr txBox="1"/>
          <p:nvPr/>
        </p:nvSpPr>
        <p:spPr>
          <a:xfrm>
            <a:off x="3605624" y="788618"/>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GB" sz="1400" b="1" dirty="0">
                <a:solidFill>
                  <a:sysClr val="windowText" lastClr="000000"/>
                </a:solidFill>
              </a:rPr>
              <a:t>Delivery of clothing manufactured in Asia &amp; Europe</a:t>
            </a:r>
          </a:p>
        </p:txBody>
      </p:sp>
      <p:sp>
        <p:nvSpPr>
          <p:cNvPr id="41" name="pole tekstowe 40">
            <a:extLst>
              <a:ext uri="{FF2B5EF4-FFF2-40B4-BE49-F238E27FC236}">
                <a16:creationId xmlns:a16="http://schemas.microsoft.com/office/drawing/2014/main" id="{A0611BDA-39A7-444C-9CA5-1078E29A757E}"/>
              </a:ext>
            </a:extLst>
          </p:cNvPr>
          <p:cNvSpPr txBox="1"/>
          <p:nvPr/>
        </p:nvSpPr>
        <p:spPr>
          <a:xfrm>
            <a:off x="472307" y="4547927"/>
            <a:ext cx="4392158" cy="17213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200" b="1" dirty="0">
              <a:solidFill>
                <a:sysClr val="windowText" lastClr="000000"/>
              </a:solidFill>
            </a:endParaRPr>
          </a:p>
          <a:p>
            <a:pPr algn="ctr"/>
            <a:endParaRPr lang="en-GB" sz="1200" b="1" dirty="0">
              <a:solidFill>
                <a:sysClr val="windowText" lastClr="000000"/>
              </a:solidFill>
            </a:endParaRPr>
          </a:p>
          <a:p>
            <a:pPr algn="ctr"/>
            <a:endParaRPr lang="en-GB" sz="1200" b="1" dirty="0">
              <a:solidFill>
                <a:sysClr val="windowText" lastClr="000000"/>
              </a:solidFill>
            </a:endParaRPr>
          </a:p>
          <a:p>
            <a:pPr algn="ctr"/>
            <a:endParaRPr lang="en-GB" sz="1200" b="1" dirty="0">
              <a:solidFill>
                <a:sysClr val="windowText" lastClr="000000"/>
              </a:solidFill>
            </a:endParaRPr>
          </a:p>
          <a:p>
            <a:pPr algn="ctr"/>
            <a:endParaRPr lang="en-GB" sz="1200" b="1" dirty="0">
              <a:solidFill>
                <a:sysClr val="windowText" lastClr="000000"/>
              </a:solidFill>
            </a:endParaRPr>
          </a:p>
          <a:p>
            <a:r>
              <a:rPr lang="en-GB" sz="1200" b="1" dirty="0">
                <a:solidFill>
                  <a:srgbClr val="C00000"/>
                </a:solidFill>
              </a:rPr>
              <a:t>BENEFITS for Importer:</a:t>
            </a:r>
          </a:p>
          <a:p>
            <a:pPr algn="ctr">
              <a:spcAft>
                <a:spcPts val="600"/>
              </a:spcAft>
            </a:pPr>
            <a:endParaRPr lang="en-GB" sz="1200" b="1" dirty="0">
              <a:solidFill>
                <a:sysClr val="windowText" lastClr="000000"/>
              </a:solidFill>
            </a:endParaRPr>
          </a:p>
          <a:p>
            <a:pPr marL="285750" indent="-285750">
              <a:spcAft>
                <a:spcPts val="600"/>
              </a:spcAft>
              <a:buFont typeface="Arial" panose="020B0604020202020204" pitchFamily="34" charset="0"/>
              <a:buChar char="•"/>
            </a:pPr>
            <a:r>
              <a:rPr lang="en-GB" sz="1200" dirty="0">
                <a:solidFill>
                  <a:sysClr val="windowText" lastClr="000000"/>
                </a:solidFill>
              </a:rPr>
              <a:t>The Importer: </a:t>
            </a:r>
            <a:r>
              <a:rPr lang="en-GB" sz="1200" b="1" dirty="0">
                <a:solidFill>
                  <a:sysClr val="windowText" lastClr="000000"/>
                </a:solidFill>
              </a:rPr>
              <a:t>Clothing company located in Poland</a:t>
            </a:r>
          </a:p>
          <a:p>
            <a:pPr marL="285750" indent="-285750">
              <a:spcAft>
                <a:spcPts val="600"/>
              </a:spcAft>
              <a:buFont typeface="Arial" panose="020B0604020202020204" pitchFamily="34" charset="0"/>
              <a:buChar char="•"/>
            </a:pPr>
            <a:r>
              <a:rPr lang="en-GB" sz="1200" dirty="0">
                <a:solidFill>
                  <a:sysClr val="windowText" lastClr="000000"/>
                </a:solidFill>
              </a:rPr>
              <a:t>Benefits from convenient payment terms </a:t>
            </a:r>
          </a:p>
          <a:p>
            <a:pPr marL="285750" indent="-285750">
              <a:spcAft>
                <a:spcPts val="600"/>
              </a:spcAft>
              <a:buFont typeface="Arial" panose="020B0604020202020204" pitchFamily="34" charset="0"/>
              <a:buChar char="•"/>
            </a:pPr>
            <a:r>
              <a:rPr lang="en-GB" sz="1200" dirty="0">
                <a:solidFill>
                  <a:sysClr val="windowText" lastClr="000000"/>
                </a:solidFill>
              </a:rPr>
              <a:t>Manages and controls the financing program via electronic platform</a:t>
            </a:r>
          </a:p>
          <a:p>
            <a:pPr marL="285750" indent="-285750">
              <a:spcAft>
                <a:spcPts val="600"/>
              </a:spcAft>
              <a:buFont typeface="Arial" panose="020B0604020202020204" pitchFamily="34" charset="0"/>
              <a:buChar char="•"/>
            </a:pPr>
            <a:r>
              <a:rPr lang="en-GB" sz="1200" dirty="0">
                <a:solidFill>
                  <a:sysClr val="windowText" lastClr="000000"/>
                </a:solidFill>
              </a:rPr>
              <a:t>Technical support 24/7</a:t>
            </a:r>
          </a:p>
          <a:p>
            <a:pPr marL="285750" indent="-285750">
              <a:spcAft>
                <a:spcPts val="600"/>
              </a:spcAft>
              <a:buFont typeface="Arial" panose="020B0604020202020204" pitchFamily="34" charset="0"/>
              <a:buChar char="•"/>
            </a:pPr>
            <a:r>
              <a:rPr lang="en-GB" sz="1200" dirty="0">
                <a:solidFill>
                  <a:sysClr val="windowText" lastClr="000000"/>
                </a:solidFill>
              </a:rPr>
              <a:t>Professional service &amp; point of contact</a:t>
            </a:r>
          </a:p>
          <a:p>
            <a:pPr marL="285750" indent="-285750">
              <a:spcAft>
                <a:spcPts val="600"/>
              </a:spcAft>
              <a:buFont typeface="Arial" panose="020B0604020202020204" pitchFamily="34" charset="0"/>
              <a:buChar char="•"/>
            </a:pPr>
            <a:r>
              <a:rPr lang="en-GB" sz="1200" dirty="0">
                <a:solidFill>
                  <a:sysClr val="windowText" lastClr="000000"/>
                </a:solidFill>
              </a:rPr>
              <a:t>Access to the database</a:t>
            </a:r>
          </a:p>
          <a:p>
            <a:pPr marL="285750" indent="-285750">
              <a:spcAft>
                <a:spcPts val="600"/>
              </a:spcAft>
              <a:buFont typeface="Arial" panose="020B0604020202020204" pitchFamily="34" charset="0"/>
              <a:buChar char="•"/>
            </a:pPr>
            <a:endParaRPr lang="en-GB" sz="1200" dirty="0">
              <a:solidFill>
                <a:sysClr val="windowText" lastClr="000000"/>
              </a:solidFill>
            </a:endParaRPr>
          </a:p>
          <a:p>
            <a:pPr marL="285750" indent="-285750">
              <a:buFont typeface="Arial" panose="020B0604020202020204" pitchFamily="34" charset="0"/>
              <a:buChar char="•"/>
            </a:pPr>
            <a:endParaRPr lang="en-GB" sz="1200" dirty="0">
              <a:solidFill>
                <a:sysClr val="windowText" lastClr="000000"/>
              </a:solidFill>
            </a:endParaRPr>
          </a:p>
          <a:p>
            <a:pPr marL="285750" indent="-285750">
              <a:buFont typeface="Arial" panose="020B0604020202020204" pitchFamily="34" charset="0"/>
              <a:buChar char="•"/>
            </a:pPr>
            <a:endParaRPr lang="en-GB" sz="1200" dirty="0">
              <a:solidFill>
                <a:sysClr val="windowText" lastClr="000000"/>
              </a:solidFill>
            </a:endParaRPr>
          </a:p>
          <a:p>
            <a:pPr algn="ctr"/>
            <a:endParaRPr lang="en-GB" sz="1200" b="1" dirty="0">
              <a:solidFill>
                <a:sysClr val="windowText" lastClr="000000"/>
              </a:solidFill>
            </a:endParaRPr>
          </a:p>
          <a:p>
            <a:pPr algn="ctr"/>
            <a:endParaRPr lang="en-GB" sz="1200" b="1" dirty="0">
              <a:solidFill>
                <a:sysClr val="windowText" lastClr="000000"/>
              </a:solidFill>
            </a:endParaRPr>
          </a:p>
        </p:txBody>
      </p:sp>
    </p:spTree>
    <p:extLst>
      <p:ext uri="{BB962C8B-B14F-4D97-AF65-F5344CB8AC3E}">
        <p14:creationId xmlns:p14="http://schemas.microsoft.com/office/powerpoint/2010/main" val="1162013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i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cxnSp>
        <p:nvCxnSpPr>
          <p:cNvPr id="121" name="Łącznik prosty 120"/>
          <p:cNvCxnSpPr/>
          <p:nvPr/>
        </p:nvCxnSpPr>
        <p:spPr>
          <a:xfrm>
            <a:off x="0" y="700301"/>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sp>
        <p:nvSpPr>
          <p:cNvPr id="52" name="Prostokąt 51">
            <a:extLst>
              <a:ext uri="{FF2B5EF4-FFF2-40B4-BE49-F238E27FC236}">
                <a16:creationId xmlns:a16="http://schemas.microsoft.com/office/drawing/2014/main" id="{49F4CE7F-89AE-44D7-98B3-894974923A39}"/>
              </a:ext>
            </a:extLst>
          </p:cNvPr>
          <p:cNvSpPr/>
          <p:nvPr/>
        </p:nvSpPr>
        <p:spPr>
          <a:xfrm>
            <a:off x="174712" y="1565911"/>
            <a:ext cx="6081896" cy="3589019"/>
          </a:xfrm>
          <a:prstGeom prst="rect">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none" strike="noStrike" kern="0" cap="none" spc="0" normalizeH="0" baseline="0" dirty="0">
              <a:ln>
                <a:noFill/>
              </a:ln>
              <a:solidFill>
                <a:prstClr val="black"/>
              </a:solidFill>
              <a:effectLst/>
              <a:uLnTx/>
              <a:uFillTx/>
              <a:latin typeface="Calibri" panose="020F0502020204030204"/>
              <a:ea typeface="+mn-ea"/>
              <a:cs typeface="+mn-cs"/>
            </a:endParaRPr>
          </a:p>
        </p:txBody>
      </p:sp>
      <p:sp>
        <p:nvSpPr>
          <p:cNvPr id="53" name="pole tekstowe 10">
            <a:extLst>
              <a:ext uri="{FF2B5EF4-FFF2-40B4-BE49-F238E27FC236}">
                <a16:creationId xmlns:a16="http://schemas.microsoft.com/office/drawing/2014/main" id="{913B6E0A-6CD2-4EED-ADC4-49F4C8C78013}"/>
              </a:ext>
            </a:extLst>
          </p:cNvPr>
          <p:cNvSpPr txBox="1">
            <a:spLocks noChangeArrowheads="1"/>
          </p:cNvSpPr>
          <p:nvPr/>
        </p:nvSpPr>
        <p:spPr bwMode="auto">
          <a:xfrm>
            <a:off x="6615497" y="2851078"/>
            <a:ext cx="5292322" cy="2593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8016" tIns="64008" rIns="128016" bIns="64008">
            <a:spAutoFit/>
          </a:bodyPr>
          <a:lstStyle>
            <a:lvl1pPr>
              <a:spcBef>
                <a:spcPct val="20000"/>
              </a:spcBef>
              <a:buClr>
                <a:srgbClr val="E60A0A"/>
              </a:buClr>
              <a:buSzPct val="130000"/>
              <a:buFont typeface="Arial" pitchFamily="34" charset="0"/>
              <a:buChar char="•"/>
              <a:defRPr sz="2000">
                <a:solidFill>
                  <a:schemeClr val="tx1"/>
                </a:solidFill>
                <a:latin typeface="Arial" pitchFamily="34" charset="0"/>
              </a:defRPr>
            </a:lvl1pPr>
            <a:lvl2pPr marL="742950" indent="-285750">
              <a:spcBef>
                <a:spcPct val="20000"/>
              </a:spcBef>
              <a:buClr>
                <a:srgbClr val="E60A0A"/>
              </a:buClr>
              <a:buSzPct val="120000"/>
              <a:buFont typeface="Arial" pitchFamily="34" charset="0"/>
              <a:buChar char="•"/>
              <a:defRPr>
                <a:solidFill>
                  <a:schemeClr val="tx1"/>
                </a:solidFill>
                <a:latin typeface="Arial" pitchFamily="34" charset="0"/>
              </a:defRPr>
            </a:lvl2pPr>
            <a:lvl3pPr marL="1143000" indent="-228600">
              <a:spcBef>
                <a:spcPct val="20000"/>
              </a:spcBef>
              <a:buClr>
                <a:srgbClr val="E60A0A"/>
              </a:buClr>
              <a:buSzPct val="110000"/>
              <a:buFont typeface="Arial" pitchFamily="34" charset="0"/>
              <a:buChar char="•"/>
              <a:defRPr sz="1600">
                <a:solidFill>
                  <a:schemeClr val="tx1"/>
                </a:solidFill>
                <a:latin typeface="Arial" pitchFamily="34" charset="0"/>
              </a:defRPr>
            </a:lvl3pPr>
            <a:lvl4pPr marL="1600200" indent="-228600">
              <a:spcBef>
                <a:spcPct val="20000"/>
              </a:spcBef>
              <a:buClr>
                <a:srgbClr val="E60A0A"/>
              </a:buClr>
              <a:buFont typeface="Arial" pitchFamily="34" charset="0"/>
              <a:buChar char="•"/>
              <a:defRPr sz="1400">
                <a:solidFill>
                  <a:schemeClr val="tx1"/>
                </a:solidFill>
                <a:latin typeface="Arial" pitchFamily="34" charset="0"/>
              </a:defRPr>
            </a:lvl4pPr>
            <a:lvl5pPr marL="2057400" indent="-228600">
              <a:spcBef>
                <a:spcPct val="20000"/>
              </a:spcBef>
              <a:buClr>
                <a:srgbClr val="E60A0A"/>
              </a:buClr>
              <a:buSzPct val="90000"/>
              <a:buFont typeface="Arial" pitchFamily="34" charset="0"/>
              <a:buChar char="•"/>
              <a:defRPr sz="1200">
                <a:solidFill>
                  <a:schemeClr val="tx1"/>
                </a:solidFill>
                <a:latin typeface="Arial" pitchFamily="34" charset="0"/>
              </a:defRPr>
            </a:lvl5pPr>
            <a:lvl6pPr marL="2514600" indent="-228600" eaLnBrk="0" fontAlgn="base" hangingPunct="0">
              <a:spcBef>
                <a:spcPct val="20000"/>
              </a:spcBef>
              <a:spcAft>
                <a:spcPct val="0"/>
              </a:spcAft>
              <a:buClr>
                <a:srgbClr val="E60A0A"/>
              </a:buClr>
              <a:buSzPct val="90000"/>
              <a:buFont typeface="Arial" pitchFamily="34" charset="0"/>
              <a:buChar char="•"/>
              <a:defRPr sz="1200">
                <a:solidFill>
                  <a:schemeClr val="tx1"/>
                </a:solidFill>
                <a:latin typeface="Arial" pitchFamily="34" charset="0"/>
              </a:defRPr>
            </a:lvl6pPr>
            <a:lvl7pPr marL="2971800" indent="-228600" eaLnBrk="0" fontAlgn="base" hangingPunct="0">
              <a:spcBef>
                <a:spcPct val="20000"/>
              </a:spcBef>
              <a:spcAft>
                <a:spcPct val="0"/>
              </a:spcAft>
              <a:buClr>
                <a:srgbClr val="E60A0A"/>
              </a:buClr>
              <a:buSzPct val="90000"/>
              <a:buFont typeface="Arial" pitchFamily="34" charset="0"/>
              <a:buChar char="•"/>
              <a:defRPr sz="1200">
                <a:solidFill>
                  <a:schemeClr val="tx1"/>
                </a:solidFill>
                <a:latin typeface="Arial" pitchFamily="34" charset="0"/>
              </a:defRPr>
            </a:lvl7pPr>
            <a:lvl8pPr marL="3429000" indent="-228600" eaLnBrk="0" fontAlgn="base" hangingPunct="0">
              <a:spcBef>
                <a:spcPct val="20000"/>
              </a:spcBef>
              <a:spcAft>
                <a:spcPct val="0"/>
              </a:spcAft>
              <a:buClr>
                <a:srgbClr val="E60A0A"/>
              </a:buClr>
              <a:buSzPct val="90000"/>
              <a:buFont typeface="Arial" pitchFamily="34" charset="0"/>
              <a:buChar char="•"/>
              <a:defRPr sz="1200">
                <a:solidFill>
                  <a:schemeClr val="tx1"/>
                </a:solidFill>
                <a:latin typeface="Arial" pitchFamily="34" charset="0"/>
              </a:defRPr>
            </a:lvl8pPr>
            <a:lvl9pPr marL="3886200" indent="-228600" eaLnBrk="0" fontAlgn="base" hangingPunct="0">
              <a:spcBef>
                <a:spcPct val="20000"/>
              </a:spcBef>
              <a:spcAft>
                <a:spcPct val="0"/>
              </a:spcAft>
              <a:buClr>
                <a:srgbClr val="E60A0A"/>
              </a:buClr>
              <a:buSzPct val="90000"/>
              <a:buFont typeface="Arial" pitchFamily="34" charset="0"/>
              <a:buChar char="•"/>
              <a:defRPr sz="1200">
                <a:solidFill>
                  <a:schemeClr val="tx1"/>
                </a:solidFill>
                <a:latin typeface="Arial" pitchFamily="34" charset="0"/>
              </a:defRPr>
            </a:lvl9pPr>
          </a:lstStyle>
          <a:p>
            <a:pPr marL="228600" indent="-228600" algn="just" eaLnBrk="0" fontAlgn="base" hangingPunct="0">
              <a:lnSpc>
                <a:spcPct val="150000"/>
              </a:lnSpc>
              <a:spcBef>
                <a:spcPct val="0"/>
              </a:spcBef>
              <a:spcAft>
                <a:spcPct val="0"/>
              </a:spcAft>
              <a:buClrTx/>
              <a:buSzTx/>
              <a:buFont typeface="+mj-lt"/>
              <a:buAutoNum type="arabicPeriod"/>
            </a:pPr>
            <a:r>
              <a:rPr lang="en-GB" altLang="pl-PL" sz="1200" dirty="0">
                <a:solidFill>
                  <a:prstClr val="white">
                    <a:lumMod val="50000"/>
                  </a:prstClr>
                </a:solidFill>
                <a:latin typeface="Calibri" panose="020F0502020204030204"/>
              </a:rPr>
              <a:t>Launching the Financing Program requires an assessment only of the Buyer's creditworthiness.</a:t>
            </a:r>
          </a:p>
          <a:p>
            <a:pPr marL="228600" indent="-228600" algn="just" eaLnBrk="0" fontAlgn="base" hangingPunct="0">
              <a:lnSpc>
                <a:spcPct val="150000"/>
              </a:lnSpc>
              <a:spcBef>
                <a:spcPct val="0"/>
              </a:spcBef>
              <a:spcAft>
                <a:spcPct val="0"/>
              </a:spcAft>
              <a:buClrTx/>
              <a:buSzTx/>
              <a:buFont typeface="+mj-lt"/>
              <a:buAutoNum type="arabicPeriod"/>
            </a:pPr>
            <a:r>
              <a:rPr lang="en-GB" altLang="pl-PL" sz="1200" dirty="0">
                <a:solidFill>
                  <a:prstClr val="white">
                    <a:lumMod val="50000"/>
                  </a:prstClr>
                </a:solidFill>
                <a:latin typeface="Calibri" panose="020F0502020204030204"/>
              </a:rPr>
              <a:t>Upon invitation form the Buyer, the Supplier can join the on-line Open Platform for Financing</a:t>
            </a:r>
          </a:p>
          <a:p>
            <a:pPr marL="228600" indent="-228600" algn="just" eaLnBrk="0" fontAlgn="base" hangingPunct="0">
              <a:lnSpc>
                <a:spcPct val="150000"/>
              </a:lnSpc>
              <a:spcBef>
                <a:spcPct val="0"/>
              </a:spcBef>
              <a:spcAft>
                <a:spcPct val="0"/>
              </a:spcAft>
              <a:buClrTx/>
              <a:buSzTx/>
              <a:buFont typeface="+mj-lt"/>
              <a:buAutoNum type="arabicPeriod"/>
            </a:pPr>
            <a:r>
              <a:rPr lang="en-GB" altLang="pl-PL" sz="1200" dirty="0">
                <a:solidFill>
                  <a:prstClr val="white">
                    <a:lumMod val="50000"/>
                  </a:prstClr>
                </a:solidFill>
                <a:latin typeface="Calibri" panose="020F0502020204030204"/>
              </a:rPr>
              <a:t>The Bank finances invoices entered into the system by the Buyer.</a:t>
            </a:r>
          </a:p>
          <a:p>
            <a:pPr marL="228600" indent="-228600" algn="just" eaLnBrk="0" fontAlgn="base" hangingPunct="0">
              <a:lnSpc>
                <a:spcPct val="150000"/>
              </a:lnSpc>
              <a:spcBef>
                <a:spcPct val="0"/>
              </a:spcBef>
              <a:spcAft>
                <a:spcPct val="0"/>
              </a:spcAft>
              <a:buClrTx/>
              <a:buSzTx/>
              <a:buFont typeface="+mj-lt"/>
              <a:buAutoNum type="arabicPeriod"/>
            </a:pPr>
            <a:r>
              <a:rPr lang="en-GB" altLang="pl-PL" sz="1200" dirty="0">
                <a:solidFill>
                  <a:prstClr val="white">
                    <a:lumMod val="50000"/>
                  </a:prstClr>
                </a:solidFill>
                <a:latin typeface="Calibri" panose="020F0502020204030204"/>
              </a:rPr>
              <a:t>The Supplier bears the cost of financing invoices for the period from the date of financing to the invoice payment date. The Bank does not assess the Supplier's creditworthiness.</a:t>
            </a:r>
          </a:p>
          <a:p>
            <a:pPr marL="228600" indent="-228600" algn="just" eaLnBrk="0" fontAlgn="base" hangingPunct="0">
              <a:lnSpc>
                <a:spcPct val="150000"/>
              </a:lnSpc>
              <a:spcBef>
                <a:spcPct val="0"/>
              </a:spcBef>
              <a:spcAft>
                <a:spcPct val="0"/>
              </a:spcAft>
              <a:buClrTx/>
              <a:buSzTx/>
              <a:buFont typeface="+mj-lt"/>
              <a:buAutoNum type="arabicPeriod"/>
            </a:pPr>
            <a:r>
              <a:rPr lang="en-GB" altLang="pl-PL" sz="1200" dirty="0">
                <a:solidFill>
                  <a:prstClr val="white">
                    <a:lumMod val="50000"/>
                  </a:prstClr>
                </a:solidFill>
                <a:latin typeface="Calibri" panose="020F0502020204030204"/>
              </a:rPr>
              <a:t>The Supplier receives 100% of the invoice amount less financing costs.</a:t>
            </a:r>
          </a:p>
        </p:txBody>
      </p:sp>
      <p:sp>
        <p:nvSpPr>
          <p:cNvPr id="54" name="Prostokąt 12">
            <a:extLst>
              <a:ext uri="{FF2B5EF4-FFF2-40B4-BE49-F238E27FC236}">
                <a16:creationId xmlns:a16="http://schemas.microsoft.com/office/drawing/2014/main" id="{C8BAD3AF-B457-4085-BF8F-FC6D5268C3A5}"/>
              </a:ext>
            </a:extLst>
          </p:cNvPr>
          <p:cNvSpPr>
            <a:spLocks noChangeArrowheads="1"/>
          </p:cNvSpPr>
          <p:nvPr/>
        </p:nvSpPr>
        <p:spPr bwMode="auto">
          <a:xfrm>
            <a:off x="6658256" y="2606368"/>
            <a:ext cx="2927688" cy="754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ts val="600"/>
              </a:spcBef>
              <a:spcAft>
                <a:spcPct val="0"/>
              </a:spcAft>
              <a:buFont typeface="Wingdings 2" pitchFamily="18" charset="2"/>
              <a:buNone/>
            </a:pPr>
            <a:r>
              <a:rPr lang="en-GB" altLang="pl-PL" sz="1100" b="1" dirty="0">
                <a:solidFill>
                  <a:srgbClr val="111516"/>
                </a:solidFill>
                <a:latin typeface="Arial" pitchFamily="34" charset="0"/>
                <a:ea typeface="Calibri" pitchFamily="34" charset="0"/>
              </a:rPr>
              <a:t>Characteristics</a:t>
            </a:r>
          </a:p>
          <a:p>
            <a:pPr eaLnBrk="1" fontAlgn="base" hangingPunct="1">
              <a:spcBef>
                <a:spcPts val="600"/>
              </a:spcBef>
              <a:spcAft>
                <a:spcPct val="0"/>
              </a:spcAft>
              <a:buFont typeface="Wingdings 2" pitchFamily="18" charset="2"/>
              <a:buNone/>
            </a:pPr>
            <a:endParaRPr lang="en-GB" altLang="pl-PL" sz="1100" b="1" dirty="0">
              <a:solidFill>
                <a:srgbClr val="111516"/>
              </a:solidFill>
              <a:latin typeface="Arial" pitchFamily="34" charset="0"/>
              <a:ea typeface="Calibri" pitchFamily="34" charset="0"/>
            </a:endParaRPr>
          </a:p>
          <a:p>
            <a:pPr eaLnBrk="1" fontAlgn="base" hangingPunct="1">
              <a:spcBef>
                <a:spcPts val="600"/>
              </a:spcBef>
              <a:spcAft>
                <a:spcPct val="0"/>
              </a:spcAft>
              <a:buFont typeface="Wingdings 2" pitchFamily="18" charset="2"/>
              <a:buNone/>
            </a:pPr>
            <a:endParaRPr lang="en-GB" altLang="pl-PL" sz="1100" b="1" dirty="0">
              <a:solidFill>
                <a:srgbClr val="111516"/>
              </a:solidFill>
              <a:latin typeface="Arial" pitchFamily="34" charset="0"/>
              <a:ea typeface="Calibri" pitchFamily="34" charset="0"/>
            </a:endParaRPr>
          </a:p>
        </p:txBody>
      </p:sp>
      <p:sp>
        <p:nvSpPr>
          <p:cNvPr id="55" name="Prostokąt: zaokrąglone rogi 54">
            <a:extLst>
              <a:ext uri="{FF2B5EF4-FFF2-40B4-BE49-F238E27FC236}">
                <a16:creationId xmlns:a16="http://schemas.microsoft.com/office/drawing/2014/main" id="{B9B683CB-A614-478C-A0AA-996DB1EE2C10}"/>
              </a:ext>
            </a:extLst>
          </p:cNvPr>
          <p:cNvSpPr/>
          <p:nvPr/>
        </p:nvSpPr>
        <p:spPr>
          <a:xfrm>
            <a:off x="3711426" y="2132117"/>
            <a:ext cx="2022933" cy="377999"/>
          </a:xfrm>
          <a:prstGeom prst="round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0" i="0"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t>   Buyer  </a:t>
            </a:r>
          </a:p>
        </p:txBody>
      </p:sp>
      <p:sp>
        <p:nvSpPr>
          <p:cNvPr id="56" name="Schemat blokowy: łącznik 55">
            <a:extLst>
              <a:ext uri="{FF2B5EF4-FFF2-40B4-BE49-F238E27FC236}">
                <a16:creationId xmlns:a16="http://schemas.microsoft.com/office/drawing/2014/main" id="{7E46DBA4-EF5C-441A-A76F-B71EBA6B5441}"/>
              </a:ext>
            </a:extLst>
          </p:cNvPr>
          <p:cNvSpPr/>
          <p:nvPr/>
        </p:nvSpPr>
        <p:spPr>
          <a:xfrm>
            <a:off x="3176954" y="1838108"/>
            <a:ext cx="225378" cy="215374"/>
          </a:xfrm>
          <a:prstGeom prst="flowChartConnector">
            <a:avLst/>
          </a:prstGeom>
          <a:solidFill>
            <a:sysClr val="window" lastClr="FFFFFF"/>
          </a:solidFill>
          <a:ln w="1270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57" name="Prostokąt: zaokrąglone rogi 56">
            <a:extLst>
              <a:ext uri="{FF2B5EF4-FFF2-40B4-BE49-F238E27FC236}">
                <a16:creationId xmlns:a16="http://schemas.microsoft.com/office/drawing/2014/main" id="{D317B136-3BF1-4F81-A523-84EF44785325}"/>
              </a:ext>
            </a:extLst>
          </p:cNvPr>
          <p:cNvSpPr/>
          <p:nvPr/>
        </p:nvSpPr>
        <p:spPr>
          <a:xfrm>
            <a:off x="834322" y="2124471"/>
            <a:ext cx="2022933" cy="377999"/>
          </a:xfrm>
          <a:prstGeom prst="round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1400" b="0" i="0"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t>Supplier / Exporter</a:t>
            </a:r>
          </a:p>
        </p:txBody>
      </p:sp>
      <p:sp>
        <p:nvSpPr>
          <p:cNvPr id="59" name="Prostokąt: zaokrąglone rogi 58">
            <a:extLst>
              <a:ext uri="{FF2B5EF4-FFF2-40B4-BE49-F238E27FC236}">
                <a16:creationId xmlns:a16="http://schemas.microsoft.com/office/drawing/2014/main" id="{83AFCB3C-53DA-4DD7-B018-16EF01948AD2}"/>
              </a:ext>
            </a:extLst>
          </p:cNvPr>
          <p:cNvSpPr/>
          <p:nvPr/>
        </p:nvSpPr>
        <p:spPr>
          <a:xfrm>
            <a:off x="2823233" y="3710407"/>
            <a:ext cx="2022933" cy="377999"/>
          </a:xfrm>
          <a:prstGeom prst="round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0" i="0"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t>Bank</a:t>
            </a:r>
          </a:p>
        </p:txBody>
      </p:sp>
      <p:sp>
        <p:nvSpPr>
          <p:cNvPr id="60" name="Schemat blokowy: łącznik 59">
            <a:extLst>
              <a:ext uri="{FF2B5EF4-FFF2-40B4-BE49-F238E27FC236}">
                <a16:creationId xmlns:a16="http://schemas.microsoft.com/office/drawing/2014/main" id="{68FBD380-6656-46CA-9E9C-EF73BEE767C1}"/>
              </a:ext>
            </a:extLst>
          </p:cNvPr>
          <p:cNvSpPr/>
          <p:nvPr/>
        </p:nvSpPr>
        <p:spPr>
          <a:xfrm>
            <a:off x="3171224" y="2558122"/>
            <a:ext cx="260012" cy="230703"/>
          </a:xfrm>
          <a:prstGeom prst="flowChartConnector">
            <a:avLst/>
          </a:prstGeom>
          <a:solidFill>
            <a:sysClr val="window" lastClr="FFFFFF"/>
          </a:solidFill>
          <a:ln w="1270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62" name="Schemat blokowy: łącznik 61">
            <a:extLst>
              <a:ext uri="{FF2B5EF4-FFF2-40B4-BE49-F238E27FC236}">
                <a16:creationId xmlns:a16="http://schemas.microsoft.com/office/drawing/2014/main" id="{3C100CFB-D603-4006-8572-5A27804D6329}"/>
              </a:ext>
            </a:extLst>
          </p:cNvPr>
          <p:cNvSpPr/>
          <p:nvPr/>
        </p:nvSpPr>
        <p:spPr>
          <a:xfrm>
            <a:off x="4081096" y="3025268"/>
            <a:ext cx="240893" cy="242886"/>
          </a:xfrm>
          <a:prstGeom prst="flowChartConnector">
            <a:avLst/>
          </a:prstGeom>
          <a:solidFill>
            <a:sysClr val="window" lastClr="FFFFFF"/>
          </a:solidFill>
          <a:ln w="1270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63" name="pole tekstowe 10">
            <a:extLst>
              <a:ext uri="{FF2B5EF4-FFF2-40B4-BE49-F238E27FC236}">
                <a16:creationId xmlns:a16="http://schemas.microsoft.com/office/drawing/2014/main" id="{E3B5B140-568B-4EF4-94E1-6B0BE6BF3678}"/>
              </a:ext>
            </a:extLst>
          </p:cNvPr>
          <p:cNvSpPr txBox="1">
            <a:spLocks noChangeArrowheads="1"/>
          </p:cNvSpPr>
          <p:nvPr/>
        </p:nvSpPr>
        <p:spPr bwMode="auto">
          <a:xfrm>
            <a:off x="354449" y="3131214"/>
            <a:ext cx="2747086" cy="228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8016" tIns="64008" rIns="128016" bIns="64008">
            <a:spAutoFit/>
          </a:bodyPr>
          <a:lstStyle>
            <a:defPPr>
              <a:defRPr lang="pl-PL"/>
            </a:defPPr>
            <a:lvl1pPr algn="l" rtl="0" eaLnBrk="0" fontAlgn="base" hangingPunct="0">
              <a:spcBef>
                <a:spcPct val="0"/>
              </a:spcBef>
              <a:spcAft>
                <a:spcPct val="0"/>
              </a:spcAft>
              <a:defRPr sz="800" kern="1200">
                <a:solidFill>
                  <a:schemeClr val="tx1"/>
                </a:solidFill>
                <a:latin typeface="Arial" charset="0"/>
                <a:ea typeface="+mn-ea"/>
                <a:cs typeface="+mn-cs"/>
              </a:defRPr>
            </a:lvl1pPr>
            <a:lvl2pPr marL="385826" algn="l" rtl="0" eaLnBrk="0" fontAlgn="base" hangingPunct="0">
              <a:spcBef>
                <a:spcPct val="0"/>
              </a:spcBef>
              <a:spcAft>
                <a:spcPct val="0"/>
              </a:spcAft>
              <a:defRPr sz="800" kern="1200">
                <a:solidFill>
                  <a:schemeClr val="tx1"/>
                </a:solidFill>
                <a:latin typeface="Arial" charset="0"/>
                <a:ea typeface="+mn-ea"/>
                <a:cs typeface="+mn-cs"/>
              </a:defRPr>
            </a:lvl2pPr>
            <a:lvl3pPr marL="771650" algn="l" rtl="0" eaLnBrk="0" fontAlgn="base" hangingPunct="0">
              <a:spcBef>
                <a:spcPct val="0"/>
              </a:spcBef>
              <a:spcAft>
                <a:spcPct val="0"/>
              </a:spcAft>
              <a:defRPr sz="800" kern="1200">
                <a:solidFill>
                  <a:schemeClr val="tx1"/>
                </a:solidFill>
                <a:latin typeface="Arial" charset="0"/>
                <a:ea typeface="+mn-ea"/>
                <a:cs typeface="+mn-cs"/>
              </a:defRPr>
            </a:lvl3pPr>
            <a:lvl4pPr marL="1157477" algn="l" rtl="0" eaLnBrk="0" fontAlgn="base" hangingPunct="0">
              <a:spcBef>
                <a:spcPct val="0"/>
              </a:spcBef>
              <a:spcAft>
                <a:spcPct val="0"/>
              </a:spcAft>
              <a:defRPr sz="800" kern="1200">
                <a:solidFill>
                  <a:schemeClr val="tx1"/>
                </a:solidFill>
                <a:latin typeface="Arial" charset="0"/>
                <a:ea typeface="+mn-ea"/>
                <a:cs typeface="+mn-cs"/>
              </a:defRPr>
            </a:lvl4pPr>
            <a:lvl5pPr marL="1543303" algn="l" rtl="0" eaLnBrk="0" fontAlgn="base" hangingPunct="0">
              <a:spcBef>
                <a:spcPct val="0"/>
              </a:spcBef>
              <a:spcAft>
                <a:spcPct val="0"/>
              </a:spcAft>
              <a:defRPr sz="800" kern="1200">
                <a:solidFill>
                  <a:schemeClr val="tx1"/>
                </a:solidFill>
                <a:latin typeface="Arial" charset="0"/>
                <a:ea typeface="+mn-ea"/>
                <a:cs typeface="+mn-cs"/>
              </a:defRPr>
            </a:lvl5pPr>
            <a:lvl6pPr marL="1929128" algn="l" defTabSz="771650" rtl="0" eaLnBrk="1" latinLnBrk="0" hangingPunct="1">
              <a:defRPr sz="800" kern="1200">
                <a:solidFill>
                  <a:schemeClr val="tx1"/>
                </a:solidFill>
                <a:latin typeface="Arial" charset="0"/>
                <a:ea typeface="+mn-ea"/>
                <a:cs typeface="+mn-cs"/>
              </a:defRPr>
            </a:lvl6pPr>
            <a:lvl7pPr marL="2314953" algn="l" defTabSz="771650" rtl="0" eaLnBrk="1" latinLnBrk="0" hangingPunct="1">
              <a:defRPr sz="800" kern="1200">
                <a:solidFill>
                  <a:schemeClr val="tx1"/>
                </a:solidFill>
                <a:latin typeface="Arial" charset="0"/>
                <a:ea typeface="+mn-ea"/>
                <a:cs typeface="+mn-cs"/>
              </a:defRPr>
            </a:lvl7pPr>
            <a:lvl8pPr marL="2700780" algn="l" defTabSz="771650" rtl="0" eaLnBrk="1" latinLnBrk="0" hangingPunct="1">
              <a:defRPr sz="800" kern="1200">
                <a:solidFill>
                  <a:schemeClr val="tx1"/>
                </a:solidFill>
                <a:latin typeface="Arial" charset="0"/>
                <a:ea typeface="+mn-ea"/>
                <a:cs typeface="+mn-cs"/>
              </a:defRPr>
            </a:lvl8pPr>
            <a:lvl9pPr marL="3086605" algn="l" defTabSz="771650" rtl="0" eaLnBrk="1" latinLnBrk="0" hangingPunct="1">
              <a:defRPr sz="800" kern="1200">
                <a:solidFill>
                  <a:schemeClr val="tx1"/>
                </a:solidFill>
                <a:latin typeface="Arial" charset="0"/>
                <a:ea typeface="+mn-ea"/>
                <a:cs typeface="+mn-cs"/>
              </a:defRPr>
            </a:lvl9pPr>
          </a:lstStyle>
          <a:p>
            <a:pPr marL="228600" indent="-228600" algn="just">
              <a:buFont typeface="+mj-lt"/>
              <a:buAutoNum type="arabicPeriod"/>
            </a:pPr>
            <a:r>
              <a:rPr lang="en-GB" altLang="pl-PL" sz="1200" dirty="0">
                <a:solidFill>
                  <a:prstClr val="white">
                    <a:lumMod val="50000"/>
                  </a:prstClr>
                </a:solidFill>
                <a:latin typeface="Calibri" panose="020F0502020204030204"/>
              </a:rPr>
              <a:t>Contract / Order</a:t>
            </a:r>
          </a:p>
          <a:p>
            <a:pPr marL="228600" indent="-228600" algn="just">
              <a:buFont typeface="+mj-lt"/>
              <a:buAutoNum type="arabicPeriod"/>
            </a:pPr>
            <a:endParaRPr lang="en-GB" altLang="pl-PL" sz="1200" dirty="0">
              <a:solidFill>
                <a:prstClr val="white">
                  <a:lumMod val="50000"/>
                </a:prstClr>
              </a:solidFill>
              <a:latin typeface="Calibri" panose="020F0502020204030204"/>
            </a:endParaRPr>
          </a:p>
          <a:p>
            <a:pPr marL="228600" indent="-228600" algn="just">
              <a:buFont typeface="+mj-lt"/>
              <a:buAutoNum type="arabicPeriod"/>
            </a:pPr>
            <a:r>
              <a:rPr lang="en-GB" altLang="pl-PL" sz="1200" dirty="0">
                <a:solidFill>
                  <a:prstClr val="white">
                    <a:lumMod val="50000"/>
                  </a:prstClr>
                </a:solidFill>
                <a:latin typeface="Calibri" panose="020F0502020204030204"/>
              </a:rPr>
              <a:t>Dispatch of goods / Invoice</a:t>
            </a:r>
          </a:p>
          <a:p>
            <a:pPr algn="just"/>
            <a:endParaRPr lang="en-GB" altLang="pl-PL" sz="1200" dirty="0">
              <a:solidFill>
                <a:prstClr val="white">
                  <a:lumMod val="50000"/>
                </a:prstClr>
              </a:solidFill>
              <a:latin typeface="Calibri" panose="020F0502020204030204"/>
            </a:endParaRPr>
          </a:p>
          <a:p>
            <a:pPr algn="just"/>
            <a:r>
              <a:rPr lang="en-GB" altLang="pl-PL" sz="1200" dirty="0">
                <a:solidFill>
                  <a:prstClr val="white">
                    <a:lumMod val="50000"/>
                  </a:prstClr>
                </a:solidFill>
                <a:latin typeface="Calibri" panose="020F0502020204030204"/>
              </a:rPr>
              <a:t>3.    Invoice confirmation</a:t>
            </a:r>
          </a:p>
          <a:p>
            <a:pPr algn="just"/>
            <a:endParaRPr lang="en-GB" altLang="pl-PL" sz="1200" dirty="0">
              <a:solidFill>
                <a:prstClr val="white">
                  <a:lumMod val="50000"/>
                </a:prstClr>
              </a:solidFill>
              <a:latin typeface="Calibri" panose="020F0502020204030204"/>
            </a:endParaRPr>
          </a:p>
          <a:p>
            <a:pPr marL="228600" indent="-228600" algn="just">
              <a:buAutoNum type="arabicPeriod" startAt="4"/>
            </a:pPr>
            <a:r>
              <a:rPr lang="en-GB" altLang="pl-PL" sz="1200" dirty="0">
                <a:solidFill>
                  <a:prstClr val="white">
                    <a:lumMod val="50000"/>
                  </a:prstClr>
                </a:solidFill>
                <a:latin typeface="Calibri" panose="020F0502020204030204"/>
              </a:rPr>
              <a:t>Payment of funds by the Bank to the Supplier</a:t>
            </a:r>
          </a:p>
          <a:p>
            <a:pPr marL="228600" indent="-228600" algn="just">
              <a:buAutoNum type="arabicPeriod" startAt="4"/>
            </a:pPr>
            <a:endParaRPr lang="en-GB" altLang="pl-PL" sz="1200" dirty="0">
              <a:solidFill>
                <a:prstClr val="white">
                  <a:lumMod val="50000"/>
                </a:prstClr>
              </a:solidFill>
              <a:latin typeface="Calibri" panose="020F0502020204030204"/>
            </a:endParaRPr>
          </a:p>
          <a:p>
            <a:pPr marL="228600" indent="-228600" algn="just">
              <a:buAutoNum type="arabicPeriod" startAt="4"/>
            </a:pPr>
            <a:r>
              <a:rPr lang="en-GB" altLang="pl-PL" sz="1200" dirty="0">
                <a:solidFill>
                  <a:prstClr val="white">
                    <a:lumMod val="50000"/>
                  </a:prstClr>
                </a:solidFill>
                <a:latin typeface="Calibri" panose="020F0502020204030204"/>
              </a:rPr>
              <a:t>Payment by the Buyer</a:t>
            </a:r>
          </a:p>
          <a:p>
            <a:pPr marL="228600" indent="-228600" algn="just">
              <a:buFont typeface="+mj-lt"/>
              <a:buAutoNum type="arabicPeriod"/>
            </a:pPr>
            <a:endParaRPr lang="en-GB" altLang="pl-PL" sz="1000" dirty="0">
              <a:solidFill>
                <a:prstClr val="white">
                  <a:lumMod val="50000"/>
                </a:prstClr>
              </a:solidFill>
              <a:latin typeface="Calibri" panose="020F0502020204030204"/>
            </a:endParaRPr>
          </a:p>
          <a:p>
            <a:pPr marL="228600" indent="-228600" algn="just">
              <a:buFont typeface="+mj-lt"/>
              <a:buAutoNum type="arabicPeriod"/>
            </a:pPr>
            <a:endParaRPr lang="en-GB" altLang="pl-PL" sz="1000" dirty="0">
              <a:solidFill>
                <a:prstClr val="white">
                  <a:lumMod val="50000"/>
                </a:prstClr>
              </a:solidFill>
              <a:latin typeface="Calibri" panose="020F0502020204030204"/>
            </a:endParaRPr>
          </a:p>
        </p:txBody>
      </p:sp>
      <p:sp>
        <p:nvSpPr>
          <p:cNvPr id="64" name="Prostokąt 63">
            <a:extLst>
              <a:ext uri="{FF2B5EF4-FFF2-40B4-BE49-F238E27FC236}">
                <a16:creationId xmlns:a16="http://schemas.microsoft.com/office/drawing/2014/main" id="{AA30D8FF-CDD6-40A9-9BFD-8AA8AB625181}"/>
              </a:ext>
            </a:extLst>
          </p:cNvPr>
          <p:cNvSpPr>
            <a:spLocks noChangeArrowheads="1"/>
          </p:cNvSpPr>
          <p:nvPr/>
        </p:nvSpPr>
        <p:spPr bwMode="auto">
          <a:xfrm>
            <a:off x="312000" y="2788833"/>
            <a:ext cx="2927688" cy="754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pl-PL"/>
            </a:defPPr>
            <a:lvl1pPr algn="l" rtl="0" eaLnBrk="0" fontAlgn="base" hangingPunct="0">
              <a:spcBef>
                <a:spcPct val="0"/>
              </a:spcBef>
              <a:spcAft>
                <a:spcPct val="0"/>
              </a:spcAft>
              <a:defRPr sz="800" kern="1200">
                <a:solidFill>
                  <a:schemeClr val="tx1"/>
                </a:solidFill>
                <a:latin typeface="Arial" charset="0"/>
                <a:ea typeface="+mn-ea"/>
                <a:cs typeface="+mn-cs"/>
              </a:defRPr>
            </a:lvl1pPr>
            <a:lvl2pPr marL="385826" algn="l" rtl="0" eaLnBrk="0" fontAlgn="base" hangingPunct="0">
              <a:spcBef>
                <a:spcPct val="0"/>
              </a:spcBef>
              <a:spcAft>
                <a:spcPct val="0"/>
              </a:spcAft>
              <a:defRPr sz="800" kern="1200">
                <a:solidFill>
                  <a:schemeClr val="tx1"/>
                </a:solidFill>
                <a:latin typeface="Arial" charset="0"/>
                <a:ea typeface="+mn-ea"/>
                <a:cs typeface="+mn-cs"/>
              </a:defRPr>
            </a:lvl2pPr>
            <a:lvl3pPr marL="771650" algn="l" rtl="0" eaLnBrk="0" fontAlgn="base" hangingPunct="0">
              <a:spcBef>
                <a:spcPct val="0"/>
              </a:spcBef>
              <a:spcAft>
                <a:spcPct val="0"/>
              </a:spcAft>
              <a:defRPr sz="800" kern="1200">
                <a:solidFill>
                  <a:schemeClr val="tx1"/>
                </a:solidFill>
                <a:latin typeface="Arial" charset="0"/>
                <a:ea typeface="+mn-ea"/>
                <a:cs typeface="+mn-cs"/>
              </a:defRPr>
            </a:lvl3pPr>
            <a:lvl4pPr marL="1157477" algn="l" rtl="0" eaLnBrk="0" fontAlgn="base" hangingPunct="0">
              <a:spcBef>
                <a:spcPct val="0"/>
              </a:spcBef>
              <a:spcAft>
                <a:spcPct val="0"/>
              </a:spcAft>
              <a:defRPr sz="800" kern="1200">
                <a:solidFill>
                  <a:schemeClr val="tx1"/>
                </a:solidFill>
                <a:latin typeface="Arial" charset="0"/>
                <a:ea typeface="+mn-ea"/>
                <a:cs typeface="+mn-cs"/>
              </a:defRPr>
            </a:lvl4pPr>
            <a:lvl5pPr marL="1543303" algn="l" rtl="0" eaLnBrk="0" fontAlgn="base" hangingPunct="0">
              <a:spcBef>
                <a:spcPct val="0"/>
              </a:spcBef>
              <a:spcAft>
                <a:spcPct val="0"/>
              </a:spcAft>
              <a:defRPr sz="800" kern="1200">
                <a:solidFill>
                  <a:schemeClr val="tx1"/>
                </a:solidFill>
                <a:latin typeface="Arial" charset="0"/>
                <a:ea typeface="+mn-ea"/>
                <a:cs typeface="+mn-cs"/>
              </a:defRPr>
            </a:lvl5pPr>
            <a:lvl6pPr marL="1929128" algn="l" defTabSz="771650" rtl="0" eaLnBrk="1" latinLnBrk="0" hangingPunct="1">
              <a:defRPr sz="800" kern="1200">
                <a:solidFill>
                  <a:schemeClr val="tx1"/>
                </a:solidFill>
                <a:latin typeface="Arial" charset="0"/>
                <a:ea typeface="+mn-ea"/>
                <a:cs typeface="+mn-cs"/>
              </a:defRPr>
            </a:lvl6pPr>
            <a:lvl7pPr marL="2314953" algn="l" defTabSz="771650" rtl="0" eaLnBrk="1" latinLnBrk="0" hangingPunct="1">
              <a:defRPr sz="800" kern="1200">
                <a:solidFill>
                  <a:schemeClr val="tx1"/>
                </a:solidFill>
                <a:latin typeface="Arial" charset="0"/>
                <a:ea typeface="+mn-ea"/>
                <a:cs typeface="+mn-cs"/>
              </a:defRPr>
            </a:lvl7pPr>
            <a:lvl8pPr marL="2700780" algn="l" defTabSz="771650" rtl="0" eaLnBrk="1" latinLnBrk="0" hangingPunct="1">
              <a:defRPr sz="800" kern="1200">
                <a:solidFill>
                  <a:schemeClr val="tx1"/>
                </a:solidFill>
                <a:latin typeface="Arial" charset="0"/>
                <a:ea typeface="+mn-ea"/>
                <a:cs typeface="+mn-cs"/>
              </a:defRPr>
            </a:lvl8pPr>
            <a:lvl9pPr marL="3086605" algn="l" defTabSz="771650" rtl="0" eaLnBrk="1" latinLnBrk="0" hangingPunct="1">
              <a:defRPr sz="800" kern="1200">
                <a:solidFill>
                  <a:schemeClr val="tx1"/>
                </a:solidFill>
                <a:latin typeface="Arial" charset="0"/>
                <a:ea typeface="+mn-ea"/>
                <a:cs typeface="+mn-cs"/>
              </a:defRPr>
            </a:lvl9pPr>
          </a:lstStyle>
          <a:p>
            <a:pPr eaLnBrk="1" hangingPunct="1">
              <a:spcBef>
                <a:spcPts val="600"/>
              </a:spcBef>
              <a:buFont typeface="Wingdings 2" pitchFamily="18" charset="2"/>
              <a:buNone/>
            </a:pPr>
            <a:r>
              <a:rPr lang="en-GB" altLang="pl-PL" sz="1100" b="1" dirty="0">
                <a:solidFill>
                  <a:prstClr val="black"/>
                </a:solidFill>
                <a:latin typeface="Arial" pitchFamily="34" charset="0"/>
              </a:rPr>
              <a:t>Transaction process </a:t>
            </a:r>
          </a:p>
          <a:p>
            <a:pPr eaLnBrk="1" hangingPunct="1">
              <a:spcBef>
                <a:spcPts val="600"/>
              </a:spcBef>
              <a:buFont typeface="Wingdings 2" pitchFamily="18" charset="2"/>
              <a:buNone/>
            </a:pPr>
            <a:endParaRPr lang="en-GB" altLang="pl-PL" sz="1100" b="1" dirty="0">
              <a:solidFill>
                <a:prstClr val="black"/>
              </a:solidFill>
              <a:latin typeface="Arial" pitchFamily="34" charset="0"/>
            </a:endParaRPr>
          </a:p>
          <a:p>
            <a:pPr eaLnBrk="1" hangingPunct="1">
              <a:spcBef>
                <a:spcPts val="600"/>
              </a:spcBef>
              <a:buFont typeface="Wingdings 2" pitchFamily="18" charset="2"/>
              <a:buNone/>
            </a:pPr>
            <a:r>
              <a:rPr lang="en-GB" altLang="pl-PL" sz="1100" b="1" dirty="0">
                <a:solidFill>
                  <a:prstClr val="black"/>
                </a:solidFill>
                <a:latin typeface="Arial" pitchFamily="34" charset="0"/>
              </a:rPr>
              <a:t> </a:t>
            </a:r>
          </a:p>
        </p:txBody>
      </p:sp>
      <p:cxnSp>
        <p:nvCxnSpPr>
          <p:cNvPr id="65" name="Łącznik prosty ze strzałką 64">
            <a:extLst>
              <a:ext uri="{FF2B5EF4-FFF2-40B4-BE49-F238E27FC236}">
                <a16:creationId xmlns:a16="http://schemas.microsoft.com/office/drawing/2014/main" id="{CD958F0D-8E5B-41D0-A9FB-8A9A00FC0DBB}"/>
              </a:ext>
            </a:extLst>
          </p:cNvPr>
          <p:cNvCxnSpPr>
            <a:cxnSpLocks/>
          </p:cNvCxnSpPr>
          <p:nvPr/>
        </p:nvCxnSpPr>
        <p:spPr>
          <a:xfrm>
            <a:off x="2941890" y="2313470"/>
            <a:ext cx="709848" cy="0"/>
          </a:xfrm>
          <a:prstGeom prst="straightConnector1">
            <a:avLst/>
          </a:prstGeom>
          <a:noFill/>
          <a:ln w="12700" cap="flat" cmpd="sng" algn="ctr">
            <a:solidFill>
              <a:srgbClr val="C00000"/>
            </a:solidFill>
            <a:prstDash val="solid"/>
            <a:miter lim="800000"/>
            <a:headEnd type="triangle" w="med" len="lg"/>
            <a:tailEnd type="triangle" w="med" len="lg"/>
          </a:ln>
          <a:effectLst/>
        </p:spPr>
      </p:cxnSp>
      <p:cxnSp>
        <p:nvCxnSpPr>
          <p:cNvPr id="66" name="Łącznik prosty ze strzałką 65">
            <a:extLst>
              <a:ext uri="{FF2B5EF4-FFF2-40B4-BE49-F238E27FC236}">
                <a16:creationId xmlns:a16="http://schemas.microsoft.com/office/drawing/2014/main" id="{BB2E162A-500F-42C8-8764-3A271BF22C9C}"/>
              </a:ext>
            </a:extLst>
          </p:cNvPr>
          <p:cNvCxnSpPr>
            <a:cxnSpLocks/>
          </p:cNvCxnSpPr>
          <p:nvPr/>
        </p:nvCxnSpPr>
        <p:spPr>
          <a:xfrm flipH="1">
            <a:off x="3542149" y="2551767"/>
            <a:ext cx="794232" cy="983221"/>
          </a:xfrm>
          <a:prstGeom prst="straightConnector1">
            <a:avLst/>
          </a:prstGeom>
          <a:noFill/>
          <a:ln w="12700" cap="flat" cmpd="sng" algn="ctr">
            <a:solidFill>
              <a:srgbClr val="C00000"/>
            </a:solidFill>
            <a:prstDash val="solid"/>
            <a:miter lim="800000"/>
            <a:headEnd type="none" w="med" len="lg"/>
            <a:tailEnd type="triangle" w="med" len="lg"/>
          </a:ln>
          <a:effectLst/>
        </p:spPr>
      </p:cxnSp>
      <p:sp>
        <p:nvSpPr>
          <p:cNvPr id="68" name="Prostokąt 12">
            <a:extLst>
              <a:ext uri="{FF2B5EF4-FFF2-40B4-BE49-F238E27FC236}">
                <a16:creationId xmlns:a16="http://schemas.microsoft.com/office/drawing/2014/main" id="{CA5D1F80-1D83-4F47-9091-BB4301F11668}"/>
              </a:ext>
            </a:extLst>
          </p:cNvPr>
          <p:cNvSpPr>
            <a:spLocks noChangeArrowheads="1"/>
          </p:cNvSpPr>
          <p:nvPr/>
        </p:nvSpPr>
        <p:spPr bwMode="auto">
          <a:xfrm>
            <a:off x="6634703" y="1390924"/>
            <a:ext cx="29276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ts val="600"/>
              </a:spcBef>
              <a:spcAft>
                <a:spcPct val="0"/>
              </a:spcAft>
              <a:buFont typeface="Wingdings 2" pitchFamily="18" charset="2"/>
              <a:buNone/>
            </a:pPr>
            <a:r>
              <a:rPr lang="en-GB" altLang="pl-PL" sz="1100" b="1" dirty="0">
                <a:solidFill>
                  <a:srgbClr val="111516"/>
                </a:solidFill>
                <a:latin typeface="Arial" pitchFamily="34" charset="0"/>
              </a:rPr>
              <a:t>Purpose of financing</a:t>
            </a:r>
          </a:p>
        </p:txBody>
      </p:sp>
      <p:sp>
        <p:nvSpPr>
          <p:cNvPr id="69" name="Prostokąt 68">
            <a:extLst>
              <a:ext uri="{FF2B5EF4-FFF2-40B4-BE49-F238E27FC236}">
                <a16:creationId xmlns:a16="http://schemas.microsoft.com/office/drawing/2014/main" id="{581D50CA-A799-458A-91C3-B57BF076F4D2}"/>
              </a:ext>
            </a:extLst>
          </p:cNvPr>
          <p:cNvSpPr>
            <a:spLocks noChangeArrowheads="1"/>
          </p:cNvSpPr>
          <p:nvPr/>
        </p:nvSpPr>
        <p:spPr bwMode="auto">
          <a:xfrm>
            <a:off x="6634703" y="1652534"/>
            <a:ext cx="268438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just" eaLnBrk="1" fontAlgn="base" hangingPunct="1">
              <a:spcBef>
                <a:spcPts val="600"/>
              </a:spcBef>
              <a:spcAft>
                <a:spcPct val="0"/>
              </a:spcAft>
              <a:buFont typeface="Wingdings 2" pitchFamily="18" charset="2"/>
              <a:buNone/>
            </a:pPr>
            <a:r>
              <a:rPr lang="en-GB" altLang="pl-PL" sz="1200" dirty="0">
                <a:solidFill>
                  <a:prstClr val="white">
                    <a:lumMod val="50000"/>
                  </a:prstClr>
                </a:solidFill>
                <a:latin typeface="Calibri" panose="020F0502020204030204"/>
              </a:rPr>
              <a:t>Financing of invoices issued by Suppliers</a:t>
            </a:r>
          </a:p>
          <a:p>
            <a:pPr algn="just" eaLnBrk="1" fontAlgn="base" hangingPunct="1">
              <a:spcBef>
                <a:spcPts val="600"/>
              </a:spcBef>
              <a:spcAft>
                <a:spcPct val="0"/>
              </a:spcAft>
              <a:buFont typeface="Wingdings 2" pitchFamily="18" charset="2"/>
              <a:buNone/>
            </a:pPr>
            <a:endParaRPr lang="en-GB" altLang="pl-PL" sz="1000" dirty="0">
              <a:solidFill>
                <a:prstClr val="white">
                  <a:lumMod val="50000"/>
                </a:prstClr>
              </a:solidFill>
              <a:latin typeface="Calibri" panose="020F0502020204030204"/>
            </a:endParaRPr>
          </a:p>
          <a:p>
            <a:pPr algn="just" eaLnBrk="1" fontAlgn="base" hangingPunct="1">
              <a:spcBef>
                <a:spcPts val="600"/>
              </a:spcBef>
              <a:spcAft>
                <a:spcPct val="0"/>
              </a:spcAft>
              <a:buFont typeface="Wingdings 2" pitchFamily="18" charset="2"/>
              <a:buNone/>
            </a:pPr>
            <a:endParaRPr lang="en-GB" altLang="pl-PL" sz="1000" dirty="0">
              <a:solidFill>
                <a:prstClr val="white">
                  <a:lumMod val="50000"/>
                </a:prstClr>
              </a:solidFill>
              <a:latin typeface="Calibri" panose="020F0502020204030204"/>
            </a:endParaRPr>
          </a:p>
        </p:txBody>
      </p:sp>
      <p:cxnSp>
        <p:nvCxnSpPr>
          <p:cNvPr id="70" name="Łącznik prostoliniowy 17">
            <a:extLst>
              <a:ext uri="{FF2B5EF4-FFF2-40B4-BE49-F238E27FC236}">
                <a16:creationId xmlns:a16="http://schemas.microsoft.com/office/drawing/2014/main" id="{6BE2BB6F-7782-4164-B826-A558EC7AEC18}"/>
              </a:ext>
            </a:extLst>
          </p:cNvPr>
          <p:cNvCxnSpPr>
            <a:cxnSpLocks/>
          </p:cNvCxnSpPr>
          <p:nvPr/>
        </p:nvCxnSpPr>
        <p:spPr bwMode="auto">
          <a:xfrm>
            <a:off x="6739527" y="1651012"/>
            <a:ext cx="2493461" cy="0"/>
          </a:xfrm>
          <a:prstGeom prst="line">
            <a:avLst/>
          </a:prstGeom>
          <a:noFill/>
          <a:ln w="6350" cap="flat" cmpd="sng" algn="ctr">
            <a:solidFill>
              <a:srgbClr val="C00000"/>
            </a:solidFill>
            <a:prstDash val="dash"/>
            <a:miter lim="800000"/>
          </a:ln>
          <a:effectLst/>
        </p:spPr>
      </p:cxnSp>
      <p:cxnSp>
        <p:nvCxnSpPr>
          <p:cNvPr id="71" name="Łącznik prostoliniowy 17">
            <a:extLst>
              <a:ext uri="{FF2B5EF4-FFF2-40B4-BE49-F238E27FC236}">
                <a16:creationId xmlns:a16="http://schemas.microsoft.com/office/drawing/2014/main" id="{7527F896-1324-47BF-BED7-3B6CE3B5BDE8}"/>
              </a:ext>
            </a:extLst>
          </p:cNvPr>
          <p:cNvCxnSpPr>
            <a:cxnSpLocks/>
          </p:cNvCxnSpPr>
          <p:nvPr/>
        </p:nvCxnSpPr>
        <p:spPr bwMode="auto">
          <a:xfrm>
            <a:off x="6714388" y="2898571"/>
            <a:ext cx="2493461" cy="0"/>
          </a:xfrm>
          <a:prstGeom prst="line">
            <a:avLst/>
          </a:prstGeom>
          <a:noFill/>
          <a:ln w="6350" cap="flat" cmpd="sng" algn="ctr">
            <a:solidFill>
              <a:srgbClr val="C00000"/>
            </a:solidFill>
            <a:prstDash val="dash"/>
            <a:miter lim="800000"/>
          </a:ln>
          <a:effectLst/>
        </p:spPr>
      </p:cxnSp>
      <p:sp>
        <p:nvSpPr>
          <p:cNvPr id="33" name="Tytuł 5">
            <a:extLst>
              <a:ext uri="{FF2B5EF4-FFF2-40B4-BE49-F238E27FC236}">
                <a16:creationId xmlns:a16="http://schemas.microsoft.com/office/drawing/2014/main" id="{8B22B470-B1B6-4C4D-8A74-C969EC385C38}"/>
              </a:ext>
            </a:extLst>
          </p:cNvPr>
          <p:cNvSpPr txBox="1">
            <a:spLocks/>
          </p:cNvSpPr>
          <p:nvPr/>
        </p:nvSpPr>
        <p:spPr>
          <a:xfrm>
            <a:off x="184377" y="181277"/>
            <a:ext cx="11603792" cy="699495"/>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400" b="1" kern="1200">
                <a:solidFill>
                  <a:schemeClr val="tx1">
                    <a:lumMod val="50000"/>
                  </a:schemeClr>
                </a:solidFill>
                <a:latin typeface="+mj-lt"/>
                <a:ea typeface="+mj-ea"/>
                <a:cs typeface="+mj-cs"/>
                <a:sym typeface="+mj-lt"/>
              </a:defRPr>
            </a:lvl1pPr>
          </a:lstStyle>
          <a:p>
            <a:pPr algn="ctr"/>
            <a:r>
              <a:rPr lang="en-GB" sz="2000" dirty="0">
                <a:latin typeface="+mn-lt"/>
              </a:rPr>
              <a:t>Case 2:</a:t>
            </a:r>
            <a:r>
              <a:rPr lang="en-GB" sz="1600" dirty="0">
                <a:latin typeface="+mn-lt"/>
              </a:rPr>
              <a:t>  </a:t>
            </a:r>
            <a:r>
              <a:rPr lang="en-GB" sz="2000" dirty="0">
                <a:latin typeface="+mn-lt"/>
                <a:ea typeface="Calibri" panose="020F0502020204030204" pitchFamily="34" charset="0"/>
                <a:cs typeface="Times New Roman" panose="02020603050405020304" pitchFamily="18" charset="0"/>
              </a:rPr>
              <a:t>Asian and European manufacturers deliver to a clothing company based in Poland</a:t>
            </a:r>
            <a:br>
              <a:rPr lang="en-GB" sz="2000" dirty="0">
                <a:solidFill>
                  <a:srgbClr val="000000"/>
                </a:solidFill>
              </a:rPr>
            </a:br>
            <a:endParaRPr lang="en-GB" sz="2000" dirty="0">
              <a:solidFill>
                <a:srgbClr val="000000"/>
              </a:solidFill>
            </a:endParaRPr>
          </a:p>
        </p:txBody>
      </p:sp>
      <p:cxnSp>
        <p:nvCxnSpPr>
          <p:cNvPr id="34" name="Łącznik prosty 33">
            <a:extLst>
              <a:ext uri="{FF2B5EF4-FFF2-40B4-BE49-F238E27FC236}">
                <a16:creationId xmlns:a16="http://schemas.microsoft.com/office/drawing/2014/main" id="{35567997-2168-4637-9CDF-252A92E68596}"/>
              </a:ext>
            </a:extLst>
          </p:cNvPr>
          <p:cNvCxnSpPr/>
          <p:nvPr/>
        </p:nvCxnSpPr>
        <p:spPr>
          <a:xfrm flipH="1">
            <a:off x="1422040" y="754088"/>
            <a:ext cx="9144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Łącznik prosty ze strzałką 75">
            <a:extLst>
              <a:ext uri="{FF2B5EF4-FFF2-40B4-BE49-F238E27FC236}">
                <a16:creationId xmlns:a16="http://schemas.microsoft.com/office/drawing/2014/main" id="{185ABE57-13B1-4770-8C55-C79F0FD441B6}"/>
              </a:ext>
            </a:extLst>
          </p:cNvPr>
          <p:cNvCxnSpPr>
            <a:cxnSpLocks/>
          </p:cNvCxnSpPr>
          <p:nvPr/>
        </p:nvCxnSpPr>
        <p:spPr>
          <a:xfrm flipH="1">
            <a:off x="4596967" y="2558121"/>
            <a:ext cx="808400" cy="1068697"/>
          </a:xfrm>
          <a:prstGeom prst="straightConnector1">
            <a:avLst/>
          </a:prstGeom>
          <a:noFill/>
          <a:ln w="12700" cap="flat" cmpd="sng" algn="ctr">
            <a:solidFill>
              <a:srgbClr val="C00000"/>
            </a:solidFill>
            <a:prstDash val="solid"/>
            <a:miter lim="800000"/>
            <a:headEnd type="none" w="med" len="lg"/>
            <a:tailEnd type="triangle" w="med" len="lg"/>
          </a:ln>
          <a:effectLst/>
        </p:spPr>
      </p:cxnSp>
      <p:cxnSp>
        <p:nvCxnSpPr>
          <p:cNvPr id="77" name="Łącznik prosty ze strzałką 76">
            <a:extLst>
              <a:ext uri="{FF2B5EF4-FFF2-40B4-BE49-F238E27FC236}">
                <a16:creationId xmlns:a16="http://schemas.microsoft.com/office/drawing/2014/main" id="{DD5B3E37-BDA7-4F10-A132-4956E37BE1C7}"/>
              </a:ext>
            </a:extLst>
          </p:cNvPr>
          <p:cNvCxnSpPr>
            <a:cxnSpLocks/>
          </p:cNvCxnSpPr>
          <p:nvPr/>
        </p:nvCxnSpPr>
        <p:spPr>
          <a:xfrm flipH="1" flipV="1">
            <a:off x="2325885" y="2591080"/>
            <a:ext cx="755265" cy="945313"/>
          </a:xfrm>
          <a:prstGeom prst="straightConnector1">
            <a:avLst/>
          </a:prstGeom>
          <a:noFill/>
          <a:ln w="12700" cap="flat" cmpd="sng" algn="ctr">
            <a:solidFill>
              <a:srgbClr val="C00000"/>
            </a:solidFill>
            <a:prstDash val="solid"/>
            <a:miter lim="800000"/>
            <a:headEnd type="none" w="med" len="lg"/>
            <a:tailEnd type="triangle" w="med" len="lg"/>
          </a:ln>
          <a:effectLst/>
        </p:spPr>
      </p:cxnSp>
      <p:sp>
        <p:nvSpPr>
          <p:cNvPr id="58" name="Schemat blokowy: łącznik 57">
            <a:extLst>
              <a:ext uri="{FF2B5EF4-FFF2-40B4-BE49-F238E27FC236}">
                <a16:creationId xmlns:a16="http://schemas.microsoft.com/office/drawing/2014/main" id="{95B34752-DE0E-46B6-BC5C-E6D9CF03FFE5}"/>
              </a:ext>
            </a:extLst>
          </p:cNvPr>
          <p:cNvSpPr/>
          <p:nvPr/>
        </p:nvSpPr>
        <p:spPr>
          <a:xfrm>
            <a:off x="2379472" y="3040024"/>
            <a:ext cx="230259" cy="213374"/>
          </a:xfrm>
          <a:prstGeom prst="flowChartConnector">
            <a:avLst/>
          </a:prstGeom>
          <a:solidFill>
            <a:sysClr val="window" lastClr="FFFFFF"/>
          </a:solidFill>
          <a:ln w="1270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4</a:t>
            </a:r>
          </a:p>
        </p:txBody>
      </p:sp>
      <p:pic>
        <p:nvPicPr>
          <p:cNvPr id="8" name="Obraz 7">
            <a:extLst>
              <a:ext uri="{FF2B5EF4-FFF2-40B4-BE49-F238E27FC236}">
                <a16:creationId xmlns:a16="http://schemas.microsoft.com/office/drawing/2014/main" id="{EC709DC0-15B7-4560-B944-82C540007CAE}"/>
              </a:ext>
            </a:extLst>
          </p:cNvPr>
          <p:cNvPicPr>
            <a:picLocks noChangeAspect="1"/>
          </p:cNvPicPr>
          <p:nvPr/>
        </p:nvPicPr>
        <p:blipFill>
          <a:blip r:embed="rId7"/>
          <a:stretch>
            <a:fillRect/>
          </a:stretch>
        </p:blipFill>
        <p:spPr>
          <a:xfrm>
            <a:off x="9211683" y="861790"/>
            <a:ext cx="2973198" cy="1617894"/>
          </a:xfrm>
          <a:prstGeom prst="rect">
            <a:avLst/>
          </a:prstGeom>
        </p:spPr>
      </p:pic>
      <p:sp>
        <p:nvSpPr>
          <p:cNvPr id="78" name="Schemat blokowy: łącznik 77">
            <a:extLst>
              <a:ext uri="{FF2B5EF4-FFF2-40B4-BE49-F238E27FC236}">
                <a16:creationId xmlns:a16="http://schemas.microsoft.com/office/drawing/2014/main" id="{B99331CE-DB62-4D95-858B-BF126DB62F88}"/>
              </a:ext>
            </a:extLst>
          </p:cNvPr>
          <p:cNvSpPr/>
          <p:nvPr/>
        </p:nvSpPr>
        <p:spPr>
          <a:xfrm>
            <a:off x="5174637" y="3043288"/>
            <a:ext cx="216223" cy="229207"/>
          </a:xfrm>
          <a:prstGeom prst="flowChartConnector">
            <a:avLst/>
          </a:prstGeom>
          <a:solidFill>
            <a:sysClr val="window" lastClr="FFFFFF"/>
          </a:solidFill>
          <a:ln w="1270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5</a:t>
            </a:r>
          </a:p>
        </p:txBody>
      </p:sp>
    </p:spTree>
    <p:extLst>
      <p:ext uri="{BB962C8B-B14F-4D97-AF65-F5344CB8AC3E}">
        <p14:creationId xmlns:p14="http://schemas.microsoft.com/office/powerpoint/2010/main" val="49696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8" descr="Geo Map - Europe - Poland">
            <a:extLst>
              <a:ext uri="{FF2B5EF4-FFF2-40B4-BE49-F238E27FC236}">
                <a16:creationId xmlns:a16="http://schemas.microsoft.com/office/drawing/2014/main" id="{A665DDFA-2C5E-4B45-BF09-4DEB8E58067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5955" y="984558"/>
            <a:ext cx="2634521" cy="244444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9" name="Obi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51" name="Obraz 150"/>
          <p:cNvPicPr/>
          <p:nvPr/>
        </p:nvPicPr>
        <p:blipFill rotWithShape="1">
          <a:blip r:embed="rId8">
            <a:extLst>
              <a:ext uri="{28A0092B-C50C-407E-A947-70E740481C1C}">
                <a14:useLocalDpi xmlns:a14="http://schemas.microsoft.com/office/drawing/2010/main" val="0"/>
              </a:ext>
            </a:extLst>
          </a:blip>
          <a:srcRect l="62014" b="51403"/>
          <a:stretch/>
        </p:blipFill>
        <p:spPr bwMode="auto">
          <a:xfrm>
            <a:off x="11482339" y="663812"/>
            <a:ext cx="706057" cy="1157468"/>
          </a:xfrm>
          <a:prstGeom prst="rect">
            <a:avLst/>
          </a:prstGeom>
          <a:noFill/>
        </p:spPr>
      </p:pic>
      <p:sp>
        <p:nvSpPr>
          <p:cNvPr id="120" name="Tytuł 5">
            <a:extLst>
              <a:ext uri="{FF2B5EF4-FFF2-40B4-BE49-F238E27FC236}">
                <a16:creationId xmlns:a16="http://schemas.microsoft.com/office/drawing/2014/main" id="{7FBB928C-12E5-4639-BBE7-F4656A58C202}"/>
              </a:ext>
            </a:extLst>
          </p:cNvPr>
          <p:cNvSpPr>
            <a:spLocks noGrp="1"/>
          </p:cNvSpPr>
          <p:nvPr>
            <p:ph type="title"/>
          </p:nvPr>
        </p:nvSpPr>
        <p:spPr>
          <a:xfrm>
            <a:off x="-1056639" y="106287"/>
            <a:ext cx="13390879" cy="725448"/>
          </a:xfrm>
        </p:spPr>
        <p:txBody>
          <a:bodyPr/>
          <a:lstStyle/>
          <a:p>
            <a:pPr lvl="0" algn="ctr"/>
            <a:r>
              <a:rPr lang="en-GB" sz="2000" dirty="0">
                <a:solidFill>
                  <a:srgbClr val="000000"/>
                </a:solidFill>
              </a:rPr>
              <a:t>Case 3: A company from Ukraine signs a contract with a general contractor &amp; supplier from Poland </a:t>
            </a:r>
            <a:br>
              <a:rPr lang="en-GB" sz="2000" dirty="0">
                <a:solidFill>
                  <a:srgbClr val="000000"/>
                </a:solidFill>
              </a:rPr>
            </a:br>
            <a:r>
              <a:rPr lang="en-GB" sz="2000" dirty="0">
                <a:solidFill>
                  <a:srgbClr val="000000"/>
                </a:solidFill>
              </a:rPr>
              <a:t>and obtains an investment loan</a:t>
            </a:r>
            <a:endParaRPr lang="en-GB" sz="2000" b="1" dirty="0">
              <a:solidFill>
                <a:srgbClr val="000000"/>
              </a:solidFill>
            </a:endParaRPr>
          </a:p>
        </p:txBody>
      </p:sp>
      <p:cxnSp>
        <p:nvCxnSpPr>
          <p:cNvPr id="121" name="Łącznik prosty 120"/>
          <p:cNvCxnSpPr/>
          <p:nvPr/>
        </p:nvCxnSpPr>
        <p:spPr>
          <a:xfrm>
            <a:off x="0" y="700301"/>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pic>
        <p:nvPicPr>
          <p:cNvPr id="24" name="Obraz 23">
            <a:extLst>
              <a:ext uri="{FF2B5EF4-FFF2-40B4-BE49-F238E27FC236}">
                <a16:creationId xmlns:a16="http://schemas.microsoft.com/office/drawing/2014/main" id="{3D4574ED-54F5-4C4E-AE20-4363B2C00E02}"/>
              </a:ext>
            </a:extLst>
          </p:cNvPr>
          <p:cNvPicPr preferRelativeResize="0">
            <a:picLocks/>
          </p:cNvPicPr>
          <p:nvPr/>
        </p:nvPicPr>
        <p:blipFill>
          <a:blip r:embed="rId9">
            <a:extLst>
              <a:ext uri="{28A0092B-C50C-407E-A947-70E740481C1C}">
                <a14:useLocalDpi xmlns:a14="http://schemas.microsoft.com/office/drawing/2010/main" val="0"/>
              </a:ext>
            </a:extLst>
          </a:blip>
          <a:stretch>
            <a:fillRect/>
          </a:stretch>
        </p:blipFill>
        <p:spPr>
          <a:xfrm>
            <a:off x="2306180" y="2135611"/>
            <a:ext cx="445541" cy="210710"/>
          </a:xfrm>
          <a:prstGeom prst="rect">
            <a:avLst/>
          </a:prstGeom>
          <a:ln w="3175">
            <a:solidFill>
              <a:srgbClr val="C00000"/>
            </a:solidFill>
          </a:ln>
        </p:spPr>
      </p:pic>
      <p:sp>
        <p:nvSpPr>
          <p:cNvPr id="19" name="pole tekstowe 18">
            <a:extLst>
              <a:ext uri="{FF2B5EF4-FFF2-40B4-BE49-F238E27FC236}">
                <a16:creationId xmlns:a16="http://schemas.microsoft.com/office/drawing/2014/main" id="{3E7034B2-316D-4517-AD1E-720CF01C26A3}"/>
              </a:ext>
            </a:extLst>
          </p:cNvPr>
          <p:cNvSpPr txBox="1"/>
          <p:nvPr/>
        </p:nvSpPr>
        <p:spPr>
          <a:xfrm>
            <a:off x="4098808" y="3254196"/>
            <a:ext cx="2473665"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b="1" dirty="0">
                <a:solidFill>
                  <a:sysClr val="windowText" lastClr="000000"/>
                </a:solidFill>
              </a:rPr>
              <a:t>Financed by Bank Pekao </a:t>
            </a:r>
            <a:br>
              <a:rPr lang="en-GB" sz="1600" b="1" dirty="0">
                <a:solidFill>
                  <a:sysClr val="windowText" lastClr="000000"/>
                </a:solidFill>
              </a:rPr>
            </a:br>
            <a:r>
              <a:rPr lang="en-GB" sz="1600" dirty="0">
                <a:solidFill>
                  <a:sysClr val="windowText" lastClr="000000"/>
                </a:solidFill>
              </a:rPr>
              <a:t>via investment loan </a:t>
            </a:r>
            <a:br>
              <a:rPr lang="en-GB" sz="1600" dirty="0">
                <a:solidFill>
                  <a:sysClr val="windowText" lastClr="000000"/>
                </a:solidFill>
              </a:rPr>
            </a:br>
            <a:r>
              <a:rPr lang="en-GB" sz="1600" dirty="0">
                <a:solidFill>
                  <a:sysClr val="windowText" lastClr="000000"/>
                </a:solidFill>
              </a:rPr>
              <a:t>for the Ukrainian company</a:t>
            </a:r>
          </a:p>
          <a:p>
            <a:pPr algn="ctr"/>
            <a:r>
              <a:rPr lang="en-GB" sz="1600" dirty="0">
                <a:solidFill>
                  <a:sysClr val="windowText" lastClr="000000"/>
                </a:solidFill>
              </a:rPr>
              <a:t>with insurance from export credit agency</a:t>
            </a:r>
          </a:p>
        </p:txBody>
      </p:sp>
      <p:sp>
        <p:nvSpPr>
          <p:cNvPr id="22" name="pole tekstowe 21">
            <a:extLst>
              <a:ext uri="{FF2B5EF4-FFF2-40B4-BE49-F238E27FC236}">
                <a16:creationId xmlns:a16="http://schemas.microsoft.com/office/drawing/2014/main" id="{CD7273F6-BA67-48BF-A90D-D316680C0086}"/>
              </a:ext>
            </a:extLst>
          </p:cNvPr>
          <p:cNvSpPr txBox="1"/>
          <p:nvPr/>
        </p:nvSpPr>
        <p:spPr>
          <a:xfrm>
            <a:off x="427874" y="4349390"/>
            <a:ext cx="3946877" cy="24239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200" b="1" dirty="0">
                <a:solidFill>
                  <a:srgbClr val="C00000"/>
                </a:solidFill>
              </a:rPr>
              <a:t>BENEFITS for Exporter:</a:t>
            </a:r>
          </a:p>
          <a:p>
            <a:pPr algn="ctr"/>
            <a:endParaRPr lang="en-GB" sz="1200" dirty="0">
              <a:solidFill>
                <a:sysClr val="windowText" lastClr="000000"/>
              </a:solidFill>
            </a:endParaRPr>
          </a:p>
          <a:p>
            <a:pPr marL="285750" indent="-285750">
              <a:lnSpc>
                <a:spcPct val="150000"/>
              </a:lnSpc>
              <a:buFont typeface="Arial" panose="020B0604020202020204" pitchFamily="34" charset="0"/>
              <a:buChar char="•"/>
            </a:pPr>
            <a:r>
              <a:rPr lang="en-GB" sz="1200" dirty="0">
                <a:solidFill>
                  <a:sysClr val="windowText" lastClr="000000"/>
                </a:solidFill>
              </a:rPr>
              <a:t>The Exporter: </a:t>
            </a:r>
            <a:r>
              <a:rPr lang="en-GB" sz="1200" b="1" dirty="0">
                <a:solidFill>
                  <a:sysClr val="windowText" lastClr="000000"/>
                </a:solidFill>
              </a:rPr>
              <a:t>company based in Poland acting as general contractor and supplier of equipment</a:t>
            </a:r>
          </a:p>
          <a:p>
            <a:pPr marL="285750" indent="-285750">
              <a:lnSpc>
                <a:spcPct val="150000"/>
              </a:lnSpc>
              <a:spcAft>
                <a:spcPts val="600"/>
              </a:spcAft>
              <a:buFont typeface="Arial" panose="020B0604020202020204" pitchFamily="34" charset="0"/>
              <a:buChar char="•"/>
            </a:pPr>
            <a:r>
              <a:rPr lang="en-GB" sz="1200" dirty="0">
                <a:solidFill>
                  <a:sysClr val="windowText" lastClr="000000"/>
                </a:solidFill>
              </a:rPr>
              <a:t>Protection against the risk of non-payment</a:t>
            </a:r>
          </a:p>
          <a:p>
            <a:pPr marL="285750" indent="-285750">
              <a:lnSpc>
                <a:spcPct val="150000"/>
              </a:lnSpc>
              <a:spcAft>
                <a:spcPts val="600"/>
              </a:spcAft>
              <a:buFont typeface="Arial" panose="020B0604020202020204" pitchFamily="34" charset="0"/>
              <a:buChar char="•"/>
            </a:pPr>
            <a:r>
              <a:rPr lang="en-GB" sz="1200" dirty="0">
                <a:solidFill>
                  <a:sysClr val="windowText" lastClr="000000"/>
                </a:solidFill>
              </a:rPr>
              <a:t>Increased exporter’s competitiveness</a:t>
            </a:r>
          </a:p>
        </p:txBody>
      </p:sp>
      <p:sp>
        <p:nvSpPr>
          <p:cNvPr id="23" name="pole tekstowe 22">
            <a:extLst>
              <a:ext uri="{FF2B5EF4-FFF2-40B4-BE49-F238E27FC236}">
                <a16:creationId xmlns:a16="http://schemas.microsoft.com/office/drawing/2014/main" id="{C1A33552-8A18-4D72-9FBC-F6722193A61B}"/>
              </a:ext>
            </a:extLst>
          </p:cNvPr>
          <p:cNvSpPr txBox="1"/>
          <p:nvPr/>
        </p:nvSpPr>
        <p:spPr>
          <a:xfrm>
            <a:off x="7227033" y="5159638"/>
            <a:ext cx="4400424" cy="9233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200" b="1" dirty="0">
              <a:solidFill>
                <a:sysClr val="windowText" lastClr="000000"/>
              </a:solidFill>
            </a:endParaRPr>
          </a:p>
          <a:p>
            <a:pPr algn="ctr"/>
            <a:endParaRPr lang="en-GB" sz="1200" b="1" dirty="0">
              <a:solidFill>
                <a:sysClr val="windowText" lastClr="000000"/>
              </a:solidFill>
            </a:endParaRPr>
          </a:p>
          <a:p>
            <a:pPr algn="ctr"/>
            <a:endParaRPr lang="en-GB" sz="1200" b="1" dirty="0">
              <a:solidFill>
                <a:sysClr val="windowText" lastClr="000000"/>
              </a:solidFill>
            </a:endParaRPr>
          </a:p>
          <a:p>
            <a:pPr algn="ctr"/>
            <a:endParaRPr lang="en-GB" sz="1200" b="1" dirty="0">
              <a:solidFill>
                <a:sysClr val="windowText" lastClr="000000"/>
              </a:solidFill>
            </a:endParaRPr>
          </a:p>
          <a:p>
            <a:pPr algn="ctr"/>
            <a:endParaRPr lang="en-GB" sz="1200" b="1" dirty="0">
              <a:solidFill>
                <a:sysClr val="windowText" lastClr="000000"/>
              </a:solidFill>
            </a:endParaRPr>
          </a:p>
          <a:p>
            <a:pPr algn="ctr"/>
            <a:r>
              <a:rPr lang="en-GB" sz="1200" b="1" dirty="0">
                <a:solidFill>
                  <a:srgbClr val="C00000"/>
                </a:solidFill>
              </a:rPr>
              <a:t>BENEFITS for Importer / Borrower:</a:t>
            </a:r>
          </a:p>
          <a:p>
            <a:pPr algn="ctr">
              <a:spcAft>
                <a:spcPts val="600"/>
              </a:spcAft>
            </a:pPr>
            <a:endParaRPr lang="en-GB" sz="1200" b="1" dirty="0">
              <a:solidFill>
                <a:sysClr val="windowText" lastClr="000000"/>
              </a:solidFill>
            </a:endParaRPr>
          </a:p>
          <a:p>
            <a:pPr marL="285750" indent="-285750">
              <a:spcAft>
                <a:spcPts val="600"/>
              </a:spcAft>
              <a:buFont typeface="Arial" panose="020B0604020202020204" pitchFamily="34" charset="0"/>
              <a:buChar char="•"/>
            </a:pPr>
            <a:r>
              <a:rPr lang="en-GB" sz="1200" dirty="0">
                <a:solidFill>
                  <a:sysClr val="windowText" lastClr="000000"/>
                </a:solidFill>
              </a:rPr>
              <a:t>The Importer: </a:t>
            </a:r>
            <a:r>
              <a:rPr lang="en-GB" sz="1200" b="1" dirty="0">
                <a:solidFill>
                  <a:sysClr val="windowText" lastClr="000000"/>
                </a:solidFill>
              </a:rPr>
              <a:t>company based in Ukraine, </a:t>
            </a:r>
            <a:br>
              <a:rPr lang="en-GB" sz="1200" b="1" dirty="0">
                <a:solidFill>
                  <a:sysClr val="windowText" lastClr="000000"/>
                </a:solidFill>
              </a:rPr>
            </a:br>
            <a:r>
              <a:rPr lang="en-GB" sz="1200" b="1" dirty="0">
                <a:solidFill>
                  <a:sysClr val="windowText" lastClr="000000"/>
                </a:solidFill>
              </a:rPr>
              <a:t>investing in a photovoltaic farm</a:t>
            </a:r>
          </a:p>
          <a:p>
            <a:pPr marL="285750" indent="-285750">
              <a:spcAft>
                <a:spcPts val="600"/>
              </a:spcAft>
              <a:buFont typeface="Arial" panose="020B0604020202020204" pitchFamily="34" charset="0"/>
              <a:buChar char="•"/>
            </a:pPr>
            <a:r>
              <a:rPr lang="en-GB" sz="1200" dirty="0">
                <a:solidFill>
                  <a:sysClr val="windowText" lastClr="000000"/>
                </a:solidFill>
              </a:rPr>
              <a:t>Obtained financing of the investment project</a:t>
            </a:r>
          </a:p>
          <a:p>
            <a:pPr marL="285750" indent="-285750">
              <a:spcAft>
                <a:spcPts val="600"/>
              </a:spcAft>
              <a:buFont typeface="Arial" panose="020B0604020202020204" pitchFamily="34" charset="0"/>
              <a:buChar char="•"/>
            </a:pPr>
            <a:r>
              <a:rPr lang="en-GB" sz="1200" dirty="0">
                <a:solidFill>
                  <a:sysClr val="windowText" lastClr="000000"/>
                </a:solidFill>
              </a:rPr>
              <a:t>Long-term financing</a:t>
            </a:r>
          </a:p>
          <a:p>
            <a:pPr marL="285750" indent="-285750">
              <a:spcAft>
                <a:spcPts val="600"/>
              </a:spcAft>
              <a:buFont typeface="Arial" panose="020B0604020202020204" pitchFamily="34" charset="0"/>
              <a:buChar char="•"/>
            </a:pPr>
            <a:r>
              <a:rPr lang="en-GB" sz="1200" dirty="0">
                <a:solidFill>
                  <a:sysClr val="windowText" lastClr="000000"/>
                </a:solidFill>
              </a:rPr>
              <a:t>Favourable cost of financing compared to the conditions on the importer’s home market</a:t>
            </a:r>
          </a:p>
          <a:p>
            <a:pPr marL="285750" indent="-285750">
              <a:buFont typeface="Arial" panose="020B0604020202020204" pitchFamily="34" charset="0"/>
              <a:buChar char="•"/>
            </a:pPr>
            <a:endParaRPr lang="en-GB" sz="1200" dirty="0">
              <a:solidFill>
                <a:sysClr val="windowText" lastClr="000000"/>
              </a:solidFill>
            </a:endParaRPr>
          </a:p>
          <a:p>
            <a:pPr marL="285750" indent="-285750">
              <a:buFont typeface="Arial" panose="020B0604020202020204" pitchFamily="34" charset="0"/>
              <a:buChar char="•"/>
            </a:pPr>
            <a:endParaRPr lang="en-GB" sz="1200" dirty="0">
              <a:solidFill>
                <a:sysClr val="windowText" lastClr="000000"/>
              </a:solidFill>
            </a:endParaRPr>
          </a:p>
          <a:p>
            <a:pPr algn="ctr"/>
            <a:endParaRPr lang="en-GB" sz="1200" b="1" dirty="0">
              <a:solidFill>
                <a:sysClr val="windowText" lastClr="000000"/>
              </a:solidFill>
            </a:endParaRPr>
          </a:p>
          <a:p>
            <a:pPr algn="ctr"/>
            <a:endParaRPr lang="en-GB" sz="1200" b="1" dirty="0">
              <a:solidFill>
                <a:sysClr val="windowText" lastClr="000000"/>
              </a:solidFill>
            </a:endParaRPr>
          </a:p>
        </p:txBody>
      </p:sp>
      <p:pic>
        <p:nvPicPr>
          <p:cNvPr id="27" name="Picture 12" descr="Geo Map - Europe - Ukraine">
            <a:extLst>
              <a:ext uri="{FF2B5EF4-FFF2-40B4-BE49-F238E27FC236}">
                <a16:creationId xmlns:a16="http://schemas.microsoft.com/office/drawing/2014/main" id="{7A42B08F-62C0-42D4-BA54-0E7BA5678D8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005621" y="831734"/>
            <a:ext cx="4400424" cy="2990452"/>
          </a:xfrm>
          <a:prstGeom prst="rect">
            <a:avLst/>
          </a:prstGeom>
          <a:noFill/>
          <a:extLst>
            <a:ext uri="{909E8E84-426E-40DD-AFC4-6F175D3DCCD1}">
              <a14:hiddenFill xmlns:a14="http://schemas.microsoft.com/office/drawing/2010/main">
                <a:solidFill>
                  <a:srgbClr val="FFFFFF"/>
                </a:solidFill>
              </a14:hiddenFill>
            </a:ext>
          </a:extLst>
        </p:spPr>
      </p:pic>
      <p:pic>
        <p:nvPicPr>
          <p:cNvPr id="4" name="Obraz 3">
            <a:extLst>
              <a:ext uri="{FF2B5EF4-FFF2-40B4-BE49-F238E27FC236}">
                <a16:creationId xmlns:a16="http://schemas.microsoft.com/office/drawing/2014/main" id="{AA37F2E6-632F-4C11-A8C7-B9A1B73B4E17}"/>
              </a:ext>
            </a:extLst>
          </p:cNvPr>
          <p:cNvPicPr>
            <a:picLocks noChangeAspect="1"/>
          </p:cNvPicPr>
          <p:nvPr/>
        </p:nvPicPr>
        <p:blipFill>
          <a:blip r:embed="rId11"/>
          <a:stretch>
            <a:fillRect/>
          </a:stretch>
        </p:blipFill>
        <p:spPr>
          <a:xfrm>
            <a:off x="7975968" y="1922238"/>
            <a:ext cx="556845" cy="246949"/>
          </a:xfrm>
          <a:prstGeom prst="rect">
            <a:avLst/>
          </a:prstGeom>
        </p:spPr>
      </p:pic>
      <p:cxnSp>
        <p:nvCxnSpPr>
          <p:cNvPr id="3" name="Łącznik prosty ze strzałką 2">
            <a:extLst>
              <a:ext uri="{FF2B5EF4-FFF2-40B4-BE49-F238E27FC236}">
                <a16:creationId xmlns:a16="http://schemas.microsoft.com/office/drawing/2014/main" id="{D6BC1755-21DB-4640-BF0D-F1C603F119AD}"/>
              </a:ext>
            </a:extLst>
          </p:cNvPr>
          <p:cNvCxnSpPr/>
          <p:nvPr/>
        </p:nvCxnSpPr>
        <p:spPr>
          <a:xfrm>
            <a:off x="3397689" y="1873297"/>
            <a:ext cx="3831715" cy="0"/>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 name="pole tekstowe 4"/>
          <p:cNvSpPr txBox="1"/>
          <p:nvPr/>
        </p:nvSpPr>
        <p:spPr>
          <a:xfrm>
            <a:off x="3524904" y="1069115"/>
            <a:ext cx="1539914"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GB" sz="1400" b="1" dirty="0">
                <a:solidFill>
                  <a:sysClr val="windowText" lastClr="000000"/>
                </a:solidFill>
              </a:rPr>
              <a:t>Construction &amp; supply of equipment from Poland</a:t>
            </a:r>
          </a:p>
        </p:txBody>
      </p:sp>
      <p:pic>
        <p:nvPicPr>
          <p:cNvPr id="6" name="Obraz 5" descr="Obraz zawierający ogniwo słoneczne, obiekt na zewnątrz, niebieski, zewnętrzne&#10;&#10;Opis wygenerowany automatycznie">
            <a:extLst>
              <a:ext uri="{FF2B5EF4-FFF2-40B4-BE49-F238E27FC236}">
                <a16:creationId xmlns:a16="http://schemas.microsoft.com/office/drawing/2014/main" id="{68112A10-C0DF-4E43-9879-3724E8C62298}"/>
              </a:ext>
            </a:extLst>
          </p:cNvPr>
          <p:cNvPicPr>
            <a:picLocks noChangeAspect="1"/>
          </p:cNvPicPr>
          <p:nvPr/>
        </p:nvPicPr>
        <p:blipFill>
          <a:blip r:embed="rId12"/>
          <a:stretch>
            <a:fillRect/>
          </a:stretch>
        </p:blipFill>
        <p:spPr>
          <a:xfrm>
            <a:off x="9262533" y="1554798"/>
            <a:ext cx="1397180" cy="929760"/>
          </a:xfrm>
          <a:prstGeom prst="rect">
            <a:avLst/>
          </a:prstGeom>
        </p:spPr>
      </p:pic>
      <p:pic>
        <p:nvPicPr>
          <p:cNvPr id="26" name="Obraz 25">
            <a:extLst>
              <a:ext uri="{FF2B5EF4-FFF2-40B4-BE49-F238E27FC236}">
                <a16:creationId xmlns:a16="http://schemas.microsoft.com/office/drawing/2014/main" id="{2E51B2AF-2FF9-42FC-87E3-30E27E6C862B}"/>
              </a:ext>
            </a:extLst>
          </p:cNvPr>
          <p:cNvPicPr>
            <a:picLocks noChangeAspect="1"/>
          </p:cNvPicPr>
          <p:nvPr/>
        </p:nvPicPr>
        <p:blipFill>
          <a:blip r:embed="rId13"/>
          <a:stretch>
            <a:fillRect/>
          </a:stretch>
        </p:blipFill>
        <p:spPr>
          <a:xfrm>
            <a:off x="1967941" y="1435366"/>
            <a:ext cx="724813" cy="724813"/>
          </a:xfrm>
          <a:prstGeom prst="rect">
            <a:avLst/>
          </a:prstGeom>
        </p:spPr>
      </p:pic>
      <p:pic>
        <p:nvPicPr>
          <p:cNvPr id="28" name="Obraz 27">
            <a:extLst>
              <a:ext uri="{FF2B5EF4-FFF2-40B4-BE49-F238E27FC236}">
                <a16:creationId xmlns:a16="http://schemas.microsoft.com/office/drawing/2014/main" id="{F3755B85-04A7-4676-9DA7-4D92C68B9B99}"/>
              </a:ext>
            </a:extLst>
          </p:cNvPr>
          <p:cNvPicPr>
            <a:picLocks noChangeAspect="1"/>
          </p:cNvPicPr>
          <p:nvPr/>
        </p:nvPicPr>
        <p:blipFill>
          <a:blip r:embed="rId14"/>
          <a:stretch>
            <a:fillRect/>
          </a:stretch>
        </p:blipFill>
        <p:spPr>
          <a:xfrm>
            <a:off x="2270207" y="1471532"/>
            <a:ext cx="699495" cy="699495"/>
          </a:xfrm>
          <a:prstGeom prst="rect">
            <a:avLst/>
          </a:prstGeom>
        </p:spPr>
      </p:pic>
    </p:spTree>
    <p:extLst>
      <p:ext uri="{BB962C8B-B14F-4D97-AF65-F5344CB8AC3E}">
        <p14:creationId xmlns:p14="http://schemas.microsoft.com/office/powerpoint/2010/main" val="16141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i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120" name="Tytuł 5">
            <a:extLst>
              <a:ext uri="{FF2B5EF4-FFF2-40B4-BE49-F238E27FC236}">
                <a16:creationId xmlns:a16="http://schemas.microsoft.com/office/drawing/2014/main" id="{7FBB928C-12E5-4639-BBE7-F4656A58C202}"/>
              </a:ext>
            </a:extLst>
          </p:cNvPr>
          <p:cNvSpPr>
            <a:spLocks noGrp="1"/>
          </p:cNvSpPr>
          <p:nvPr>
            <p:ph type="title"/>
          </p:nvPr>
        </p:nvSpPr>
        <p:spPr>
          <a:xfrm>
            <a:off x="-1056639" y="106287"/>
            <a:ext cx="13390879" cy="725448"/>
          </a:xfrm>
        </p:spPr>
        <p:txBody>
          <a:bodyPr/>
          <a:lstStyle/>
          <a:p>
            <a:pPr lvl="0" algn="ctr"/>
            <a:r>
              <a:rPr lang="en-GB" sz="2000" dirty="0">
                <a:solidFill>
                  <a:srgbClr val="000000"/>
                </a:solidFill>
              </a:rPr>
              <a:t>Case 3: A company from Ukraine signs a contract with a general contractor &amp; supplier from Poland </a:t>
            </a:r>
            <a:br>
              <a:rPr lang="en-GB" sz="2000" dirty="0">
                <a:solidFill>
                  <a:srgbClr val="000000"/>
                </a:solidFill>
              </a:rPr>
            </a:br>
            <a:r>
              <a:rPr lang="en-GB" sz="2000" dirty="0">
                <a:solidFill>
                  <a:srgbClr val="000000"/>
                </a:solidFill>
              </a:rPr>
              <a:t>and obtains an investment loan</a:t>
            </a:r>
            <a:endParaRPr lang="en-GB" sz="2000" b="1" dirty="0">
              <a:solidFill>
                <a:srgbClr val="000000"/>
              </a:solidFill>
            </a:endParaRPr>
          </a:p>
        </p:txBody>
      </p:sp>
      <p:cxnSp>
        <p:nvCxnSpPr>
          <p:cNvPr id="121" name="Łącznik prosty 120"/>
          <p:cNvCxnSpPr/>
          <p:nvPr/>
        </p:nvCxnSpPr>
        <p:spPr>
          <a:xfrm>
            <a:off x="0" y="700301"/>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sp>
        <p:nvSpPr>
          <p:cNvPr id="52" name="Prostokąt 51">
            <a:extLst>
              <a:ext uri="{FF2B5EF4-FFF2-40B4-BE49-F238E27FC236}">
                <a16:creationId xmlns:a16="http://schemas.microsoft.com/office/drawing/2014/main" id="{49F4CE7F-89AE-44D7-98B3-894974923A39}"/>
              </a:ext>
            </a:extLst>
          </p:cNvPr>
          <p:cNvSpPr/>
          <p:nvPr/>
        </p:nvSpPr>
        <p:spPr>
          <a:xfrm>
            <a:off x="516101" y="1624824"/>
            <a:ext cx="6081896" cy="3673840"/>
          </a:xfrm>
          <a:prstGeom prst="rect">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3" name="pole tekstowe 10">
            <a:extLst>
              <a:ext uri="{FF2B5EF4-FFF2-40B4-BE49-F238E27FC236}">
                <a16:creationId xmlns:a16="http://schemas.microsoft.com/office/drawing/2014/main" id="{913B6E0A-6CD2-4EED-ADC4-49F4C8C78013}"/>
              </a:ext>
            </a:extLst>
          </p:cNvPr>
          <p:cNvSpPr txBox="1">
            <a:spLocks noChangeArrowheads="1"/>
          </p:cNvSpPr>
          <p:nvPr/>
        </p:nvSpPr>
        <p:spPr bwMode="auto">
          <a:xfrm>
            <a:off x="7603470" y="3505655"/>
            <a:ext cx="3791557" cy="120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8016" tIns="64008" rIns="128016" bIns="64008">
            <a:spAutoFit/>
          </a:bodyPr>
          <a:lstStyle>
            <a:lvl1pPr>
              <a:spcBef>
                <a:spcPct val="20000"/>
              </a:spcBef>
              <a:buClr>
                <a:srgbClr val="E60A0A"/>
              </a:buClr>
              <a:buSzPct val="130000"/>
              <a:buFont typeface="Arial" pitchFamily="34" charset="0"/>
              <a:buChar char="•"/>
              <a:defRPr sz="2000">
                <a:solidFill>
                  <a:schemeClr val="tx1"/>
                </a:solidFill>
                <a:latin typeface="Arial" pitchFamily="34" charset="0"/>
              </a:defRPr>
            </a:lvl1pPr>
            <a:lvl2pPr marL="742950" indent="-285750">
              <a:spcBef>
                <a:spcPct val="20000"/>
              </a:spcBef>
              <a:buClr>
                <a:srgbClr val="E60A0A"/>
              </a:buClr>
              <a:buSzPct val="120000"/>
              <a:buFont typeface="Arial" pitchFamily="34" charset="0"/>
              <a:buChar char="•"/>
              <a:defRPr>
                <a:solidFill>
                  <a:schemeClr val="tx1"/>
                </a:solidFill>
                <a:latin typeface="Arial" pitchFamily="34" charset="0"/>
              </a:defRPr>
            </a:lvl2pPr>
            <a:lvl3pPr marL="1143000" indent="-228600">
              <a:spcBef>
                <a:spcPct val="20000"/>
              </a:spcBef>
              <a:buClr>
                <a:srgbClr val="E60A0A"/>
              </a:buClr>
              <a:buSzPct val="110000"/>
              <a:buFont typeface="Arial" pitchFamily="34" charset="0"/>
              <a:buChar char="•"/>
              <a:defRPr sz="1600">
                <a:solidFill>
                  <a:schemeClr val="tx1"/>
                </a:solidFill>
                <a:latin typeface="Arial" pitchFamily="34" charset="0"/>
              </a:defRPr>
            </a:lvl3pPr>
            <a:lvl4pPr marL="1600200" indent="-228600">
              <a:spcBef>
                <a:spcPct val="20000"/>
              </a:spcBef>
              <a:buClr>
                <a:srgbClr val="E60A0A"/>
              </a:buClr>
              <a:buFont typeface="Arial" pitchFamily="34" charset="0"/>
              <a:buChar char="•"/>
              <a:defRPr sz="1400">
                <a:solidFill>
                  <a:schemeClr val="tx1"/>
                </a:solidFill>
                <a:latin typeface="Arial" pitchFamily="34" charset="0"/>
              </a:defRPr>
            </a:lvl4pPr>
            <a:lvl5pPr marL="2057400" indent="-228600">
              <a:spcBef>
                <a:spcPct val="20000"/>
              </a:spcBef>
              <a:buClr>
                <a:srgbClr val="E60A0A"/>
              </a:buClr>
              <a:buSzPct val="90000"/>
              <a:buFont typeface="Arial" pitchFamily="34" charset="0"/>
              <a:buChar char="•"/>
              <a:defRPr sz="1200">
                <a:solidFill>
                  <a:schemeClr val="tx1"/>
                </a:solidFill>
                <a:latin typeface="Arial" pitchFamily="34" charset="0"/>
              </a:defRPr>
            </a:lvl5pPr>
            <a:lvl6pPr marL="2514600" indent="-228600" eaLnBrk="0" fontAlgn="base" hangingPunct="0">
              <a:spcBef>
                <a:spcPct val="20000"/>
              </a:spcBef>
              <a:spcAft>
                <a:spcPct val="0"/>
              </a:spcAft>
              <a:buClr>
                <a:srgbClr val="E60A0A"/>
              </a:buClr>
              <a:buSzPct val="90000"/>
              <a:buFont typeface="Arial" pitchFamily="34" charset="0"/>
              <a:buChar char="•"/>
              <a:defRPr sz="1200">
                <a:solidFill>
                  <a:schemeClr val="tx1"/>
                </a:solidFill>
                <a:latin typeface="Arial" pitchFamily="34" charset="0"/>
              </a:defRPr>
            </a:lvl6pPr>
            <a:lvl7pPr marL="2971800" indent="-228600" eaLnBrk="0" fontAlgn="base" hangingPunct="0">
              <a:spcBef>
                <a:spcPct val="20000"/>
              </a:spcBef>
              <a:spcAft>
                <a:spcPct val="0"/>
              </a:spcAft>
              <a:buClr>
                <a:srgbClr val="E60A0A"/>
              </a:buClr>
              <a:buSzPct val="90000"/>
              <a:buFont typeface="Arial" pitchFamily="34" charset="0"/>
              <a:buChar char="•"/>
              <a:defRPr sz="1200">
                <a:solidFill>
                  <a:schemeClr val="tx1"/>
                </a:solidFill>
                <a:latin typeface="Arial" pitchFamily="34" charset="0"/>
              </a:defRPr>
            </a:lvl7pPr>
            <a:lvl8pPr marL="3429000" indent="-228600" eaLnBrk="0" fontAlgn="base" hangingPunct="0">
              <a:spcBef>
                <a:spcPct val="20000"/>
              </a:spcBef>
              <a:spcAft>
                <a:spcPct val="0"/>
              </a:spcAft>
              <a:buClr>
                <a:srgbClr val="E60A0A"/>
              </a:buClr>
              <a:buSzPct val="90000"/>
              <a:buFont typeface="Arial" pitchFamily="34" charset="0"/>
              <a:buChar char="•"/>
              <a:defRPr sz="1200">
                <a:solidFill>
                  <a:schemeClr val="tx1"/>
                </a:solidFill>
                <a:latin typeface="Arial" pitchFamily="34" charset="0"/>
              </a:defRPr>
            </a:lvl8pPr>
            <a:lvl9pPr marL="3886200" indent="-228600" eaLnBrk="0" fontAlgn="base" hangingPunct="0">
              <a:spcBef>
                <a:spcPct val="20000"/>
              </a:spcBef>
              <a:spcAft>
                <a:spcPct val="0"/>
              </a:spcAft>
              <a:buClr>
                <a:srgbClr val="E60A0A"/>
              </a:buClr>
              <a:buSzPct val="90000"/>
              <a:buFont typeface="Arial" pitchFamily="34" charset="0"/>
              <a:buChar char="•"/>
              <a:defRPr sz="1200">
                <a:solidFill>
                  <a:schemeClr val="tx1"/>
                </a:solidFill>
                <a:latin typeface="Arial" pitchFamily="34" charset="0"/>
              </a:defRPr>
            </a:lvl9pPr>
          </a:lstStyle>
          <a:p>
            <a:pPr marL="228600" indent="-228600" algn="just" eaLnBrk="0" fontAlgn="base" hangingPunct="0">
              <a:lnSpc>
                <a:spcPct val="150000"/>
              </a:lnSpc>
              <a:spcBef>
                <a:spcPct val="0"/>
              </a:spcBef>
              <a:spcAft>
                <a:spcPct val="0"/>
              </a:spcAft>
              <a:buClrTx/>
              <a:buSzTx/>
              <a:buFont typeface="+mj-lt"/>
              <a:buAutoNum type="arabicPeriod"/>
            </a:pPr>
            <a:r>
              <a:rPr lang="en-GB" altLang="pl-PL" sz="1200" dirty="0">
                <a:solidFill>
                  <a:prstClr val="white">
                    <a:lumMod val="50000"/>
                  </a:prstClr>
                </a:solidFill>
                <a:latin typeface="Calibri" panose="020F0502020204030204"/>
              </a:rPr>
              <a:t>Financing of the export contract </a:t>
            </a:r>
          </a:p>
          <a:p>
            <a:pPr marL="228600" indent="-228600" algn="just" eaLnBrk="0" fontAlgn="base" hangingPunct="0">
              <a:lnSpc>
                <a:spcPct val="150000"/>
              </a:lnSpc>
              <a:spcBef>
                <a:spcPct val="0"/>
              </a:spcBef>
              <a:spcAft>
                <a:spcPct val="0"/>
              </a:spcAft>
              <a:buClrTx/>
              <a:buSzTx/>
              <a:buFont typeface="+mj-lt"/>
              <a:buAutoNum type="arabicPeriod"/>
            </a:pPr>
            <a:r>
              <a:rPr lang="en-GB" altLang="pl-PL" sz="1200" dirty="0">
                <a:solidFill>
                  <a:prstClr val="white">
                    <a:lumMod val="50000"/>
                  </a:prstClr>
                </a:solidFill>
                <a:latin typeface="Calibri" panose="020F0502020204030204"/>
              </a:rPr>
              <a:t>Tailor-made security package, including those offered by insurers</a:t>
            </a:r>
          </a:p>
          <a:p>
            <a:pPr marL="228600" indent="-228600" algn="just" eaLnBrk="0" fontAlgn="base" hangingPunct="0">
              <a:lnSpc>
                <a:spcPct val="150000"/>
              </a:lnSpc>
              <a:spcBef>
                <a:spcPct val="0"/>
              </a:spcBef>
              <a:spcAft>
                <a:spcPct val="0"/>
              </a:spcAft>
              <a:buClrTx/>
              <a:buSzTx/>
              <a:buFont typeface="+mj-lt"/>
              <a:buAutoNum type="arabicPeriod"/>
            </a:pPr>
            <a:r>
              <a:rPr lang="en-GB" altLang="pl-PL" sz="1200" dirty="0">
                <a:solidFill>
                  <a:prstClr val="white">
                    <a:lumMod val="50000"/>
                  </a:prstClr>
                </a:solidFill>
                <a:latin typeface="Calibri" panose="020F0502020204030204"/>
              </a:rPr>
              <a:t>Up to 85% of the export contract</a:t>
            </a:r>
          </a:p>
        </p:txBody>
      </p:sp>
      <p:sp>
        <p:nvSpPr>
          <p:cNvPr id="54" name="Prostokąt 12">
            <a:extLst>
              <a:ext uri="{FF2B5EF4-FFF2-40B4-BE49-F238E27FC236}">
                <a16:creationId xmlns:a16="http://schemas.microsoft.com/office/drawing/2014/main" id="{C8BAD3AF-B457-4085-BF8F-FC6D5268C3A5}"/>
              </a:ext>
            </a:extLst>
          </p:cNvPr>
          <p:cNvSpPr>
            <a:spLocks noChangeArrowheads="1"/>
          </p:cNvSpPr>
          <p:nvPr/>
        </p:nvSpPr>
        <p:spPr bwMode="auto">
          <a:xfrm>
            <a:off x="7646229" y="3260945"/>
            <a:ext cx="2927688" cy="754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ts val="600"/>
              </a:spcBef>
              <a:spcAft>
                <a:spcPct val="0"/>
              </a:spcAft>
              <a:buFont typeface="Wingdings 2" pitchFamily="18" charset="2"/>
              <a:buNone/>
            </a:pPr>
            <a:r>
              <a:rPr lang="en-GB" altLang="pl-PL" sz="1100" b="1" dirty="0">
                <a:solidFill>
                  <a:srgbClr val="111516"/>
                </a:solidFill>
                <a:latin typeface="Arial" pitchFamily="34" charset="0"/>
                <a:ea typeface="Calibri" pitchFamily="34" charset="0"/>
              </a:rPr>
              <a:t>Characteristics</a:t>
            </a:r>
          </a:p>
          <a:p>
            <a:pPr eaLnBrk="1" fontAlgn="base" hangingPunct="1">
              <a:spcBef>
                <a:spcPts val="600"/>
              </a:spcBef>
              <a:spcAft>
                <a:spcPct val="0"/>
              </a:spcAft>
              <a:buFont typeface="Wingdings 2" pitchFamily="18" charset="2"/>
              <a:buNone/>
            </a:pPr>
            <a:endParaRPr lang="en-GB" altLang="pl-PL" sz="1100" b="1" dirty="0">
              <a:solidFill>
                <a:srgbClr val="111516"/>
              </a:solidFill>
              <a:latin typeface="Arial" pitchFamily="34" charset="0"/>
              <a:ea typeface="Calibri" pitchFamily="34" charset="0"/>
            </a:endParaRPr>
          </a:p>
          <a:p>
            <a:pPr eaLnBrk="1" fontAlgn="base" hangingPunct="1">
              <a:spcBef>
                <a:spcPts val="600"/>
              </a:spcBef>
              <a:spcAft>
                <a:spcPct val="0"/>
              </a:spcAft>
              <a:buFont typeface="Wingdings 2" pitchFamily="18" charset="2"/>
              <a:buNone/>
            </a:pPr>
            <a:endParaRPr lang="en-GB" altLang="pl-PL" sz="1100" b="1" dirty="0">
              <a:solidFill>
                <a:srgbClr val="111516"/>
              </a:solidFill>
              <a:latin typeface="Arial" pitchFamily="34" charset="0"/>
              <a:ea typeface="Calibri" pitchFamily="34" charset="0"/>
            </a:endParaRPr>
          </a:p>
        </p:txBody>
      </p:sp>
      <p:sp>
        <p:nvSpPr>
          <p:cNvPr id="55" name="Prostokąt: zaokrąglone rogi 54">
            <a:extLst>
              <a:ext uri="{FF2B5EF4-FFF2-40B4-BE49-F238E27FC236}">
                <a16:creationId xmlns:a16="http://schemas.microsoft.com/office/drawing/2014/main" id="{B9B683CB-A614-478C-A0AA-996DB1EE2C10}"/>
              </a:ext>
            </a:extLst>
          </p:cNvPr>
          <p:cNvSpPr/>
          <p:nvPr/>
        </p:nvSpPr>
        <p:spPr>
          <a:xfrm>
            <a:off x="3941339" y="2261179"/>
            <a:ext cx="2022933" cy="377999"/>
          </a:xfrm>
          <a:prstGeom prst="round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Buyer  </a:t>
            </a:r>
          </a:p>
        </p:txBody>
      </p:sp>
      <p:sp>
        <p:nvSpPr>
          <p:cNvPr id="56" name="Schemat blokowy: łącznik 55">
            <a:extLst>
              <a:ext uri="{FF2B5EF4-FFF2-40B4-BE49-F238E27FC236}">
                <a16:creationId xmlns:a16="http://schemas.microsoft.com/office/drawing/2014/main" id="{7E46DBA4-EF5C-441A-A76F-B71EBA6B5441}"/>
              </a:ext>
            </a:extLst>
          </p:cNvPr>
          <p:cNvSpPr/>
          <p:nvPr/>
        </p:nvSpPr>
        <p:spPr>
          <a:xfrm>
            <a:off x="3338011" y="2135796"/>
            <a:ext cx="246484" cy="230537"/>
          </a:xfrm>
          <a:prstGeom prst="flowChartConnector">
            <a:avLst/>
          </a:prstGeom>
          <a:solidFill>
            <a:sysClr val="window" lastClr="FFFFFF"/>
          </a:solidFill>
          <a:ln w="1270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57" name="Prostokąt: zaokrąglone rogi 56">
            <a:extLst>
              <a:ext uri="{FF2B5EF4-FFF2-40B4-BE49-F238E27FC236}">
                <a16:creationId xmlns:a16="http://schemas.microsoft.com/office/drawing/2014/main" id="{D317B136-3BF1-4F81-A523-84EF44785325}"/>
              </a:ext>
            </a:extLst>
          </p:cNvPr>
          <p:cNvSpPr/>
          <p:nvPr/>
        </p:nvSpPr>
        <p:spPr>
          <a:xfrm>
            <a:off x="1064235" y="2253533"/>
            <a:ext cx="2022933" cy="377999"/>
          </a:xfrm>
          <a:prstGeom prst="round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xporter</a:t>
            </a:r>
          </a:p>
        </p:txBody>
      </p:sp>
      <p:sp>
        <p:nvSpPr>
          <p:cNvPr id="58" name="Schemat blokowy: łącznik 57">
            <a:extLst>
              <a:ext uri="{FF2B5EF4-FFF2-40B4-BE49-F238E27FC236}">
                <a16:creationId xmlns:a16="http://schemas.microsoft.com/office/drawing/2014/main" id="{95B34752-DE0E-46B6-BC5C-E6D9CF03FFE5}"/>
              </a:ext>
            </a:extLst>
          </p:cNvPr>
          <p:cNvSpPr/>
          <p:nvPr/>
        </p:nvSpPr>
        <p:spPr>
          <a:xfrm>
            <a:off x="1312985" y="1692058"/>
            <a:ext cx="204605" cy="224311"/>
          </a:xfrm>
          <a:prstGeom prst="flowChartConnector">
            <a:avLst/>
          </a:prstGeom>
          <a:solidFill>
            <a:sysClr val="window" lastClr="FFFFFF"/>
          </a:solidFill>
          <a:ln w="1270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a:t>
            </a:r>
          </a:p>
        </p:txBody>
      </p:sp>
      <p:sp>
        <p:nvSpPr>
          <p:cNvPr id="59" name="Prostokąt: zaokrąglone rogi 58">
            <a:extLst>
              <a:ext uri="{FF2B5EF4-FFF2-40B4-BE49-F238E27FC236}">
                <a16:creationId xmlns:a16="http://schemas.microsoft.com/office/drawing/2014/main" id="{83AFCB3C-53DA-4DD7-B018-16EF01948AD2}"/>
              </a:ext>
            </a:extLst>
          </p:cNvPr>
          <p:cNvSpPr/>
          <p:nvPr/>
        </p:nvSpPr>
        <p:spPr>
          <a:xfrm>
            <a:off x="3963410" y="3315155"/>
            <a:ext cx="2022933" cy="377999"/>
          </a:xfrm>
          <a:prstGeom prst="round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Bank</a:t>
            </a:r>
          </a:p>
        </p:txBody>
      </p:sp>
      <p:sp>
        <p:nvSpPr>
          <p:cNvPr id="60" name="Schemat blokowy: łącznik 59">
            <a:extLst>
              <a:ext uri="{FF2B5EF4-FFF2-40B4-BE49-F238E27FC236}">
                <a16:creationId xmlns:a16="http://schemas.microsoft.com/office/drawing/2014/main" id="{68FBD380-6656-46CA-9E9C-EF73BEE767C1}"/>
              </a:ext>
            </a:extLst>
          </p:cNvPr>
          <p:cNvSpPr/>
          <p:nvPr/>
        </p:nvSpPr>
        <p:spPr>
          <a:xfrm>
            <a:off x="5151155" y="2848269"/>
            <a:ext cx="234126" cy="243325"/>
          </a:xfrm>
          <a:prstGeom prst="flowChartConnector">
            <a:avLst/>
          </a:prstGeom>
          <a:solidFill>
            <a:sysClr val="window" lastClr="FFFFFF"/>
          </a:solidFill>
          <a:ln w="1270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61" name="Prostokąt: zaokrąglone rogi 60">
            <a:extLst>
              <a:ext uri="{FF2B5EF4-FFF2-40B4-BE49-F238E27FC236}">
                <a16:creationId xmlns:a16="http://schemas.microsoft.com/office/drawing/2014/main" id="{01208D28-8EF1-41F3-A916-3B5F256D7128}"/>
              </a:ext>
            </a:extLst>
          </p:cNvPr>
          <p:cNvSpPr/>
          <p:nvPr/>
        </p:nvSpPr>
        <p:spPr>
          <a:xfrm>
            <a:off x="3963410" y="4315082"/>
            <a:ext cx="2022933" cy="377999"/>
          </a:xfrm>
          <a:prstGeom prst="round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lang="en-GB" sz="1400" kern="0" dirty="0">
                <a:solidFill>
                  <a:prstClr val="white"/>
                </a:solidFill>
                <a:latin typeface="Arial" panose="020B0604020202020204" pitchFamily="34" charset="0"/>
                <a:cs typeface="Arial" panose="020B0604020202020204" pitchFamily="34" charset="0"/>
              </a:rPr>
              <a:t>Insurer</a:t>
            </a:r>
            <a:endParaRPr kumimoji="0" lang="en-GB" sz="14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62" name="Schemat blokowy: łącznik 61">
            <a:extLst>
              <a:ext uri="{FF2B5EF4-FFF2-40B4-BE49-F238E27FC236}">
                <a16:creationId xmlns:a16="http://schemas.microsoft.com/office/drawing/2014/main" id="{3C100CFB-D603-4006-8572-5A27804D6329}"/>
              </a:ext>
            </a:extLst>
          </p:cNvPr>
          <p:cNvSpPr/>
          <p:nvPr/>
        </p:nvSpPr>
        <p:spPr>
          <a:xfrm>
            <a:off x="5187671" y="3876424"/>
            <a:ext cx="234126" cy="215097"/>
          </a:xfrm>
          <a:prstGeom prst="flowChartConnector">
            <a:avLst/>
          </a:prstGeom>
          <a:solidFill>
            <a:sysClr val="window" lastClr="FFFFFF"/>
          </a:solidFill>
          <a:ln w="12700" cap="flat" cmpd="sng" algn="ctr">
            <a:solidFill>
              <a:srgbClr val="A5A5A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63" name="pole tekstowe 10">
            <a:extLst>
              <a:ext uri="{FF2B5EF4-FFF2-40B4-BE49-F238E27FC236}">
                <a16:creationId xmlns:a16="http://schemas.microsoft.com/office/drawing/2014/main" id="{E3B5B140-568B-4EF4-94E1-6B0BE6BF3678}"/>
              </a:ext>
            </a:extLst>
          </p:cNvPr>
          <p:cNvSpPr txBox="1">
            <a:spLocks noChangeArrowheads="1"/>
          </p:cNvSpPr>
          <p:nvPr/>
        </p:nvSpPr>
        <p:spPr bwMode="auto">
          <a:xfrm>
            <a:off x="584362" y="3260276"/>
            <a:ext cx="2747086" cy="209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8016" tIns="64008" rIns="128016" bIns="64008">
            <a:spAutoFit/>
          </a:bodyPr>
          <a:lstStyle>
            <a:defPPr>
              <a:defRPr lang="pl-PL"/>
            </a:defPPr>
            <a:lvl1pPr algn="l" rtl="0" eaLnBrk="0" fontAlgn="base" hangingPunct="0">
              <a:spcBef>
                <a:spcPct val="0"/>
              </a:spcBef>
              <a:spcAft>
                <a:spcPct val="0"/>
              </a:spcAft>
              <a:defRPr sz="800" kern="1200">
                <a:solidFill>
                  <a:schemeClr val="tx1"/>
                </a:solidFill>
                <a:latin typeface="Arial" charset="0"/>
                <a:ea typeface="+mn-ea"/>
                <a:cs typeface="+mn-cs"/>
              </a:defRPr>
            </a:lvl1pPr>
            <a:lvl2pPr marL="385826" algn="l" rtl="0" eaLnBrk="0" fontAlgn="base" hangingPunct="0">
              <a:spcBef>
                <a:spcPct val="0"/>
              </a:spcBef>
              <a:spcAft>
                <a:spcPct val="0"/>
              </a:spcAft>
              <a:defRPr sz="800" kern="1200">
                <a:solidFill>
                  <a:schemeClr val="tx1"/>
                </a:solidFill>
                <a:latin typeface="Arial" charset="0"/>
                <a:ea typeface="+mn-ea"/>
                <a:cs typeface="+mn-cs"/>
              </a:defRPr>
            </a:lvl2pPr>
            <a:lvl3pPr marL="771650" algn="l" rtl="0" eaLnBrk="0" fontAlgn="base" hangingPunct="0">
              <a:spcBef>
                <a:spcPct val="0"/>
              </a:spcBef>
              <a:spcAft>
                <a:spcPct val="0"/>
              </a:spcAft>
              <a:defRPr sz="800" kern="1200">
                <a:solidFill>
                  <a:schemeClr val="tx1"/>
                </a:solidFill>
                <a:latin typeface="Arial" charset="0"/>
                <a:ea typeface="+mn-ea"/>
                <a:cs typeface="+mn-cs"/>
              </a:defRPr>
            </a:lvl3pPr>
            <a:lvl4pPr marL="1157477" algn="l" rtl="0" eaLnBrk="0" fontAlgn="base" hangingPunct="0">
              <a:spcBef>
                <a:spcPct val="0"/>
              </a:spcBef>
              <a:spcAft>
                <a:spcPct val="0"/>
              </a:spcAft>
              <a:defRPr sz="800" kern="1200">
                <a:solidFill>
                  <a:schemeClr val="tx1"/>
                </a:solidFill>
                <a:latin typeface="Arial" charset="0"/>
                <a:ea typeface="+mn-ea"/>
                <a:cs typeface="+mn-cs"/>
              </a:defRPr>
            </a:lvl4pPr>
            <a:lvl5pPr marL="1543303" algn="l" rtl="0" eaLnBrk="0" fontAlgn="base" hangingPunct="0">
              <a:spcBef>
                <a:spcPct val="0"/>
              </a:spcBef>
              <a:spcAft>
                <a:spcPct val="0"/>
              </a:spcAft>
              <a:defRPr sz="800" kern="1200">
                <a:solidFill>
                  <a:schemeClr val="tx1"/>
                </a:solidFill>
                <a:latin typeface="Arial" charset="0"/>
                <a:ea typeface="+mn-ea"/>
                <a:cs typeface="+mn-cs"/>
              </a:defRPr>
            </a:lvl5pPr>
            <a:lvl6pPr marL="1929128" algn="l" defTabSz="771650" rtl="0" eaLnBrk="1" latinLnBrk="0" hangingPunct="1">
              <a:defRPr sz="800" kern="1200">
                <a:solidFill>
                  <a:schemeClr val="tx1"/>
                </a:solidFill>
                <a:latin typeface="Arial" charset="0"/>
                <a:ea typeface="+mn-ea"/>
                <a:cs typeface="+mn-cs"/>
              </a:defRPr>
            </a:lvl6pPr>
            <a:lvl7pPr marL="2314953" algn="l" defTabSz="771650" rtl="0" eaLnBrk="1" latinLnBrk="0" hangingPunct="1">
              <a:defRPr sz="800" kern="1200">
                <a:solidFill>
                  <a:schemeClr val="tx1"/>
                </a:solidFill>
                <a:latin typeface="Arial" charset="0"/>
                <a:ea typeface="+mn-ea"/>
                <a:cs typeface="+mn-cs"/>
              </a:defRPr>
            </a:lvl7pPr>
            <a:lvl8pPr marL="2700780" algn="l" defTabSz="771650" rtl="0" eaLnBrk="1" latinLnBrk="0" hangingPunct="1">
              <a:defRPr sz="800" kern="1200">
                <a:solidFill>
                  <a:schemeClr val="tx1"/>
                </a:solidFill>
                <a:latin typeface="Arial" charset="0"/>
                <a:ea typeface="+mn-ea"/>
                <a:cs typeface="+mn-cs"/>
              </a:defRPr>
            </a:lvl8pPr>
            <a:lvl9pPr marL="3086605" algn="l" defTabSz="771650" rtl="0" eaLnBrk="1" latinLnBrk="0" hangingPunct="1">
              <a:defRPr sz="800" kern="1200">
                <a:solidFill>
                  <a:schemeClr val="tx1"/>
                </a:solidFill>
                <a:latin typeface="Arial" charset="0"/>
                <a:ea typeface="+mn-ea"/>
                <a:cs typeface="+mn-cs"/>
              </a:defRPr>
            </a:lvl9pPr>
          </a:lstStyle>
          <a:p>
            <a:pPr marL="228600" indent="-228600" algn="just">
              <a:buFont typeface="+mj-lt"/>
              <a:buAutoNum type="arabicPeriod"/>
            </a:pPr>
            <a:r>
              <a:rPr lang="en-GB" altLang="pl-PL" sz="1200" dirty="0">
                <a:solidFill>
                  <a:prstClr val="white">
                    <a:lumMod val="50000"/>
                  </a:prstClr>
                </a:solidFill>
                <a:latin typeface="Calibri" panose="020F0502020204030204"/>
              </a:rPr>
              <a:t>Export contract</a:t>
            </a:r>
          </a:p>
          <a:p>
            <a:pPr marL="228600" indent="-228600" algn="just">
              <a:buFont typeface="+mj-lt"/>
              <a:buAutoNum type="arabicPeriod"/>
            </a:pPr>
            <a:endParaRPr lang="en-GB" altLang="pl-PL" sz="1200" dirty="0">
              <a:solidFill>
                <a:prstClr val="white">
                  <a:lumMod val="50000"/>
                </a:prstClr>
              </a:solidFill>
              <a:latin typeface="Calibri" panose="020F0502020204030204"/>
            </a:endParaRPr>
          </a:p>
          <a:p>
            <a:pPr marL="228600" indent="-228600" algn="just">
              <a:buFont typeface="+mj-lt"/>
              <a:buAutoNum type="arabicPeriod"/>
            </a:pPr>
            <a:r>
              <a:rPr lang="en-GB" altLang="pl-PL" sz="1200" dirty="0">
                <a:solidFill>
                  <a:prstClr val="white">
                    <a:lumMod val="50000"/>
                  </a:prstClr>
                </a:solidFill>
                <a:latin typeface="Calibri" panose="020F0502020204030204"/>
              </a:rPr>
              <a:t>Loan agreement directly with the buyer</a:t>
            </a:r>
          </a:p>
          <a:p>
            <a:pPr algn="just"/>
            <a:endParaRPr lang="en-GB" altLang="pl-PL" sz="1200" dirty="0">
              <a:solidFill>
                <a:prstClr val="white">
                  <a:lumMod val="50000"/>
                </a:prstClr>
              </a:solidFill>
              <a:latin typeface="Calibri" panose="020F0502020204030204"/>
            </a:endParaRPr>
          </a:p>
          <a:p>
            <a:pPr algn="just"/>
            <a:r>
              <a:rPr lang="en-GB" altLang="pl-PL" sz="1200" dirty="0">
                <a:solidFill>
                  <a:prstClr val="white">
                    <a:lumMod val="50000"/>
                  </a:prstClr>
                </a:solidFill>
                <a:latin typeface="Calibri" panose="020F0502020204030204"/>
              </a:rPr>
              <a:t>3.     Establishing a security package</a:t>
            </a:r>
          </a:p>
          <a:p>
            <a:pPr algn="just"/>
            <a:endParaRPr lang="en-GB" altLang="pl-PL" sz="1200" dirty="0">
              <a:solidFill>
                <a:prstClr val="white">
                  <a:lumMod val="50000"/>
                </a:prstClr>
              </a:solidFill>
              <a:latin typeface="Calibri" panose="020F0502020204030204"/>
            </a:endParaRPr>
          </a:p>
          <a:p>
            <a:pPr algn="just"/>
            <a:r>
              <a:rPr lang="en-GB" altLang="pl-PL" sz="1200" dirty="0">
                <a:solidFill>
                  <a:prstClr val="white">
                    <a:lumMod val="50000"/>
                  </a:prstClr>
                </a:solidFill>
                <a:latin typeface="Calibri" panose="020F0502020204030204"/>
              </a:rPr>
              <a:t>4.  Payment of funds made directly to the Exporter's account</a:t>
            </a:r>
          </a:p>
          <a:p>
            <a:pPr marL="228600" indent="-228600" algn="just">
              <a:buFont typeface="+mj-lt"/>
              <a:buAutoNum type="arabicPeriod"/>
            </a:pPr>
            <a:endParaRPr lang="en-GB" altLang="pl-PL" sz="1000" dirty="0">
              <a:solidFill>
                <a:prstClr val="white">
                  <a:lumMod val="50000"/>
                </a:prstClr>
              </a:solidFill>
              <a:latin typeface="Calibri" panose="020F0502020204030204"/>
            </a:endParaRPr>
          </a:p>
          <a:p>
            <a:pPr marL="228600" indent="-228600" algn="just">
              <a:buFont typeface="+mj-lt"/>
              <a:buAutoNum type="arabicPeriod"/>
            </a:pPr>
            <a:endParaRPr lang="en-GB" altLang="pl-PL" sz="1000" dirty="0">
              <a:solidFill>
                <a:prstClr val="white">
                  <a:lumMod val="50000"/>
                </a:prstClr>
              </a:solidFill>
              <a:latin typeface="Calibri" panose="020F0502020204030204"/>
            </a:endParaRPr>
          </a:p>
        </p:txBody>
      </p:sp>
      <p:sp>
        <p:nvSpPr>
          <p:cNvPr id="64" name="Prostokąt 63">
            <a:extLst>
              <a:ext uri="{FF2B5EF4-FFF2-40B4-BE49-F238E27FC236}">
                <a16:creationId xmlns:a16="http://schemas.microsoft.com/office/drawing/2014/main" id="{AA30D8FF-CDD6-40A9-9BFD-8AA8AB625181}"/>
              </a:ext>
            </a:extLst>
          </p:cNvPr>
          <p:cNvSpPr>
            <a:spLocks noChangeArrowheads="1"/>
          </p:cNvSpPr>
          <p:nvPr/>
        </p:nvSpPr>
        <p:spPr bwMode="auto">
          <a:xfrm>
            <a:off x="600260" y="2932020"/>
            <a:ext cx="2927688" cy="754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pl-PL"/>
            </a:defPPr>
            <a:lvl1pPr algn="l" rtl="0" eaLnBrk="0" fontAlgn="base" hangingPunct="0">
              <a:spcBef>
                <a:spcPct val="0"/>
              </a:spcBef>
              <a:spcAft>
                <a:spcPct val="0"/>
              </a:spcAft>
              <a:defRPr sz="800" kern="1200">
                <a:solidFill>
                  <a:schemeClr val="tx1"/>
                </a:solidFill>
                <a:latin typeface="Arial" charset="0"/>
                <a:ea typeface="+mn-ea"/>
                <a:cs typeface="+mn-cs"/>
              </a:defRPr>
            </a:lvl1pPr>
            <a:lvl2pPr marL="385826" algn="l" rtl="0" eaLnBrk="0" fontAlgn="base" hangingPunct="0">
              <a:spcBef>
                <a:spcPct val="0"/>
              </a:spcBef>
              <a:spcAft>
                <a:spcPct val="0"/>
              </a:spcAft>
              <a:defRPr sz="800" kern="1200">
                <a:solidFill>
                  <a:schemeClr val="tx1"/>
                </a:solidFill>
                <a:latin typeface="Arial" charset="0"/>
                <a:ea typeface="+mn-ea"/>
                <a:cs typeface="+mn-cs"/>
              </a:defRPr>
            </a:lvl2pPr>
            <a:lvl3pPr marL="771650" algn="l" rtl="0" eaLnBrk="0" fontAlgn="base" hangingPunct="0">
              <a:spcBef>
                <a:spcPct val="0"/>
              </a:spcBef>
              <a:spcAft>
                <a:spcPct val="0"/>
              </a:spcAft>
              <a:defRPr sz="800" kern="1200">
                <a:solidFill>
                  <a:schemeClr val="tx1"/>
                </a:solidFill>
                <a:latin typeface="Arial" charset="0"/>
                <a:ea typeface="+mn-ea"/>
                <a:cs typeface="+mn-cs"/>
              </a:defRPr>
            </a:lvl3pPr>
            <a:lvl4pPr marL="1157477" algn="l" rtl="0" eaLnBrk="0" fontAlgn="base" hangingPunct="0">
              <a:spcBef>
                <a:spcPct val="0"/>
              </a:spcBef>
              <a:spcAft>
                <a:spcPct val="0"/>
              </a:spcAft>
              <a:defRPr sz="800" kern="1200">
                <a:solidFill>
                  <a:schemeClr val="tx1"/>
                </a:solidFill>
                <a:latin typeface="Arial" charset="0"/>
                <a:ea typeface="+mn-ea"/>
                <a:cs typeface="+mn-cs"/>
              </a:defRPr>
            </a:lvl4pPr>
            <a:lvl5pPr marL="1543303" algn="l" rtl="0" eaLnBrk="0" fontAlgn="base" hangingPunct="0">
              <a:spcBef>
                <a:spcPct val="0"/>
              </a:spcBef>
              <a:spcAft>
                <a:spcPct val="0"/>
              </a:spcAft>
              <a:defRPr sz="800" kern="1200">
                <a:solidFill>
                  <a:schemeClr val="tx1"/>
                </a:solidFill>
                <a:latin typeface="Arial" charset="0"/>
                <a:ea typeface="+mn-ea"/>
                <a:cs typeface="+mn-cs"/>
              </a:defRPr>
            </a:lvl5pPr>
            <a:lvl6pPr marL="1929128" algn="l" defTabSz="771650" rtl="0" eaLnBrk="1" latinLnBrk="0" hangingPunct="1">
              <a:defRPr sz="800" kern="1200">
                <a:solidFill>
                  <a:schemeClr val="tx1"/>
                </a:solidFill>
                <a:latin typeface="Arial" charset="0"/>
                <a:ea typeface="+mn-ea"/>
                <a:cs typeface="+mn-cs"/>
              </a:defRPr>
            </a:lvl6pPr>
            <a:lvl7pPr marL="2314953" algn="l" defTabSz="771650" rtl="0" eaLnBrk="1" latinLnBrk="0" hangingPunct="1">
              <a:defRPr sz="800" kern="1200">
                <a:solidFill>
                  <a:schemeClr val="tx1"/>
                </a:solidFill>
                <a:latin typeface="Arial" charset="0"/>
                <a:ea typeface="+mn-ea"/>
                <a:cs typeface="+mn-cs"/>
              </a:defRPr>
            </a:lvl7pPr>
            <a:lvl8pPr marL="2700780" algn="l" defTabSz="771650" rtl="0" eaLnBrk="1" latinLnBrk="0" hangingPunct="1">
              <a:defRPr sz="800" kern="1200">
                <a:solidFill>
                  <a:schemeClr val="tx1"/>
                </a:solidFill>
                <a:latin typeface="Arial" charset="0"/>
                <a:ea typeface="+mn-ea"/>
                <a:cs typeface="+mn-cs"/>
              </a:defRPr>
            </a:lvl8pPr>
            <a:lvl9pPr marL="3086605" algn="l" defTabSz="771650" rtl="0" eaLnBrk="1" latinLnBrk="0" hangingPunct="1">
              <a:defRPr sz="800" kern="1200">
                <a:solidFill>
                  <a:schemeClr val="tx1"/>
                </a:solidFill>
                <a:latin typeface="Arial" charset="0"/>
                <a:ea typeface="+mn-ea"/>
                <a:cs typeface="+mn-cs"/>
              </a:defRPr>
            </a:lvl9pPr>
          </a:lstStyle>
          <a:p>
            <a:pPr eaLnBrk="1" hangingPunct="1">
              <a:spcBef>
                <a:spcPts val="600"/>
              </a:spcBef>
              <a:buFont typeface="Wingdings 2" pitchFamily="18" charset="2"/>
              <a:buNone/>
            </a:pPr>
            <a:r>
              <a:rPr lang="en-GB" altLang="pl-PL" sz="1100" b="1" dirty="0">
                <a:solidFill>
                  <a:prstClr val="black"/>
                </a:solidFill>
                <a:latin typeface="Arial" pitchFamily="34" charset="0"/>
              </a:rPr>
              <a:t>Transaction process </a:t>
            </a:r>
          </a:p>
          <a:p>
            <a:pPr eaLnBrk="1" hangingPunct="1">
              <a:spcBef>
                <a:spcPts val="600"/>
              </a:spcBef>
              <a:buFont typeface="Wingdings 2" pitchFamily="18" charset="2"/>
              <a:buNone/>
            </a:pPr>
            <a:endParaRPr lang="en-GB" altLang="pl-PL" sz="1100" b="1" dirty="0">
              <a:solidFill>
                <a:prstClr val="black"/>
              </a:solidFill>
              <a:latin typeface="Arial" pitchFamily="34" charset="0"/>
            </a:endParaRPr>
          </a:p>
          <a:p>
            <a:pPr eaLnBrk="1" hangingPunct="1">
              <a:spcBef>
                <a:spcPts val="600"/>
              </a:spcBef>
              <a:buFont typeface="Wingdings 2" pitchFamily="18" charset="2"/>
              <a:buNone/>
            </a:pPr>
            <a:r>
              <a:rPr lang="en-GB" altLang="pl-PL" sz="1100" b="1" dirty="0">
                <a:solidFill>
                  <a:prstClr val="black"/>
                </a:solidFill>
                <a:latin typeface="Arial" pitchFamily="34" charset="0"/>
              </a:rPr>
              <a:t> </a:t>
            </a:r>
          </a:p>
        </p:txBody>
      </p:sp>
      <p:cxnSp>
        <p:nvCxnSpPr>
          <p:cNvPr id="65" name="Łącznik prosty ze strzałką 64">
            <a:extLst>
              <a:ext uri="{FF2B5EF4-FFF2-40B4-BE49-F238E27FC236}">
                <a16:creationId xmlns:a16="http://schemas.microsoft.com/office/drawing/2014/main" id="{CD958F0D-8E5B-41D0-A9FB-8A9A00FC0DBB}"/>
              </a:ext>
            </a:extLst>
          </p:cNvPr>
          <p:cNvCxnSpPr>
            <a:cxnSpLocks/>
          </p:cNvCxnSpPr>
          <p:nvPr/>
        </p:nvCxnSpPr>
        <p:spPr>
          <a:xfrm>
            <a:off x="3171803" y="2442532"/>
            <a:ext cx="578901" cy="0"/>
          </a:xfrm>
          <a:prstGeom prst="straightConnector1">
            <a:avLst/>
          </a:prstGeom>
          <a:noFill/>
          <a:ln w="12700" cap="flat" cmpd="sng" algn="ctr">
            <a:solidFill>
              <a:srgbClr val="C00000"/>
            </a:solidFill>
            <a:prstDash val="solid"/>
            <a:miter lim="800000"/>
            <a:headEnd type="triangle" w="med" len="lg"/>
            <a:tailEnd type="triangle" w="med" len="lg"/>
          </a:ln>
          <a:effectLst/>
        </p:spPr>
      </p:cxnSp>
      <p:cxnSp>
        <p:nvCxnSpPr>
          <p:cNvPr id="66" name="Łącznik prosty ze strzałką 65">
            <a:extLst>
              <a:ext uri="{FF2B5EF4-FFF2-40B4-BE49-F238E27FC236}">
                <a16:creationId xmlns:a16="http://schemas.microsoft.com/office/drawing/2014/main" id="{BB2E162A-500F-42C8-8764-3A271BF22C9C}"/>
              </a:ext>
            </a:extLst>
          </p:cNvPr>
          <p:cNvCxnSpPr>
            <a:cxnSpLocks/>
          </p:cNvCxnSpPr>
          <p:nvPr/>
        </p:nvCxnSpPr>
        <p:spPr>
          <a:xfrm>
            <a:off x="5036123" y="2709443"/>
            <a:ext cx="0" cy="554259"/>
          </a:xfrm>
          <a:prstGeom prst="straightConnector1">
            <a:avLst/>
          </a:prstGeom>
          <a:noFill/>
          <a:ln w="12700" cap="flat" cmpd="sng" algn="ctr">
            <a:solidFill>
              <a:srgbClr val="C00000"/>
            </a:solidFill>
            <a:prstDash val="solid"/>
            <a:miter lim="800000"/>
            <a:headEnd type="triangle" w="med" len="lg"/>
            <a:tailEnd type="triangle" w="med" len="lg"/>
          </a:ln>
          <a:effectLst/>
        </p:spPr>
      </p:cxnSp>
      <p:cxnSp>
        <p:nvCxnSpPr>
          <p:cNvPr id="67" name="Łącznik prosty ze strzałką 66">
            <a:extLst>
              <a:ext uri="{FF2B5EF4-FFF2-40B4-BE49-F238E27FC236}">
                <a16:creationId xmlns:a16="http://schemas.microsoft.com/office/drawing/2014/main" id="{8FE0AD25-0CDD-49D2-8AFF-F7D6DF40521C}"/>
              </a:ext>
            </a:extLst>
          </p:cNvPr>
          <p:cNvCxnSpPr>
            <a:cxnSpLocks/>
          </p:cNvCxnSpPr>
          <p:nvPr/>
        </p:nvCxnSpPr>
        <p:spPr>
          <a:xfrm>
            <a:off x="5036123" y="3742337"/>
            <a:ext cx="0" cy="554259"/>
          </a:xfrm>
          <a:prstGeom prst="straightConnector1">
            <a:avLst/>
          </a:prstGeom>
          <a:noFill/>
          <a:ln w="12700" cap="flat" cmpd="sng" algn="ctr">
            <a:solidFill>
              <a:srgbClr val="C00000"/>
            </a:solidFill>
            <a:prstDash val="solid"/>
            <a:miter lim="800000"/>
            <a:headEnd type="triangle" w="med" len="lg"/>
            <a:tailEnd type="triangle" w="med" len="lg"/>
          </a:ln>
          <a:effectLst/>
        </p:spPr>
      </p:cxnSp>
      <p:sp>
        <p:nvSpPr>
          <p:cNvPr id="68" name="Prostokąt 12">
            <a:extLst>
              <a:ext uri="{FF2B5EF4-FFF2-40B4-BE49-F238E27FC236}">
                <a16:creationId xmlns:a16="http://schemas.microsoft.com/office/drawing/2014/main" id="{CA5D1F80-1D83-4F47-9091-BB4301F11668}"/>
              </a:ext>
            </a:extLst>
          </p:cNvPr>
          <p:cNvSpPr>
            <a:spLocks noChangeArrowheads="1"/>
          </p:cNvSpPr>
          <p:nvPr/>
        </p:nvSpPr>
        <p:spPr bwMode="auto">
          <a:xfrm>
            <a:off x="7622676" y="2045501"/>
            <a:ext cx="29276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ts val="600"/>
              </a:spcBef>
              <a:spcAft>
                <a:spcPct val="0"/>
              </a:spcAft>
              <a:buFont typeface="Wingdings 2" pitchFamily="18" charset="2"/>
              <a:buNone/>
            </a:pPr>
            <a:r>
              <a:rPr lang="en-GB" altLang="pl-PL" sz="1100" b="1" dirty="0">
                <a:solidFill>
                  <a:srgbClr val="111516"/>
                </a:solidFill>
                <a:latin typeface="Arial" pitchFamily="34" charset="0"/>
              </a:rPr>
              <a:t>Purpose of financing</a:t>
            </a:r>
          </a:p>
        </p:txBody>
      </p:sp>
      <p:sp>
        <p:nvSpPr>
          <p:cNvPr id="69" name="Prostokąt 68">
            <a:extLst>
              <a:ext uri="{FF2B5EF4-FFF2-40B4-BE49-F238E27FC236}">
                <a16:creationId xmlns:a16="http://schemas.microsoft.com/office/drawing/2014/main" id="{581D50CA-A799-458A-91C3-B57BF076F4D2}"/>
              </a:ext>
            </a:extLst>
          </p:cNvPr>
          <p:cNvSpPr>
            <a:spLocks noChangeArrowheads="1"/>
          </p:cNvSpPr>
          <p:nvPr/>
        </p:nvSpPr>
        <p:spPr bwMode="auto">
          <a:xfrm>
            <a:off x="7622676" y="2307111"/>
            <a:ext cx="3791558"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just" eaLnBrk="1" fontAlgn="base" hangingPunct="1">
              <a:spcBef>
                <a:spcPts val="600"/>
              </a:spcBef>
              <a:spcAft>
                <a:spcPct val="0"/>
              </a:spcAft>
              <a:buFont typeface="Wingdings 2" pitchFamily="18" charset="2"/>
              <a:buNone/>
            </a:pPr>
            <a:r>
              <a:rPr lang="en-GB" altLang="pl-PL" sz="1200" dirty="0">
                <a:solidFill>
                  <a:prstClr val="white">
                    <a:lumMod val="50000"/>
                  </a:prstClr>
                </a:solidFill>
                <a:latin typeface="Calibri" panose="020F0502020204030204"/>
              </a:rPr>
              <a:t>Long-term financing of an investment in which the Polish party acts as a contractor (or subcontractor)</a:t>
            </a:r>
          </a:p>
          <a:p>
            <a:pPr algn="just" eaLnBrk="1" fontAlgn="base" hangingPunct="1">
              <a:spcBef>
                <a:spcPts val="600"/>
              </a:spcBef>
              <a:spcAft>
                <a:spcPct val="0"/>
              </a:spcAft>
              <a:buFont typeface="Wingdings 2" pitchFamily="18" charset="2"/>
              <a:buNone/>
            </a:pPr>
            <a:endParaRPr lang="en-GB" altLang="pl-PL" sz="1000" dirty="0">
              <a:solidFill>
                <a:prstClr val="white">
                  <a:lumMod val="50000"/>
                </a:prstClr>
              </a:solidFill>
              <a:latin typeface="Calibri" panose="020F0502020204030204"/>
            </a:endParaRPr>
          </a:p>
          <a:p>
            <a:pPr algn="just" eaLnBrk="1" fontAlgn="base" hangingPunct="1">
              <a:spcBef>
                <a:spcPts val="600"/>
              </a:spcBef>
              <a:spcAft>
                <a:spcPct val="0"/>
              </a:spcAft>
              <a:buFont typeface="Wingdings 2" pitchFamily="18" charset="2"/>
              <a:buNone/>
            </a:pPr>
            <a:endParaRPr lang="en-GB" altLang="pl-PL" sz="1000" dirty="0">
              <a:solidFill>
                <a:prstClr val="white">
                  <a:lumMod val="50000"/>
                </a:prstClr>
              </a:solidFill>
              <a:latin typeface="Calibri" panose="020F0502020204030204"/>
            </a:endParaRPr>
          </a:p>
        </p:txBody>
      </p:sp>
      <p:cxnSp>
        <p:nvCxnSpPr>
          <p:cNvPr id="70" name="Łącznik prostoliniowy 17">
            <a:extLst>
              <a:ext uri="{FF2B5EF4-FFF2-40B4-BE49-F238E27FC236}">
                <a16:creationId xmlns:a16="http://schemas.microsoft.com/office/drawing/2014/main" id="{6BE2BB6F-7782-4164-B826-A558EC7AEC18}"/>
              </a:ext>
            </a:extLst>
          </p:cNvPr>
          <p:cNvCxnSpPr>
            <a:cxnSpLocks/>
          </p:cNvCxnSpPr>
          <p:nvPr/>
        </p:nvCxnSpPr>
        <p:spPr bwMode="auto">
          <a:xfrm>
            <a:off x="7727500" y="2305589"/>
            <a:ext cx="2493461" cy="0"/>
          </a:xfrm>
          <a:prstGeom prst="line">
            <a:avLst/>
          </a:prstGeom>
          <a:noFill/>
          <a:ln w="6350" cap="flat" cmpd="sng" algn="ctr">
            <a:solidFill>
              <a:srgbClr val="C00000"/>
            </a:solidFill>
            <a:prstDash val="dash"/>
            <a:miter lim="800000"/>
          </a:ln>
          <a:effectLst/>
        </p:spPr>
      </p:cxnSp>
      <p:cxnSp>
        <p:nvCxnSpPr>
          <p:cNvPr id="71" name="Łącznik prostoliniowy 17">
            <a:extLst>
              <a:ext uri="{FF2B5EF4-FFF2-40B4-BE49-F238E27FC236}">
                <a16:creationId xmlns:a16="http://schemas.microsoft.com/office/drawing/2014/main" id="{7527F896-1324-47BF-BED7-3B6CE3B5BDE8}"/>
              </a:ext>
            </a:extLst>
          </p:cNvPr>
          <p:cNvCxnSpPr>
            <a:cxnSpLocks/>
          </p:cNvCxnSpPr>
          <p:nvPr/>
        </p:nvCxnSpPr>
        <p:spPr bwMode="auto">
          <a:xfrm>
            <a:off x="7751630" y="3553148"/>
            <a:ext cx="2493461" cy="0"/>
          </a:xfrm>
          <a:prstGeom prst="line">
            <a:avLst/>
          </a:prstGeom>
          <a:noFill/>
          <a:ln w="6350" cap="flat" cmpd="sng" algn="ctr">
            <a:solidFill>
              <a:srgbClr val="C00000"/>
            </a:solidFill>
            <a:prstDash val="dash"/>
            <a:miter lim="800000"/>
          </a:ln>
          <a:effectLst/>
        </p:spPr>
      </p:cxnSp>
      <p:cxnSp>
        <p:nvCxnSpPr>
          <p:cNvPr id="72" name="Łącznik prosty ze strzałką 71">
            <a:extLst>
              <a:ext uri="{FF2B5EF4-FFF2-40B4-BE49-F238E27FC236}">
                <a16:creationId xmlns:a16="http://schemas.microsoft.com/office/drawing/2014/main" id="{DBA19B95-F76D-4607-A4ED-0E47A4921B9C}"/>
              </a:ext>
            </a:extLst>
          </p:cNvPr>
          <p:cNvCxnSpPr>
            <a:cxnSpLocks/>
          </p:cNvCxnSpPr>
          <p:nvPr/>
        </p:nvCxnSpPr>
        <p:spPr>
          <a:xfrm>
            <a:off x="1213299" y="1950576"/>
            <a:ext cx="5074810" cy="0"/>
          </a:xfrm>
          <a:prstGeom prst="straightConnector1">
            <a:avLst/>
          </a:prstGeom>
          <a:noFill/>
          <a:ln w="12700" cap="flat" cmpd="sng" algn="ctr">
            <a:solidFill>
              <a:srgbClr val="C00000"/>
            </a:solidFill>
            <a:prstDash val="sysDash"/>
            <a:miter lim="800000"/>
            <a:headEnd type="none" w="med" len="lg"/>
            <a:tailEnd type="none" w="med" len="lg"/>
          </a:ln>
          <a:effectLst/>
        </p:spPr>
      </p:cxnSp>
      <p:cxnSp>
        <p:nvCxnSpPr>
          <p:cNvPr id="73" name="Łącznik prosty ze strzałką 72">
            <a:extLst>
              <a:ext uri="{FF2B5EF4-FFF2-40B4-BE49-F238E27FC236}">
                <a16:creationId xmlns:a16="http://schemas.microsoft.com/office/drawing/2014/main" id="{9922C6EB-F830-4596-AF46-7BE7461EA9F6}"/>
              </a:ext>
            </a:extLst>
          </p:cNvPr>
          <p:cNvCxnSpPr>
            <a:cxnSpLocks/>
          </p:cNvCxnSpPr>
          <p:nvPr/>
        </p:nvCxnSpPr>
        <p:spPr>
          <a:xfrm flipV="1">
            <a:off x="6273691" y="1950576"/>
            <a:ext cx="0" cy="1555079"/>
          </a:xfrm>
          <a:prstGeom prst="straightConnector1">
            <a:avLst/>
          </a:prstGeom>
          <a:noFill/>
          <a:ln w="12700" cap="flat" cmpd="sng" algn="ctr">
            <a:solidFill>
              <a:srgbClr val="C00000"/>
            </a:solidFill>
            <a:prstDash val="sysDash"/>
            <a:miter lim="800000"/>
            <a:headEnd type="none" w="med" len="lg"/>
            <a:tailEnd type="none" w="med" len="lg"/>
          </a:ln>
          <a:effectLst/>
        </p:spPr>
      </p:cxnSp>
      <p:cxnSp>
        <p:nvCxnSpPr>
          <p:cNvPr id="74" name="Łącznik prosty ze strzałką 73">
            <a:extLst>
              <a:ext uri="{FF2B5EF4-FFF2-40B4-BE49-F238E27FC236}">
                <a16:creationId xmlns:a16="http://schemas.microsoft.com/office/drawing/2014/main" id="{BD74D4B9-437F-490F-B333-B895455DFE9E}"/>
              </a:ext>
            </a:extLst>
          </p:cNvPr>
          <p:cNvCxnSpPr>
            <a:cxnSpLocks/>
          </p:cNvCxnSpPr>
          <p:nvPr/>
        </p:nvCxnSpPr>
        <p:spPr>
          <a:xfrm flipH="1">
            <a:off x="6113781" y="3505655"/>
            <a:ext cx="159910" cy="0"/>
          </a:xfrm>
          <a:prstGeom prst="straightConnector1">
            <a:avLst/>
          </a:prstGeom>
          <a:noFill/>
          <a:ln w="12700" cap="flat" cmpd="sng" algn="ctr">
            <a:solidFill>
              <a:srgbClr val="C00000"/>
            </a:solidFill>
            <a:prstDash val="sysDash"/>
            <a:miter lim="800000"/>
            <a:headEnd type="none" w="med" len="lg"/>
            <a:tailEnd type="none" w="med" len="lg"/>
          </a:ln>
          <a:effectLst/>
        </p:spPr>
      </p:cxnSp>
      <p:cxnSp>
        <p:nvCxnSpPr>
          <p:cNvPr id="75" name="Łącznik prosty ze strzałką 74">
            <a:extLst>
              <a:ext uri="{FF2B5EF4-FFF2-40B4-BE49-F238E27FC236}">
                <a16:creationId xmlns:a16="http://schemas.microsoft.com/office/drawing/2014/main" id="{38C280BF-7EC1-49F4-B25B-031F629E8DDA}"/>
              </a:ext>
            </a:extLst>
          </p:cNvPr>
          <p:cNvCxnSpPr>
            <a:cxnSpLocks/>
          </p:cNvCxnSpPr>
          <p:nvPr/>
        </p:nvCxnSpPr>
        <p:spPr>
          <a:xfrm>
            <a:off x="1198881" y="1950576"/>
            <a:ext cx="0" cy="225730"/>
          </a:xfrm>
          <a:prstGeom prst="straightConnector1">
            <a:avLst/>
          </a:prstGeom>
          <a:noFill/>
          <a:ln w="12700" cap="flat" cmpd="sng" algn="ctr">
            <a:solidFill>
              <a:srgbClr val="C00000"/>
            </a:solidFill>
            <a:prstDash val="sysDash"/>
            <a:miter lim="800000"/>
            <a:headEnd type="none" w="med" len="lg"/>
            <a:tailEnd type="triangle" w="med" len="lg"/>
          </a:ln>
          <a:effectLst/>
        </p:spPr>
      </p:cxnSp>
      <p:sp>
        <p:nvSpPr>
          <p:cNvPr id="17" name="pole tekstowe 16">
            <a:extLst>
              <a:ext uri="{FF2B5EF4-FFF2-40B4-BE49-F238E27FC236}">
                <a16:creationId xmlns:a16="http://schemas.microsoft.com/office/drawing/2014/main" id="{555B5381-9DFF-4373-A056-9C9316E99CBA}"/>
              </a:ext>
            </a:extLst>
          </p:cNvPr>
          <p:cNvSpPr txBox="1"/>
          <p:nvPr/>
        </p:nvSpPr>
        <p:spPr>
          <a:xfrm>
            <a:off x="2654707" y="1113428"/>
            <a:ext cx="5739136" cy="5113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b="1" dirty="0">
              <a:solidFill>
                <a:sysClr val="windowText" lastClr="000000"/>
              </a:solidFill>
            </a:endParaRPr>
          </a:p>
        </p:txBody>
      </p:sp>
      <p:pic>
        <p:nvPicPr>
          <p:cNvPr id="31" name="Obraz 30">
            <a:extLst>
              <a:ext uri="{FF2B5EF4-FFF2-40B4-BE49-F238E27FC236}">
                <a16:creationId xmlns:a16="http://schemas.microsoft.com/office/drawing/2014/main" id="{CD4E3E5E-CF95-451D-B900-F027E3635EB7}"/>
              </a:ext>
            </a:extLst>
          </p:cNvPr>
          <p:cNvPicPr/>
          <p:nvPr/>
        </p:nvPicPr>
        <p:blipFill rotWithShape="1">
          <a:blip r:embed="rId7">
            <a:extLst>
              <a:ext uri="{28A0092B-C50C-407E-A947-70E740481C1C}">
                <a14:useLocalDpi xmlns:a14="http://schemas.microsoft.com/office/drawing/2010/main" val="0"/>
              </a:ext>
            </a:extLst>
          </a:blip>
          <a:srcRect l="62014" b="51403"/>
          <a:stretch/>
        </p:blipFill>
        <p:spPr bwMode="auto">
          <a:xfrm>
            <a:off x="11482339" y="720962"/>
            <a:ext cx="706057" cy="1157468"/>
          </a:xfrm>
          <a:prstGeom prst="rect">
            <a:avLst/>
          </a:prstGeom>
          <a:noFill/>
        </p:spPr>
      </p:pic>
    </p:spTree>
    <p:extLst>
      <p:ext uri="{BB962C8B-B14F-4D97-AF65-F5344CB8AC3E}">
        <p14:creationId xmlns:p14="http://schemas.microsoft.com/office/powerpoint/2010/main" val="1270964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i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51" name="Obraz 150"/>
          <p:cNvPicPr/>
          <p:nvPr/>
        </p:nvPicPr>
        <p:blipFill rotWithShape="1">
          <a:blip r:embed="rId7">
            <a:extLst>
              <a:ext uri="{28A0092B-C50C-407E-A947-70E740481C1C}">
                <a14:useLocalDpi xmlns:a14="http://schemas.microsoft.com/office/drawing/2010/main" val="0"/>
              </a:ext>
            </a:extLst>
          </a:blip>
          <a:srcRect l="62014" b="51403"/>
          <a:stretch/>
        </p:blipFill>
        <p:spPr bwMode="auto">
          <a:xfrm>
            <a:off x="11415505" y="56460"/>
            <a:ext cx="706057" cy="1157468"/>
          </a:xfrm>
          <a:prstGeom prst="rect">
            <a:avLst/>
          </a:prstGeom>
          <a:noFill/>
        </p:spPr>
      </p:pic>
      <p:cxnSp>
        <p:nvCxnSpPr>
          <p:cNvPr id="121" name="Łącznik prosty 120"/>
          <p:cNvCxnSpPr/>
          <p:nvPr/>
        </p:nvCxnSpPr>
        <p:spPr>
          <a:xfrm>
            <a:off x="-112115" y="1314532"/>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sp>
        <p:nvSpPr>
          <p:cNvPr id="5" name="Tytuł 4">
            <a:extLst>
              <a:ext uri="{FF2B5EF4-FFF2-40B4-BE49-F238E27FC236}">
                <a16:creationId xmlns:a16="http://schemas.microsoft.com/office/drawing/2014/main" id="{1CF6C14E-4999-40E5-A548-38AB2D541588}"/>
              </a:ext>
            </a:extLst>
          </p:cNvPr>
          <p:cNvSpPr>
            <a:spLocks noGrp="1"/>
          </p:cNvSpPr>
          <p:nvPr>
            <p:ph type="title"/>
          </p:nvPr>
        </p:nvSpPr>
        <p:spPr>
          <a:xfrm>
            <a:off x="725125" y="2835251"/>
            <a:ext cx="11466875" cy="404119"/>
          </a:xfrm>
        </p:spPr>
        <p:txBody>
          <a:bodyPr/>
          <a:lstStyle/>
          <a:p>
            <a:r>
              <a:rPr lang="pl-PL" dirty="0" err="1"/>
              <a:t>Macroeconomic</a:t>
            </a:r>
            <a:r>
              <a:rPr lang="pl-PL" dirty="0"/>
              <a:t> </a:t>
            </a:r>
            <a:r>
              <a:rPr lang="pl-PL" dirty="0" err="1"/>
              <a:t>overview</a:t>
            </a:r>
            <a:br>
              <a:rPr lang="pl-PL" dirty="0"/>
            </a:br>
            <a:br>
              <a:rPr lang="pl-PL" dirty="0"/>
            </a:br>
            <a:br>
              <a:rPr lang="pl-PL" dirty="0"/>
            </a:br>
            <a:br>
              <a:rPr lang="pl-PL" dirty="0"/>
            </a:br>
            <a:br>
              <a:rPr lang="pl-PL" dirty="0"/>
            </a:br>
            <a:br>
              <a:rPr lang="pl-PL" dirty="0"/>
            </a:br>
            <a:br>
              <a:rPr lang="pl-PL" dirty="0"/>
            </a:br>
            <a:r>
              <a:rPr lang="pl-PL" b="0" dirty="0"/>
              <a:t>Part I</a:t>
            </a:r>
          </a:p>
        </p:txBody>
      </p:sp>
    </p:spTree>
    <p:extLst>
      <p:ext uri="{BB962C8B-B14F-4D97-AF65-F5344CB8AC3E}">
        <p14:creationId xmlns:p14="http://schemas.microsoft.com/office/powerpoint/2010/main" val="387046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i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cxnSp>
        <p:nvCxnSpPr>
          <p:cNvPr id="121" name="Łącznik prosty 120"/>
          <p:cNvCxnSpPr/>
          <p:nvPr/>
        </p:nvCxnSpPr>
        <p:spPr>
          <a:xfrm>
            <a:off x="0" y="700301"/>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pic>
        <p:nvPicPr>
          <p:cNvPr id="31" name="Obraz 30">
            <a:extLst>
              <a:ext uri="{FF2B5EF4-FFF2-40B4-BE49-F238E27FC236}">
                <a16:creationId xmlns:a16="http://schemas.microsoft.com/office/drawing/2014/main" id="{BBAB48F7-D2C4-46BA-9CB8-D7FEBA4913BD}"/>
              </a:ext>
            </a:extLst>
          </p:cNvPr>
          <p:cNvPicPr/>
          <p:nvPr/>
        </p:nvPicPr>
        <p:blipFill rotWithShape="1">
          <a:blip r:embed="rId7">
            <a:extLst>
              <a:ext uri="{28A0092B-C50C-407E-A947-70E740481C1C}">
                <a14:useLocalDpi xmlns:a14="http://schemas.microsoft.com/office/drawing/2010/main" val="0"/>
              </a:ext>
            </a:extLst>
          </a:blip>
          <a:srcRect l="62014" b="51403"/>
          <a:stretch/>
        </p:blipFill>
        <p:spPr bwMode="auto">
          <a:xfrm>
            <a:off x="11482339" y="720962"/>
            <a:ext cx="706057" cy="1157468"/>
          </a:xfrm>
          <a:prstGeom prst="rect">
            <a:avLst/>
          </a:prstGeom>
          <a:noFill/>
        </p:spPr>
      </p:pic>
      <p:sp>
        <p:nvSpPr>
          <p:cNvPr id="4" name="pole tekstowe 3">
            <a:extLst>
              <a:ext uri="{FF2B5EF4-FFF2-40B4-BE49-F238E27FC236}">
                <a16:creationId xmlns:a16="http://schemas.microsoft.com/office/drawing/2014/main" id="{D17C55F1-BD10-4A40-9138-378D7BD40666}"/>
              </a:ext>
            </a:extLst>
          </p:cNvPr>
          <p:cNvSpPr txBox="1"/>
          <p:nvPr/>
        </p:nvSpPr>
        <p:spPr>
          <a:xfrm>
            <a:off x="2924175" y="1878430"/>
            <a:ext cx="6172200" cy="1798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pl-PL" sz="2800" b="1" dirty="0">
                <a:solidFill>
                  <a:sysClr val="windowText" lastClr="000000"/>
                </a:solidFill>
              </a:rPr>
              <a:t>THANK YOU </a:t>
            </a:r>
          </a:p>
        </p:txBody>
      </p:sp>
      <p:sp>
        <p:nvSpPr>
          <p:cNvPr id="7" name="Rectangle 5">
            <a:extLst>
              <a:ext uri="{FF2B5EF4-FFF2-40B4-BE49-F238E27FC236}">
                <a16:creationId xmlns:a16="http://schemas.microsoft.com/office/drawing/2014/main" id="{46A608DD-6110-4464-A053-A0C57236DB48}"/>
              </a:ext>
            </a:extLst>
          </p:cNvPr>
          <p:cNvSpPr>
            <a:spLocks noChangeArrowheads="1"/>
          </p:cNvSpPr>
          <p:nvPr/>
        </p:nvSpPr>
        <p:spPr bwMode="auto">
          <a:xfrm>
            <a:off x="623372" y="4576421"/>
            <a:ext cx="6212434" cy="3662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88415" tIns="44210" rIns="88415" bIns="44210">
            <a:spAutoFit/>
          </a:bodyPr>
          <a:lstStyle>
            <a:lvl1pPr>
              <a:lnSpc>
                <a:spcPct val="92000"/>
              </a:lnSpc>
              <a:spcAft>
                <a:spcPts val="1425"/>
              </a:spcAft>
              <a:buClr>
                <a:srgbClr val="000000"/>
              </a:buClr>
              <a:buSzPct val="100000"/>
              <a:buFont typeface="Times New Roman" pitchFamily="16" charset="0"/>
              <a:tabLst>
                <a:tab pos="723900" algn="l"/>
                <a:tab pos="1447800" algn="l"/>
                <a:tab pos="2171700" algn="l"/>
              </a:tabLst>
              <a:defRPr sz="2800">
                <a:solidFill>
                  <a:srgbClr val="000000"/>
                </a:solidFill>
                <a:latin typeface="Calibri" charset="0"/>
                <a:ea typeface="Microsoft YaHei" charset="-122"/>
              </a:defRPr>
            </a:lvl1pPr>
            <a:lvl2pPr>
              <a:lnSpc>
                <a:spcPct val="92000"/>
              </a:lnSpc>
              <a:spcAft>
                <a:spcPts val="1138"/>
              </a:spcAft>
              <a:buClr>
                <a:srgbClr val="000000"/>
              </a:buClr>
              <a:buSzPct val="100000"/>
              <a:buFont typeface="Times New Roman" pitchFamily="16" charset="0"/>
              <a:tabLst>
                <a:tab pos="723900" algn="l"/>
                <a:tab pos="1447800" algn="l"/>
                <a:tab pos="2171700" algn="l"/>
              </a:tabLst>
              <a:defRPr sz="2000">
                <a:solidFill>
                  <a:srgbClr val="000000"/>
                </a:solidFill>
                <a:latin typeface="Calibri" charset="0"/>
                <a:ea typeface="Microsoft YaHei" charset="-122"/>
              </a:defRPr>
            </a:lvl2pPr>
            <a:lvl3pPr>
              <a:lnSpc>
                <a:spcPct val="92000"/>
              </a:lnSpc>
              <a:spcAft>
                <a:spcPts val="850"/>
              </a:spcAft>
              <a:buClr>
                <a:srgbClr val="000000"/>
              </a:buClr>
              <a:buSzPct val="100000"/>
              <a:buFont typeface="Times New Roman" pitchFamily="16" charset="0"/>
              <a:tabLst>
                <a:tab pos="723900" algn="l"/>
                <a:tab pos="1447800" algn="l"/>
                <a:tab pos="2171700" algn="l"/>
              </a:tabLst>
              <a:defRPr>
                <a:solidFill>
                  <a:srgbClr val="000000"/>
                </a:solidFill>
                <a:latin typeface="Calibri" charset="0"/>
                <a:ea typeface="Microsoft YaHei" charset="-122"/>
              </a:defRPr>
            </a:lvl3pPr>
            <a:lvl4pPr>
              <a:lnSpc>
                <a:spcPct val="92000"/>
              </a:lnSpc>
              <a:spcAft>
                <a:spcPts val="575"/>
              </a:spcAft>
              <a:buClr>
                <a:srgbClr val="000000"/>
              </a:buClr>
              <a:buSzPct val="100000"/>
              <a:buFont typeface="Times New Roman" pitchFamily="16" charset="0"/>
              <a:tabLst>
                <a:tab pos="723900" algn="l"/>
                <a:tab pos="1447800" algn="l"/>
                <a:tab pos="2171700" algn="l"/>
              </a:tabLst>
              <a:defRPr>
                <a:solidFill>
                  <a:srgbClr val="000000"/>
                </a:solidFill>
                <a:latin typeface="Calibri" charset="0"/>
                <a:ea typeface="Microsoft YaHei" charset="-122"/>
              </a:defRPr>
            </a:lvl4pPr>
            <a:lvl5pPr>
              <a:lnSpc>
                <a:spcPct val="92000"/>
              </a:lnSpc>
              <a:spcAft>
                <a:spcPts val="288"/>
              </a:spcAft>
              <a:buClr>
                <a:srgbClr val="000000"/>
              </a:buClr>
              <a:buSzPct val="100000"/>
              <a:buFont typeface="Times New Roman" pitchFamily="16" charset="0"/>
              <a:tabLst>
                <a:tab pos="723900" algn="l"/>
                <a:tab pos="1447800" algn="l"/>
                <a:tab pos="2171700" algn="l"/>
              </a:tabLst>
              <a:defRPr sz="2000">
                <a:solidFill>
                  <a:srgbClr val="000000"/>
                </a:solidFill>
                <a:latin typeface="Calibri" charset="0"/>
                <a:ea typeface="Microsoft YaHei" charset="-122"/>
              </a:defRPr>
            </a:lvl5pPr>
            <a:lvl6pPr marL="2514600" indent="-228600" defTabSz="449263" eaLnBrk="0" fontAlgn="base" hangingPunct="0">
              <a:lnSpc>
                <a:spcPct val="92000"/>
              </a:lnSpc>
              <a:spcBef>
                <a:spcPct val="0"/>
              </a:spcBef>
              <a:spcAft>
                <a:spcPts val="288"/>
              </a:spcAft>
              <a:buClr>
                <a:srgbClr val="000000"/>
              </a:buClr>
              <a:buSzPct val="100000"/>
              <a:buFont typeface="Times New Roman" pitchFamily="16" charset="0"/>
              <a:tabLst>
                <a:tab pos="723900" algn="l"/>
                <a:tab pos="1447800" algn="l"/>
                <a:tab pos="2171700" algn="l"/>
              </a:tabLst>
              <a:defRPr sz="2000">
                <a:solidFill>
                  <a:srgbClr val="000000"/>
                </a:solidFill>
                <a:latin typeface="Calibri" charset="0"/>
                <a:ea typeface="Microsoft YaHei" charset="-122"/>
              </a:defRPr>
            </a:lvl6pPr>
            <a:lvl7pPr marL="2971800" indent="-228600" defTabSz="449263" eaLnBrk="0" fontAlgn="base" hangingPunct="0">
              <a:lnSpc>
                <a:spcPct val="92000"/>
              </a:lnSpc>
              <a:spcBef>
                <a:spcPct val="0"/>
              </a:spcBef>
              <a:spcAft>
                <a:spcPts val="288"/>
              </a:spcAft>
              <a:buClr>
                <a:srgbClr val="000000"/>
              </a:buClr>
              <a:buSzPct val="100000"/>
              <a:buFont typeface="Times New Roman" pitchFamily="16" charset="0"/>
              <a:tabLst>
                <a:tab pos="723900" algn="l"/>
                <a:tab pos="1447800" algn="l"/>
                <a:tab pos="2171700" algn="l"/>
              </a:tabLst>
              <a:defRPr sz="2000">
                <a:solidFill>
                  <a:srgbClr val="000000"/>
                </a:solidFill>
                <a:latin typeface="Calibri" charset="0"/>
                <a:ea typeface="Microsoft YaHei" charset="-122"/>
              </a:defRPr>
            </a:lvl7pPr>
            <a:lvl8pPr marL="3429000" indent="-228600" defTabSz="449263" eaLnBrk="0" fontAlgn="base" hangingPunct="0">
              <a:lnSpc>
                <a:spcPct val="92000"/>
              </a:lnSpc>
              <a:spcBef>
                <a:spcPct val="0"/>
              </a:spcBef>
              <a:spcAft>
                <a:spcPts val="288"/>
              </a:spcAft>
              <a:buClr>
                <a:srgbClr val="000000"/>
              </a:buClr>
              <a:buSzPct val="100000"/>
              <a:buFont typeface="Times New Roman" pitchFamily="16" charset="0"/>
              <a:tabLst>
                <a:tab pos="723900" algn="l"/>
                <a:tab pos="1447800" algn="l"/>
                <a:tab pos="2171700" algn="l"/>
              </a:tabLst>
              <a:defRPr sz="2000">
                <a:solidFill>
                  <a:srgbClr val="000000"/>
                </a:solidFill>
                <a:latin typeface="Calibri" charset="0"/>
                <a:ea typeface="Microsoft YaHei" charset="-122"/>
              </a:defRPr>
            </a:lvl8pPr>
            <a:lvl9pPr marL="3886200" indent="-228600" defTabSz="449263" eaLnBrk="0" fontAlgn="base" hangingPunct="0">
              <a:lnSpc>
                <a:spcPct val="92000"/>
              </a:lnSpc>
              <a:spcBef>
                <a:spcPct val="0"/>
              </a:spcBef>
              <a:spcAft>
                <a:spcPts val="288"/>
              </a:spcAft>
              <a:buClr>
                <a:srgbClr val="000000"/>
              </a:buClr>
              <a:buSzPct val="100000"/>
              <a:buFont typeface="Times New Roman" pitchFamily="16" charset="0"/>
              <a:tabLst>
                <a:tab pos="723900" algn="l"/>
                <a:tab pos="1447800" algn="l"/>
                <a:tab pos="2171700" algn="l"/>
              </a:tabLst>
              <a:defRPr sz="2000">
                <a:solidFill>
                  <a:srgbClr val="000000"/>
                </a:solidFill>
                <a:latin typeface="Calibri" charset="0"/>
                <a:ea typeface="Microsoft YaHei" charset="-122"/>
              </a:defRPr>
            </a:lvl9pPr>
          </a:lstStyle>
          <a:p>
            <a:pPr defTabSz="441355" eaLnBrk="1" hangingPunct="1">
              <a:lnSpc>
                <a:spcPct val="100000"/>
              </a:lnSpc>
              <a:spcAft>
                <a:spcPct val="0"/>
              </a:spcAft>
            </a:pPr>
            <a:r>
              <a:rPr lang="pl-PL" altLang="pl-PL" sz="1800" b="1" dirty="0">
                <a:solidFill>
                  <a:schemeClr val="accent4"/>
                </a:solidFill>
                <a:latin typeface="Arial" panose="020B0604020202020204" pitchFamily="34" charset="0"/>
                <a:cs typeface="Arial" panose="020B0604020202020204" pitchFamily="34" charset="0"/>
              </a:rPr>
              <a:t>Magdalena Szczepańska</a:t>
            </a:r>
          </a:p>
        </p:txBody>
      </p:sp>
      <p:sp>
        <p:nvSpPr>
          <p:cNvPr id="8" name="Rectangle 4">
            <a:extLst>
              <a:ext uri="{FF2B5EF4-FFF2-40B4-BE49-F238E27FC236}">
                <a16:creationId xmlns:a16="http://schemas.microsoft.com/office/drawing/2014/main" id="{6F1F00F7-215A-4A31-B123-6698328F85F9}"/>
              </a:ext>
            </a:extLst>
          </p:cNvPr>
          <p:cNvSpPr>
            <a:spLocks noChangeArrowheads="1"/>
          </p:cNvSpPr>
          <p:nvPr/>
        </p:nvSpPr>
        <p:spPr bwMode="auto">
          <a:xfrm>
            <a:off x="623370" y="5433066"/>
            <a:ext cx="5733042" cy="11357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88415" tIns="44210" rIns="88415" bIns="44210">
            <a:spAutoFit/>
          </a:bodyPr>
          <a:lstStyle>
            <a:lvl1pPr>
              <a:lnSpc>
                <a:spcPct val="92000"/>
              </a:lnSpc>
              <a:spcAft>
                <a:spcPts val="1425"/>
              </a:spcAft>
              <a:buClr>
                <a:srgbClr val="000000"/>
              </a:buClr>
              <a:buSzPct val="100000"/>
              <a:buFont typeface="Times New Roman" pitchFamily="16" charset="0"/>
              <a:tabLst>
                <a:tab pos="723900" algn="l"/>
                <a:tab pos="1447800" algn="l"/>
                <a:tab pos="2171700" algn="l"/>
                <a:tab pos="2895600" algn="l"/>
              </a:tabLst>
              <a:defRPr sz="2800">
                <a:solidFill>
                  <a:srgbClr val="000000"/>
                </a:solidFill>
                <a:latin typeface="Calibri" charset="0"/>
                <a:ea typeface="Microsoft YaHei" charset="-122"/>
              </a:defRPr>
            </a:lvl1pPr>
            <a:lvl2pPr>
              <a:lnSpc>
                <a:spcPct val="92000"/>
              </a:lnSpc>
              <a:spcAft>
                <a:spcPts val="1138"/>
              </a:spcAft>
              <a:buClr>
                <a:srgbClr val="000000"/>
              </a:buClr>
              <a:buSzPct val="100000"/>
              <a:buFont typeface="Times New Roman" pitchFamily="16" charset="0"/>
              <a:tabLst>
                <a:tab pos="723900" algn="l"/>
                <a:tab pos="1447800" algn="l"/>
                <a:tab pos="2171700" algn="l"/>
                <a:tab pos="2895600" algn="l"/>
              </a:tabLst>
              <a:defRPr sz="2000">
                <a:solidFill>
                  <a:srgbClr val="000000"/>
                </a:solidFill>
                <a:latin typeface="Calibri" charset="0"/>
                <a:ea typeface="Microsoft YaHei" charset="-122"/>
              </a:defRPr>
            </a:lvl2pPr>
            <a:lvl3pPr>
              <a:lnSpc>
                <a:spcPct val="92000"/>
              </a:lnSpc>
              <a:spcAft>
                <a:spcPts val="850"/>
              </a:spcAft>
              <a:buClr>
                <a:srgbClr val="000000"/>
              </a:buClr>
              <a:buSzPct val="100000"/>
              <a:buFont typeface="Times New Roman" pitchFamily="16" charset="0"/>
              <a:tabLst>
                <a:tab pos="723900" algn="l"/>
                <a:tab pos="1447800" algn="l"/>
                <a:tab pos="2171700" algn="l"/>
                <a:tab pos="2895600" algn="l"/>
              </a:tabLst>
              <a:defRPr>
                <a:solidFill>
                  <a:srgbClr val="000000"/>
                </a:solidFill>
                <a:latin typeface="Calibri" charset="0"/>
                <a:ea typeface="Microsoft YaHei" charset="-122"/>
              </a:defRPr>
            </a:lvl3pPr>
            <a:lvl4pPr>
              <a:lnSpc>
                <a:spcPct val="92000"/>
              </a:lnSpc>
              <a:spcAft>
                <a:spcPts val="575"/>
              </a:spcAft>
              <a:buClr>
                <a:srgbClr val="000000"/>
              </a:buClr>
              <a:buSzPct val="100000"/>
              <a:buFont typeface="Times New Roman" pitchFamily="16" charset="0"/>
              <a:tabLst>
                <a:tab pos="723900" algn="l"/>
                <a:tab pos="1447800" algn="l"/>
                <a:tab pos="2171700" algn="l"/>
                <a:tab pos="2895600" algn="l"/>
              </a:tabLst>
              <a:defRPr>
                <a:solidFill>
                  <a:srgbClr val="000000"/>
                </a:solidFill>
                <a:latin typeface="Calibri" charset="0"/>
                <a:ea typeface="Microsoft YaHei" charset="-122"/>
              </a:defRPr>
            </a:lvl4pPr>
            <a:lvl5pPr>
              <a:lnSpc>
                <a:spcPct val="92000"/>
              </a:lnSpc>
              <a:spcAft>
                <a:spcPts val="288"/>
              </a:spcAft>
              <a:buClr>
                <a:srgbClr val="000000"/>
              </a:buClr>
              <a:buSzPct val="100000"/>
              <a:buFont typeface="Times New Roman" pitchFamily="16" charset="0"/>
              <a:tabLst>
                <a:tab pos="723900" algn="l"/>
                <a:tab pos="1447800" algn="l"/>
                <a:tab pos="2171700" algn="l"/>
                <a:tab pos="2895600" algn="l"/>
              </a:tabLst>
              <a:defRPr sz="2000">
                <a:solidFill>
                  <a:srgbClr val="000000"/>
                </a:solidFill>
                <a:latin typeface="Calibri" charset="0"/>
                <a:ea typeface="Microsoft YaHei" charset="-122"/>
              </a:defRPr>
            </a:lvl5pPr>
            <a:lvl6pPr marL="2514600" indent="-228600" defTabSz="449263" eaLnBrk="0" fontAlgn="base" hangingPunct="0">
              <a:lnSpc>
                <a:spcPct val="92000"/>
              </a:lnSpc>
              <a:spcBef>
                <a:spcPct val="0"/>
              </a:spcBef>
              <a:spcAft>
                <a:spcPts val="288"/>
              </a:spcAft>
              <a:buClr>
                <a:srgbClr val="000000"/>
              </a:buClr>
              <a:buSzPct val="100000"/>
              <a:buFont typeface="Times New Roman" pitchFamily="16" charset="0"/>
              <a:tabLst>
                <a:tab pos="723900" algn="l"/>
                <a:tab pos="1447800" algn="l"/>
                <a:tab pos="2171700" algn="l"/>
                <a:tab pos="2895600" algn="l"/>
              </a:tabLst>
              <a:defRPr sz="2000">
                <a:solidFill>
                  <a:srgbClr val="000000"/>
                </a:solidFill>
                <a:latin typeface="Calibri" charset="0"/>
                <a:ea typeface="Microsoft YaHei" charset="-122"/>
              </a:defRPr>
            </a:lvl6pPr>
            <a:lvl7pPr marL="2971800" indent="-228600" defTabSz="449263" eaLnBrk="0" fontAlgn="base" hangingPunct="0">
              <a:lnSpc>
                <a:spcPct val="92000"/>
              </a:lnSpc>
              <a:spcBef>
                <a:spcPct val="0"/>
              </a:spcBef>
              <a:spcAft>
                <a:spcPts val="288"/>
              </a:spcAft>
              <a:buClr>
                <a:srgbClr val="000000"/>
              </a:buClr>
              <a:buSzPct val="100000"/>
              <a:buFont typeface="Times New Roman" pitchFamily="16" charset="0"/>
              <a:tabLst>
                <a:tab pos="723900" algn="l"/>
                <a:tab pos="1447800" algn="l"/>
                <a:tab pos="2171700" algn="l"/>
                <a:tab pos="2895600" algn="l"/>
              </a:tabLst>
              <a:defRPr sz="2000">
                <a:solidFill>
                  <a:srgbClr val="000000"/>
                </a:solidFill>
                <a:latin typeface="Calibri" charset="0"/>
                <a:ea typeface="Microsoft YaHei" charset="-122"/>
              </a:defRPr>
            </a:lvl7pPr>
            <a:lvl8pPr marL="3429000" indent="-228600" defTabSz="449263" eaLnBrk="0" fontAlgn="base" hangingPunct="0">
              <a:lnSpc>
                <a:spcPct val="92000"/>
              </a:lnSpc>
              <a:spcBef>
                <a:spcPct val="0"/>
              </a:spcBef>
              <a:spcAft>
                <a:spcPts val="288"/>
              </a:spcAft>
              <a:buClr>
                <a:srgbClr val="000000"/>
              </a:buClr>
              <a:buSzPct val="100000"/>
              <a:buFont typeface="Times New Roman" pitchFamily="16" charset="0"/>
              <a:tabLst>
                <a:tab pos="723900" algn="l"/>
                <a:tab pos="1447800" algn="l"/>
                <a:tab pos="2171700" algn="l"/>
                <a:tab pos="2895600" algn="l"/>
              </a:tabLst>
              <a:defRPr sz="2000">
                <a:solidFill>
                  <a:srgbClr val="000000"/>
                </a:solidFill>
                <a:latin typeface="Calibri" charset="0"/>
                <a:ea typeface="Microsoft YaHei" charset="-122"/>
              </a:defRPr>
            </a:lvl8pPr>
            <a:lvl9pPr marL="3886200" indent="-228600" defTabSz="449263" eaLnBrk="0" fontAlgn="base" hangingPunct="0">
              <a:lnSpc>
                <a:spcPct val="92000"/>
              </a:lnSpc>
              <a:spcBef>
                <a:spcPct val="0"/>
              </a:spcBef>
              <a:spcAft>
                <a:spcPts val="288"/>
              </a:spcAft>
              <a:buClr>
                <a:srgbClr val="000000"/>
              </a:buClr>
              <a:buSzPct val="100000"/>
              <a:buFont typeface="Times New Roman" pitchFamily="16" charset="0"/>
              <a:tabLst>
                <a:tab pos="723900" algn="l"/>
                <a:tab pos="1447800" algn="l"/>
                <a:tab pos="2171700" algn="l"/>
                <a:tab pos="2895600" algn="l"/>
              </a:tabLst>
              <a:defRPr sz="2000">
                <a:solidFill>
                  <a:srgbClr val="000000"/>
                </a:solidFill>
                <a:latin typeface="Calibri" charset="0"/>
                <a:ea typeface="Microsoft YaHei" charset="-122"/>
              </a:defRPr>
            </a:lvl9pPr>
          </a:lstStyle>
          <a:p>
            <a:pPr defTabSz="441355">
              <a:lnSpc>
                <a:spcPct val="100000"/>
              </a:lnSpc>
              <a:spcAft>
                <a:spcPct val="0"/>
              </a:spcAft>
            </a:pPr>
            <a:r>
              <a:rPr lang="pl-PL" altLang="pl-PL" sz="1800" dirty="0" err="1">
                <a:solidFill>
                  <a:schemeClr val="accent4"/>
                </a:solidFill>
                <a:latin typeface="Arial" panose="020B0604020202020204" pitchFamily="34" charset="0"/>
                <a:cs typeface="Arial" panose="020B0604020202020204" pitchFamily="34" charset="0"/>
              </a:rPr>
              <a:t>Head</a:t>
            </a:r>
            <a:r>
              <a:rPr lang="pl-PL" altLang="pl-PL" sz="1800" dirty="0">
                <a:solidFill>
                  <a:schemeClr val="accent4"/>
                </a:solidFill>
                <a:latin typeface="Arial" panose="020B0604020202020204" pitchFamily="34" charset="0"/>
                <a:cs typeface="Arial" panose="020B0604020202020204" pitchFamily="34" charset="0"/>
              </a:rPr>
              <a:t> of International </a:t>
            </a:r>
            <a:r>
              <a:rPr lang="pl-PL" altLang="pl-PL" sz="1800" dirty="0" err="1">
                <a:solidFill>
                  <a:schemeClr val="accent4"/>
                </a:solidFill>
                <a:latin typeface="Arial" panose="020B0604020202020204" pitchFamily="34" charset="0"/>
                <a:cs typeface="Arial" panose="020B0604020202020204" pitchFamily="34" charset="0"/>
              </a:rPr>
              <a:t>Clients</a:t>
            </a:r>
            <a:r>
              <a:rPr lang="pl-PL" altLang="pl-PL" sz="1800" dirty="0">
                <a:solidFill>
                  <a:schemeClr val="accent4"/>
                </a:solidFill>
                <a:latin typeface="Arial" panose="020B0604020202020204" pitchFamily="34" charset="0"/>
                <a:cs typeface="Arial" panose="020B0604020202020204" pitchFamily="34" charset="0"/>
              </a:rPr>
              <a:t> Office</a:t>
            </a:r>
          </a:p>
          <a:p>
            <a:pPr defTabSz="441355">
              <a:lnSpc>
                <a:spcPct val="100000"/>
              </a:lnSpc>
              <a:spcAft>
                <a:spcPct val="0"/>
              </a:spcAft>
            </a:pPr>
            <a:r>
              <a:rPr lang="pl-PL" altLang="pl-PL" sz="1800" dirty="0">
                <a:solidFill>
                  <a:schemeClr val="accent4"/>
                </a:solidFill>
                <a:latin typeface="Arial" panose="020B0604020202020204" pitchFamily="34" charset="0"/>
                <a:cs typeface="Arial" panose="020B0604020202020204" pitchFamily="34" charset="0"/>
              </a:rPr>
              <a:t>International Banking &amp; Trade Finance </a:t>
            </a:r>
            <a:r>
              <a:rPr lang="pl-PL" altLang="pl-PL" sz="1800" dirty="0" err="1">
                <a:solidFill>
                  <a:schemeClr val="accent4"/>
                </a:solidFill>
                <a:latin typeface="Arial" panose="020B0604020202020204" pitchFamily="34" charset="0"/>
                <a:cs typeface="Arial" panose="020B0604020202020204" pitchFamily="34" charset="0"/>
              </a:rPr>
              <a:t>Department</a:t>
            </a:r>
            <a:endParaRPr lang="pl-PL" altLang="pl-PL" sz="1800" dirty="0">
              <a:solidFill>
                <a:schemeClr val="accent4"/>
              </a:solidFill>
              <a:latin typeface="Arial" panose="020B0604020202020204" pitchFamily="34" charset="0"/>
              <a:cs typeface="Arial" panose="020B0604020202020204" pitchFamily="34" charset="0"/>
            </a:endParaRPr>
          </a:p>
          <a:p>
            <a:pPr defTabSz="441355" eaLnBrk="1" hangingPunct="1">
              <a:lnSpc>
                <a:spcPct val="100000"/>
              </a:lnSpc>
              <a:spcAft>
                <a:spcPct val="0"/>
              </a:spcAft>
            </a:pPr>
            <a:endParaRPr lang="pl-PL" altLang="pl-PL" sz="1600" dirty="0">
              <a:solidFill>
                <a:schemeClr val="accent4"/>
              </a:solidFill>
              <a:latin typeface="Arial" panose="020B0604020202020204" pitchFamily="34" charset="0"/>
              <a:cs typeface="Arial" panose="020B0604020202020204" pitchFamily="34" charset="0"/>
            </a:endParaRPr>
          </a:p>
          <a:p>
            <a:pPr defTabSz="441355" eaLnBrk="1" hangingPunct="1">
              <a:lnSpc>
                <a:spcPct val="100000"/>
              </a:lnSpc>
              <a:spcAft>
                <a:spcPct val="0"/>
              </a:spcAft>
            </a:pPr>
            <a:r>
              <a:rPr lang="pl-PL" altLang="pl-PL" sz="1600" dirty="0">
                <a:solidFill>
                  <a:schemeClr val="accent4"/>
                </a:solidFill>
                <a:latin typeface="Arial" panose="020B0604020202020204" pitchFamily="34" charset="0"/>
                <a:cs typeface="Arial" panose="020B0604020202020204" pitchFamily="34" charset="0"/>
              </a:rPr>
              <a:t>Magdalena.Szczepanska@pekao.com.pl</a:t>
            </a:r>
          </a:p>
        </p:txBody>
      </p:sp>
      <p:sp>
        <p:nvSpPr>
          <p:cNvPr id="10" name="Rectangle 5">
            <a:extLst>
              <a:ext uri="{FF2B5EF4-FFF2-40B4-BE49-F238E27FC236}">
                <a16:creationId xmlns:a16="http://schemas.microsoft.com/office/drawing/2014/main" id="{E7D498EB-D8D5-47B1-8EE2-54D0B6F36299}"/>
              </a:ext>
            </a:extLst>
          </p:cNvPr>
          <p:cNvSpPr>
            <a:spLocks noChangeArrowheads="1"/>
          </p:cNvSpPr>
          <p:nvPr/>
        </p:nvSpPr>
        <p:spPr bwMode="auto">
          <a:xfrm>
            <a:off x="6452672" y="4576421"/>
            <a:ext cx="6212434" cy="3662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88415" tIns="44210" rIns="88415" bIns="44210">
            <a:spAutoFit/>
          </a:bodyPr>
          <a:lstStyle>
            <a:lvl1pPr>
              <a:lnSpc>
                <a:spcPct val="92000"/>
              </a:lnSpc>
              <a:spcAft>
                <a:spcPts val="1425"/>
              </a:spcAft>
              <a:buClr>
                <a:srgbClr val="000000"/>
              </a:buClr>
              <a:buSzPct val="100000"/>
              <a:buFont typeface="Times New Roman" pitchFamily="16" charset="0"/>
              <a:tabLst>
                <a:tab pos="723900" algn="l"/>
                <a:tab pos="1447800" algn="l"/>
                <a:tab pos="2171700" algn="l"/>
              </a:tabLst>
              <a:defRPr sz="2800">
                <a:solidFill>
                  <a:srgbClr val="000000"/>
                </a:solidFill>
                <a:latin typeface="Calibri" charset="0"/>
                <a:ea typeface="Microsoft YaHei" charset="-122"/>
              </a:defRPr>
            </a:lvl1pPr>
            <a:lvl2pPr>
              <a:lnSpc>
                <a:spcPct val="92000"/>
              </a:lnSpc>
              <a:spcAft>
                <a:spcPts val="1138"/>
              </a:spcAft>
              <a:buClr>
                <a:srgbClr val="000000"/>
              </a:buClr>
              <a:buSzPct val="100000"/>
              <a:buFont typeface="Times New Roman" pitchFamily="16" charset="0"/>
              <a:tabLst>
                <a:tab pos="723900" algn="l"/>
                <a:tab pos="1447800" algn="l"/>
                <a:tab pos="2171700" algn="l"/>
              </a:tabLst>
              <a:defRPr sz="2000">
                <a:solidFill>
                  <a:srgbClr val="000000"/>
                </a:solidFill>
                <a:latin typeface="Calibri" charset="0"/>
                <a:ea typeface="Microsoft YaHei" charset="-122"/>
              </a:defRPr>
            </a:lvl2pPr>
            <a:lvl3pPr>
              <a:lnSpc>
                <a:spcPct val="92000"/>
              </a:lnSpc>
              <a:spcAft>
                <a:spcPts val="850"/>
              </a:spcAft>
              <a:buClr>
                <a:srgbClr val="000000"/>
              </a:buClr>
              <a:buSzPct val="100000"/>
              <a:buFont typeface="Times New Roman" pitchFamily="16" charset="0"/>
              <a:tabLst>
                <a:tab pos="723900" algn="l"/>
                <a:tab pos="1447800" algn="l"/>
                <a:tab pos="2171700" algn="l"/>
              </a:tabLst>
              <a:defRPr>
                <a:solidFill>
                  <a:srgbClr val="000000"/>
                </a:solidFill>
                <a:latin typeface="Calibri" charset="0"/>
                <a:ea typeface="Microsoft YaHei" charset="-122"/>
              </a:defRPr>
            </a:lvl3pPr>
            <a:lvl4pPr>
              <a:lnSpc>
                <a:spcPct val="92000"/>
              </a:lnSpc>
              <a:spcAft>
                <a:spcPts val="575"/>
              </a:spcAft>
              <a:buClr>
                <a:srgbClr val="000000"/>
              </a:buClr>
              <a:buSzPct val="100000"/>
              <a:buFont typeface="Times New Roman" pitchFamily="16" charset="0"/>
              <a:tabLst>
                <a:tab pos="723900" algn="l"/>
                <a:tab pos="1447800" algn="l"/>
                <a:tab pos="2171700" algn="l"/>
              </a:tabLst>
              <a:defRPr>
                <a:solidFill>
                  <a:srgbClr val="000000"/>
                </a:solidFill>
                <a:latin typeface="Calibri" charset="0"/>
                <a:ea typeface="Microsoft YaHei" charset="-122"/>
              </a:defRPr>
            </a:lvl4pPr>
            <a:lvl5pPr>
              <a:lnSpc>
                <a:spcPct val="92000"/>
              </a:lnSpc>
              <a:spcAft>
                <a:spcPts val="288"/>
              </a:spcAft>
              <a:buClr>
                <a:srgbClr val="000000"/>
              </a:buClr>
              <a:buSzPct val="100000"/>
              <a:buFont typeface="Times New Roman" pitchFamily="16" charset="0"/>
              <a:tabLst>
                <a:tab pos="723900" algn="l"/>
                <a:tab pos="1447800" algn="l"/>
                <a:tab pos="2171700" algn="l"/>
              </a:tabLst>
              <a:defRPr sz="2000">
                <a:solidFill>
                  <a:srgbClr val="000000"/>
                </a:solidFill>
                <a:latin typeface="Calibri" charset="0"/>
                <a:ea typeface="Microsoft YaHei" charset="-122"/>
              </a:defRPr>
            </a:lvl5pPr>
            <a:lvl6pPr marL="2514600" indent="-228600" defTabSz="449263" eaLnBrk="0" fontAlgn="base" hangingPunct="0">
              <a:lnSpc>
                <a:spcPct val="92000"/>
              </a:lnSpc>
              <a:spcBef>
                <a:spcPct val="0"/>
              </a:spcBef>
              <a:spcAft>
                <a:spcPts val="288"/>
              </a:spcAft>
              <a:buClr>
                <a:srgbClr val="000000"/>
              </a:buClr>
              <a:buSzPct val="100000"/>
              <a:buFont typeface="Times New Roman" pitchFamily="16" charset="0"/>
              <a:tabLst>
                <a:tab pos="723900" algn="l"/>
                <a:tab pos="1447800" algn="l"/>
                <a:tab pos="2171700" algn="l"/>
              </a:tabLst>
              <a:defRPr sz="2000">
                <a:solidFill>
                  <a:srgbClr val="000000"/>
                </a:solidFill>
                <a:latin typeface="Calibri" charset="0"/>
                <a:ea typeface="Microsoft YaHei" charset="-122"/>
              </a:defRPr>
            </a:lvl6pPr>
            <a:lvl7pPr marL="2971800" indent="-228600" defTabSz="449263" eaLnBrk="0" fontAlgn="base" hangingPunct="0">
              <a:lnSpc>
                <a:spcPct val="92000"/>
              </a:lnSpc>
              <a:spcBef>
                <a:spcPct val="0"/>
              </a:spcBef>
              <a:spcAft>
                <a:spcPts val="288"/>
              </a:spcAft>
              <a:buClr>
                <a:srgbClr val="000000"/>
              </a:buClr>
              <a:buSzPct val="100000"/>
              <a:buFont typeface="Times New Roman" pitchFamily="16" charset="0"/>
              <a:tabLst>
                <a:tab pos="723900" algn="l"/>
                <a:tab pos="1447800" algn="l"/>
                <a:tab pos="2171700" algn="l"/>
              </a:tabLst>
              <a:defRPr sz="2000">
                <a:solidFill>
                  <a:srgbClr val="000000"/>
                </a:solidFill>
                <a:latin typeface="Calibri" charset="0"/>
                <a:ea typeface="Microsoft YaHei" charset="-122"/>
              </a:defRPr>
            </a:lvl7pPr>
            <a:lvl8pPr marL="3429000" indent="-228600" defTabSz="449263" eaLnBrk="0" fontAlgn="base" hangingPunct="0">
              <a:lnSpc>
                <a:spcPct val="92000"/>
              </a:lnSpc>
              <a:spcBef>
                <a:spcPct val="0"/>
              </a:spcBef>
              <a:spcAft>
                <a:spcPts val="288"/>
              </a:spcAft>
              <a:buClr>
                <a:srgbClr val="000000"/>
              </a:buClr>
              <a:buSzPct val="100000"/>
              <a:buFont typeface="Times New Roman" pitchFamily="16" charset="0"/>
              <a:tabLst>
                <a:tab pos="723900" algn="l"/>
                <a:tab pos="1447800" algn="l"/>
                <a:tab pos="2171700" algn="l"/>
              </a:tabLst>
              <a:defRPr sz="2000">
                <a:solidFill>
                  <a:srgbClr val="000000"/>
                </a:solidFill>
                <a:latin typeface="Calibri" charset="0"/>
                <a:ea typeface="Microsoft YaHei" charset="-122"/>
              </a:defRPr>
            </a:lvl8pPr>
            <a:lvl9pPr marL="3886200" indent="-228600" defTabSz="449263" eaLnBrk="0" fontAlgn="base" hangingPunct="0">
              <a:lnSpc>
                <a:spcPct val="92000"/>
              </a:lnSpc>
              <a:spcBef>
                <a:spcPct val="0"/>
              </a:spcBef>
              <a:spcAft>
                <a:spcPts val="288"/>
              </a:spcAft>
              <a:buClr>
                <a:srgbClr val="000000"/>
              </a:buClr>
              <a:buSzPct val="100000"/>
              <a:buFont typeface="Times New Roman" pitchFamily="16" charset="0"/>
              <a:tabLst>
                <a:tab pos="723900" algn="l"/>
                <a:tab pos="1447800" algn="l"/>
                <a:tab pos="2171700" algn="l"/>
              </a:tabLst>
              <a:defRPr sz="2000">
                <a:solidFill>
                  <a:srgbClr val="000000"/>
                </a:solidFill>
                <a:latin typeface="Calibri" charset="0"/>
                <a:ea typeface="Microsoft YaHei" charset="-122"/>
              </a:defRPr>
            </a:lvl9pPr>
          </a:lstStyle>
          <a:p>
            <a:pPr defTabSz="441355" eaLnBrk="1" hangingPunct="1">
              <a:lnSpc>
                <a:spcPct val="100000"/>
              </a:lnSpc>
              <a:spcAft>
                <a:spcPct val="0"/>
              </a:spcAft>
            </a:pPr>
            <a:r>
              <a:rPr lang="pl-PL" altLang="pl-PL" sz="1800" b="1" dirty="0">
                <a:solidFill>
                  <a:schemeClr val="accent4"/>
                </a:solidFill>
                <a:latin typeface="Arial" panose="020B0604020202020204" pitchFamily="34" charset="0"/>
                <a:cs typeface="Arial" panose="020B0604020202020204" pitchFamily="34" charset="0"/>
              </a:rPr>
              <a:t>Piotr Stolarczyk</a:t>
            </a:r>
          </a:p>
        </p:txBody>
      </p:sp>
      <p:sp>
        <p:nvSpPr>
          <p:cNvPr id="11" name="Rectangle 4">
            <a:extLst>
              <a:ext uri="{FF2B5EF4-FFF2-40B4-BE49-F238E27FC236}">
                <a16:creationId xmlns:a16="http://schemas.microsoft.com/office/drawing/2014/main" id="{40A80A70-D3FB-4B13-9445-F8B5FA6C6A28}"/>
              </a:ext>
            </a:extLst>
          </p:cNvPr>
          <p:cNvSpPr>
            <a:spLocks noChangeArrowheads="1"/>
          </p:cNvSpPr>
          <p:nvPr/>
        </p:nvSpPr>
        <p:spPr bwMode="auto">
          <a:xfrm>
            <a:off x="6452670" y="5433066"/>
            <a:ext cx="5733042" cy="11357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88415" tIns="44210" rIns="88415" bIns="44210">
            <a:spAutoFit/>
          </a:bodyPr>
          <a:lstStyle>
            <a:lvl1pPr>
              <a:lnSpc>
                <a:spcPct val="92000"/>
              </a:lnSpc>
              <a:spcAft>
                <a:spcPts val="1425"/>
              </a:spcAft>
              <a:buClr>
                <a:srgbClr val="000000"/>
              </a:buClr>
              <a:buSzPct val="100000"/>
              <a:buFont typeface="Times New Roman" pitchFamily="16" charset="0"/>
              <a:tabLst>
                <a:tab pos="723900" algn="l"/>
                <a:tab pos="1447800" algn="l"/>
                <a:tab pos="2171700" algn="l"/>
                <a:tab pos="2895600" algn="l"/>
              </a:tabLst>
              <a:defRPr sz="2800">
                <a:solidFill>
                  <a:srgbClr val="000000"/>
                </a:solidFill>
                <a:latin typeface="Calibri" charset="0"/>
                <a:ea typeface="Microsoft YaHei" charset="-122"/>
              </a:defRPr>
            </a:lvl1pPr>
            <a:lvl2pPr>
              <a:lnSpc>
                <a:spcPct val="92000"/>
              </a:lnSpc>
              <a:spcAft>
                <a:spcPts val="1138"/>
              </a:spcAft>
              <a:buClr>
                <a:srgbClr val="000000"/>
              </a:buClr>
              <a:buSzPct val="100000"/>
              <a:buFont typeface="Times New Roman" pitchFamily="16" charset="0"/>
              <a:tabLst>
                <a:tab pos="723900" algn="l"/>
                <a:tab pos="1447800" algn="l"/>
                <a:tab pos="2171700" algn="l"/>
                <a:tab pos="2895600" algn="l"/>
              </a:tabLst>
              <a:defRPr sz="2000">
                <a:solidFill>
                  <a:srgbClr val="000000"/>
                </a:solidFill>
                <a:latin typeface="Calibri" charset="0"/>
                <a:ea typeface="Microsoft YaHei" charset="-122"/>
              </a:defRPr>
            </a:lvl2pPr>
            <a:lvl3pPr>
              <a:lnSpc>
                <a:spcPct val="92000"/>
              </a:lnSpc>
              <a:spcAft>
                <a:spcPts val="850"/>
              </a:spcAft>
              <a:buClr>
                <a:srgbClr val="000000"/>
              </a:buClr>
              <a:buSzPct val="100000"/>
              <a:buFont typeface="Times New Roman" pitchFamily="16" charset="0"/>
              <a:tabLst>
                <a:tab pos="723900" algn="l"/>
                <a:tab pos="1447800" algn="l"/>
                <a:tab pos="2171700" algn="l"/>
                <a:tab pos="2895600" algn="l"/>
              </a:tabLst>
              <a:defRPr>
                <a:solidFill>
                  <a:srgbClr val="000000"/>
                </a:solidFill>
                <a:latin typeface="Calibri" charset="0"/>
                <a:ea typeface="Microsoft YaHei" charset="-122"/>
              </a:defRPr>
            </a:lvl3pPr>
            <a:lvl4pPr>
              <a:lnSpc>
                <a:spcPct val="92000"/>
              </a:lnSpc>
              <a:spcAft>
                <a:spcPts val="575"/>
              </a:spcAft>
              <a:buClr>
                <a:srgbClr val="000000"/>
              </a:buClr>
              <a:buSzPct val="100000"/>
              <a:buFont typeface="Times New Roman" pitchFamily="16" charset="0"/>
              <a:tabLst>
                <a:tab pos="723900" algn="l"/>
                <a:tab pos="1447800" algn="l"/>
                <a:tab pos="2171700" algn="l"/>
                <a:tab pos="2895600" algn="l"/>
              </a:tabLst>
              <a:defRPr>
                <a:solidFill>
                  <a:srgbClr val="000000"/>
                </a:solidFill>
                <a:latin typeface="Calibri" charset="0"/>
                <a:ea typeface="Microsoft YaHei" charset="-122"/>
              </a:defRPr>
            </a:lvl4pPr>
            <a:lvl5pPr>
              <a:lnSpc>
                <a:spcPct val="92000"/>
              </a:lnSpc>
              <a:spcAft>
                <a:spcPts val="288"/>
              </a:spcAft>
              <a:buClr>
                <a:srgbClr val="000000"/>
              </a:buClr>
              <a:buSzPct val="100000"/>
              <a:buFont typeface="Times New Roman" pitchFamily="16" charset="0"/>
              <a:tabLst>
                <a:tab pos="723900" algn="l"/>
                <a:tab pos="1447800" algn="l"/>
                <a:tab pos="2171700" algn="l"/>
                <a:tab pos="2895600" algn="l"/>
              </a:tabLst>
              <a:defRPr sz="2000">
                <a:solidFill>
                  <a:srgbClr val="000000"/>
                </a:solidFill>
                <a:latin typeface="Calibri" charset="0"/>
                <a:ea typeface="Microsoft YaHei" charset="-122"/>
              </a:defRPr>
            </a:lvl5pPr>
            <a:lvl6pPr marL="2514600" indent="-228600" defTabSz="449263" eaLnBrk="0" fontAlgn="base" hangingPunct="0">
              <a:lnSpc>
                <a:spcPct val="92000"/>
              </a:lnSpc>
              <a:spcBef>
                <a:spcPct val="0"/>
              </a:spcBef>
              <a:spcAft>
                <a:spcPts val="288"/>
              </a:spcAft>
              <a:buClr>
                <a:srgbClr val="000000"/>
              </a:buClr>
              <a:buSzPct val="100000"/>
              <a:buFont typeface="Times New Roman" pitchFamily="16" charset="0"/>
              <a:tabLst>
                <a:tab pos="723900" algn="l"/>
                <a:tab pos="1447800" algn="l"/>
                <a:tab pos="2171700" algn="l"/>
                <a:tab pos="2895600" algn="l"/>
              </a:tabLst>
              <a:defRPr sz="2000">
                <a:solidFill>
                  <a:srgbClr val="000000"/>
                </a:solidFill>
                <a:latin typeface="Calibri" charset="0"/>
                <a:ea typeface="Microsoft YaHei" charset="-122"/>
              </a:defRPr>
            </a:lvl6pPr>
            <a:lvl7pPr marL="2971800" indent="-228600" defTabSz="449263" eaLnBrk="0" fontAlgn="base" hangingPunct="0">
              <a:lnSpc>
                <a:spcPct val="92000"/>
              </a:lnSpc>
              <a:spcBef>
                <a:spcPct val="0"/>
              </a:spcBef>
              <a:spcAft>
                <a:spcPts val="288"/>
              </a:spcAft>
              <a:buClr>
                <a:srgbClr val="000000"/>
              </a:buClr>
              <a:buSzPct val="100000"/>
              <a:buFont typeface="Times New Roman" pitchFamily="16" charset="0"/>
              <a:tabLst>
                <a:tab pos="723900" algn="l"/>
                <a:tab pos="1447800" algn="l"/>
                <a:tab pos="2171700" algn="l"/>
                <a:tab pos="2895600" algn="l"/>
              </a:tabLst>
              <a:defRPr sz="2000">
                <a:solidFill>
                  <a:srgbClr val="000000"/>
                </a:solidFill>
                <a:latin typeface="Calibri" charset="0"/>
                <a:ea typeface="Microsoft YaHei" charset="-122"/>
              </a:defRPr>
            </a:lvl7pPr>
            <a:lvl8pPr marL="3429000" indent="-228600" defTabSz="449263" eaLnBrk="0" fontAlgn="base" hangingPunct="0">
              <a:lnSpc>
                <a:spcPct val="92000"/>
              </a:lnSpc>
              <a:spcBef>
                <a:spcPct val="0"/>
              </a:spcBef>
              <a:spcAft>
                <a:spcPts val="288"/>
              </a:spcAft>
              <a:buClr>
                <a:srgbClr val="000000"/>
              </a:buClr>
              <a:buSzPct val="100000"/>
              <a:buFont typeface="Times New Roman" pitchFamily="16" charset="0"/>
              <a:tabLst>
                <a:tab pos="723900" algn="l"/>
                <a:tab pos="1447800" algn="l"/>
                <a:tab pos="2171700" algn="l"/>
                <a:tab pos="2895600" algn="l"/>
              </a:tabLst>
              <a:defRPr sz="2000">
                <a:solidFill>
                  <a:srgbClr val="000000"/>
                </a:solidFill>
                <a:latin typeface="Calibri" charset="0"/>
                <a:ea typeface="Microsoft YaHei" charset="-122"/>
              </a:defRPr>
            </a:lvl8pPr>
            <a:lvl9pPr marL="3886200" indent="-228600" defTabSz="449263" eaLnBrk="0" fontAlgn="base" hangingPunct="0">
              <a:lnSpc>
                <a:spcPct val="92000"/>
              </a:lnSpc>
              <a:spcBef>
                <a:spcPct val="0"/>
              </a:spcBef>
              <a:spcAft>
                <a:spcPts val="288"/>
              </a:spcAft>
              <a:buClr>
                <a:srgbClr val="000000"/>
              </a:buClr>
              <a:buSzPct val="100000"/>
              <a:buFont typeface="Times New Roman" pitchFamily="16" charset="0"/>
              <a:tabLst>
                <a:tab pos="723900" algn="l"/>
                <a:tab pos="1447800" algn="l"/>
                <a:tab pos="2171700" algn="l"/>
                <a:tab pos="2895600" algn="l"/>
              </a:tabLst>
              <a:defRPr sz="2000">
                <a:solidFill>
                  <a:srgbClr val="000000"/>
                </a:solidFill>
                <a:latin typeface="Calibri" charset="0"/>
                <a:ea typeface="Microsoft YaHei" charset="-122"/>
              </a:defRPr>
            </a:lvl9pPr>
          </a:lstStyle>
          <a:p>
            <a:pPr defTabSz="441355">
              <a:lnSpc>
                <a:spcPct val="100000"/>
              </a:lnSpc>
              <a:spcAft>
                <a:spcPct val="0"/>
              </a:spcAft>
            </a:pPr>
            <a:r>
              <a:rPr lang="pl-PL" altLang="pl-PL" sz="1800" dirty="0" err="1">
                <a:solidFill>
                  <a:schemeClr val="accent4"/>
                </a:solidFill>
                <a:latin typeface="Arial" panose="020B0604020202020204" pitchFamily="34" charset="0"/>
                <a:cs typeface="Arial" panose="020B0604020202020204" pitchFamily="34" charset="0"/>
              </a:rPr>
              <a:t>Head</a:t>
            </a:r>
            <a:r>
              <a:rPr lang="pl-PL" altLang="pl-PL" sz="1800" dirty="0">
                <a:solidFill>
                  <a:schemeClr val="accent4"/>
                </a:solidFill>
                <a:latin typeface="Arial" panose="020B0604020202020204" pitchFamily="34" charset="0"/>
                <a:cs typeface="Arial" panose="020B0604020202020204" pitchFamily="34" charset="0"/>
              </a:rPr>
              <a:t> of International Banking &amp; Trade Finance </a:t>
            </a:r>
            <a:r>
              <a:rPr lang="pl-PL" altLang="pl-PL" sz="1800" dirty="0" err="1">
                <a:solidFill>
                  <a:schemeClr val="accent4"/>
                </a:solidFill>
                <a:latin typeface="Arial" panose="020B0604020202020204" pitchFamily="34" charset="0"/>
                <a:cs typeface="Arial" panose="020B0604020202020204" pitchFamily="34" charset="0"/>
              </a:rPr>
              <a:t>Department</a:t>
            </a:r>
            <a:endParaRPr lang="pl-PL" altLang="pl-PL" sz="1800" dirty="0">
              <a:solidFill>
                <a:schemeClr val="accent4"/>
              </a:solidFill>
              <a:latin typeface="Arial" panose="020B0604020202020204" pitchFamily="34" charset="0"/>
              <a:cs typeface="Arial" panose="020B0604020202020204" pitchFamily="34" charset="0"/>
            </a:endParaRPr>
          </a:p>
          <a:p>
            <a:pPr defTabSz="441355" eaLnBrk="1" hangingPunct="1">
              <a:lnSpc>
                <a:spcPct val="100000"/>
              </a:lnSpc>
              <a:spcAft>
                <a:spcPct val="0"/>
              </a:spcAft>
            </a:pPr>
            <a:endParaRPr lang="pl-PL" altLang="pl-PL" sz="1600" dirty="0">
              <a:solidFill>
                <a:schemeClr val="accent4"/>
              </a:solidFill>
              <a:latin typeface="Arial" panose="020B0604020202020204" pitchFamily="34" charset="0"/>
              <a:cs typeface="Arial" panose="020B0604020202020204" pitchFamily="34" charset="0"/>
            </a:endParaRPr>
          </a:p>
          <a:p>
            <a:pPr defTabSz="441355" eaLnBrk="1" hangingPunct="1">
              <a:lnSpc>
                <a:spcPct val="100000"/>
              </a:lnSpc>
              <a:spcAft>
                <a:spcPct val="0"/>
              </a:spcAft>
            </a:pPr>
            <a:r>
              <a:rPr lang="pl-PL" altLang="pl-PL" sz="1600" dirty="0">
                <a:solidFill>
                  <a:schemeClr val="accent4"/>
                </a:solidFill>
                <a:latin typeface="Arial" panose="020B0604020202020204" pitchFamily="34" charset="0"/>
                <a:cs typeface="Arial" panose="020B0604020202020204" pitchFamily="34" charset="0"/>
              </a:rPr>
              <a:t>Piotr.Stolarczyk@pekao.com.pl</a:t>
            </a:r>
          </a:p>
        </p:txBody>
      </p:sp>
    </p:spTree>
    <p:extLst>
      <p:ext uri="{BB962C8B-B14F-4D97-AF65-F5344CB8AC3E}">
        <p14:creationId xmlns:p14="http://schemas.microsoft.com/office/powerpoint/2010/main" val="3243183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i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51" name="Obraz 150"/>
          <p:cNvPicPr/>
          <p:nvPr/>
        </p:nvPicPr>
        <p:blipFill rotWithShape="1">
          <a:blip r:embed="rId7">
            <a:extLst>
              <a:ext uri="{28A0092B-C50C-407E-A947-70E740481C1C}">
                <a14:useLocalDpi xmlns:a14="http://schemas.microsoft.com/office/drawing/2010/main" val="0"/>
              </a:ext>
            </a:extLst>
          </a:blip>
          <a:srcRect l="62014" b="51403"/>
          <a:stretch/>
        </p:blipFill>
        <p:spPr bwMode="auto">
          <a:xfrm>
            <a:off x="11415505" y="56460"/>
            <a:ext cx="706057" cy="1157468"/>
          </a:xfrm>
          <a:prstGeom prst="rect">
            <a:avLst/>
          </a:prstGeom>
          <a:noFill/>
        </p:spPr>
      </p:pic>
      <p:cxnSp>
        <p:nvCxnSpPr>
          <p:cNvPr id="121" name="Łącznik prosty 120"/>
          <p:cNvCxnSpPr/>
          <p:nvPr/>
        </p:nvCxnSpPr>
        <p:spPr>
          <a:xfrm>
            <a:off x="-112115" y="1314532"/>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sp>
        <p:nvSpPr>
          <p:cNvPr id="3" name="Tytuł 2">
            <a:extLst>
              <a:ext uri="{FF2B5EF4-FFF2-40B4-BE49-F238E27FC236}">
                <a16:creationId xmlns:a16="http://schemas.microsoft.com/office/drawing/2014/main" id="{D9D23C93-8D07-4506-BB5D-B821843577D5}"/>
              </a:ext>
            </a:extLst>
          </p:cNvPr>
          <p:cNvSpPr>
            <a:spLocks noGrp="1"/>
          </p:cNvSpPr>
          <p:nvPr>
            <p:ph type="title"/>
          </p:nvPr>
        </p:nvSpPr>
        <p:spPr/>
        <p:txBody>
          <a:bodyPr/>
          <a:lstStyle/>
          <a:p>
            <a:r>
              <a:rPr lang="pl-PL" dirty="0" err="1"/>
              <a:t>Poland’s</a:t>
            </a:r>
            <a:r>
              <a:rPr lang="pl-PL" dirty="0"/>
              <a:t> </a:t>
            </a:r>
            <a:r>
              <a:rPr lang="pl-PL" dirty="0" err="1"/>
              <a:t>second</a:t>
            </a:r>
            <a:r>
              <a:rPr lang="pl-PL" dirty="0"/>
              <a:t> </a:t>
            </a:r>
            <a:r>
              <a:rPr lang="pl-PL" dirty="0" err="1"/>
              <a:t>Golden</a:t>
            </a:r>
            <a:r>
              <a:rPr lang="pl-PL"/>
              <a:t> </a:t>
            </a:r>
            <a:r>
              <a:rPr lang="pl-PL" dirty="0"/>
              <a:t>A</a:t>
            </a:r>
            <a:r>
              <a:rPr lang="pl-PL"/>
              <a:t>ge</a:t>
            </a:r>
            <a:endParaRPr lang="pl-PL" dirty="0"/>
          </a:p>
        </p:txBody>
      </p:sp>
      <p:graphicFrame>
        <p:nvGraphicFramePr>
          <p:cNvPr id="10" name="Wykres 9">
            <a:extLst>
              <a:ext uri="{FF2B5EF4-FFF2-40B4-BE49-F238E27FC236}">
                <a16:creationId xmlns:a16="http://schemas.microsoft.com/office/drawing/2014/main" id="{109FDF75-BB49-405C-A1B0-F8AA64DF0B99}"/>
              </a:ext>
            </a:extLst>
          </p:cNvPr>
          <p:cNvGraphicFramePr>
            <a:graphicFrameLocks/>
          </p:cNvGraphicFramePr>
          <p:nvPr>
            <p:extLst>
              <p:ext uri="{D42A27DB-BD31-4B8C-83A1-F6EECF244321}">
                <p14:modId xmlns:p14="http://schemas.microsoft.com/office/powerpoint/2010/main" val="411293407"/>
              </p:ext>
            </p:extLst>
          </p:nvPr>
        </p:nvGraphicFramePr>
        <p:xfrm>
          <a:off x="2142828" y="1458861"/>
          <a:ext cx="7901215" cy="4968422"/>
        </p:xfrm>
        <a:graphic>
          <a:graphicData uri="http://schemas.openxmlformats.org/drawingml/2006/chart">
            <c:chart xmlns:c="http://schemas.openxmlformats.org/drawingml/2006/chart" xmlns:r="http://schemas.openxmlformats.org/officeDocument/2006/relationships" r:id="rId8"/>
          </a:graphicData>
        </a:graphic>
      </p:graphicFrame>
      <p:sp>
        <p:nvSpPr>
          <p:cNvPr id="11" name="Title 1">
            <a:extLst>
              <a:ext uri="{FF2B5EF4-FFF2-40B4-BE49-F238E27FC236}">
                <a16:creationId xmlns:a16="http://schemas.microsoft.com/office/drawing/2014/main" id="{F68E39A0-4650-4EA0-9340-EF2B33DD0091}"/>
              </a:ext>
            </a:extLst>
          </p:cNvPr>
          <p:cNvSpPr txBox="1">
            <a:spLocks/>
          </p:cNvSpPr>
          <p:nvPr/>
        </p:nvSpPr>
        <p:spPr>
          <a:xfrm>
            <a:off x="853722" y="6557178"/>
            <a:ext cx="7658646" cy="206457"/>
          </a:xfrm>
          <a:prstGeom prst="rect">
            <a:avLst/>
          </a:prstGeom>
        </p:spPr>
        <p:txBody>
          <a:bodyPr vert="horz" lIns="0" tIns="0" rIns="0" bIns="0" rtlCol="0" anchor="t" anchorCtr="0">
            <a:noAutofit/>
          </a:bodyPr>
          <a:lstStyle>
            <a:defPPr>
              <a:defRPr lang="en-US"/>
            </a:defPPr>
            <a:lvl1pPr defTabSz="966281">
              <a:spcBef>
                <a:spcPct val="0"/>
              </a:spcBef>
              <a:buNone/>
              <a:tabLst>
                <a:tab pos="291254" algn="l"/>
              </a:tabLst>
              <a:defRPr sz="900" b="0">
                <a:latin typeface="Arial" panose="020B0604020202020204" pitchFamily="34" charset="0"/>
                <a:ea typeface="+mj-ea"/>
                <a:cs typeface="Arial" panose="020B0604020202020204" pitchFamily="34" charset="0"/>
              </a:defRPr>
            </a:lvl1pPr>
          </a:lstStyle>
          <a:p>
            <a:r>
              <a:rPr lang="pl-PL" dirty="0"/>
              <a:t>Source: </a:t>
            </a:r>
            <a:r>
              <a:rPr lang="pl-PL" dirty="0" err="1"/>
              <a:t>Maddison</a:t>
            </a:r>
            <a:endParaRPr lang="en-GB" dirty="0"/>
          </a:p>
        </p:txBody>
      </p:sp>
    </p:spTree>
    <p:extLst>
      <p:ext uri="{BB962C8B-B14F-4D97-AF65-F5344CB8AC3E}">
        <p14:creationId xmlns:p14="http://schemas.microsoft.com/office/powerpoint/2010/main" val="300575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i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51" name="Obraz 150"/>
          <p:cNvPicPr/>
          <p:nvPr/>
        </p:nvPicPr>
        <p:blipFill rotWithShape="1">
          <a:blip r:embed="rId7">
            <a:extLst>
              <a:ext uri="{28A0092B-C50C-407E-A947-70E740481C1C}">
                <a14:useLocalDpi xmlns:a14="http://schemas.microsoft.com/office/drawing/2010/main" val="0"/>
              </a:ext>
            </a:extLst>
          </a:blip>
          <a:srcRect l="62014" b="51403"/>
          <a:stretch/>
        </p:blipFill>
        <p:spPr bwMode="auto">
          <a:xfrm>
            <a:off x="11415505" y="56460"/>
            <a:ext cx="706057" cy="1157468"/>
          </a:xfrm>
          <a:prstGeom prst="rect">
            <a:avLst/>
          </a:prstGeom>
          <a:noFill/>
        </p:spPr>
      </p:pic>
      <p:cxnSp>
        <p:nvCxnSpPr>
          <p:cNvPr id="121" name="Łącznik prosty 120"/>
          <p:cNvCxnSpPr/>
          <p:nvPr/>
        </p:nvCxnSpPr>
        <p:spPr>
          <a:xfrm>
            <a:off x="-112115" y="1314532"/>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sp>
        <p:nvSpPr>
          <p:cNvPr id="3" name="Tytuł 2">
            <a:extLst>
              <a:ext uri="{FF2B5EF4-FFF2-40B4-BE49-F238E27FC236}">
                <a16:creationId xmlns:a16="http://schemas.microsoft.com/office/drawing/2014/main" id="{D9D23C93-8D07-4506-BB5D-B821843577D5}"/>
              </a:ext>
            </a:extLst>
          </p:cNvPr>
          <p:cNvSpPr>
            <a:spLocks noGrp="1"/>
          </p:cNvSpPr>
          <p:nvPr>
            <p:ph type="title"/>
          </p:nvPr>
        </p:nvSpPr>
        <p:spPr/>
        <p:txBody>
          <a:bodyPr/>
          <a:lstStyle/>
          <a:p>
            <a:r>
              <a:rPr lang="pl-PL" dirty="0"/>
              <a:t>The </a:t>
            </a:r>
            <a:r>
              <a:rPr lang="pl-PL" dirty="0" err="1"/>
              <a:t>last</a:t>
            </a:r>
            <a:r>
              <a:rPr lang="pl-PL" dirty="0"/>
              <a:t> 30 </a:t>
            </a:r>
            <a:r>
              <a:rPr lang="pl-PL" dirty="0" err="1"/>
              <a:t>years</a:t>
            </a:r>
            <a:r>
              <a:rPr lang="pl-PL" dirty="0"/>
              <a:t> – no </a:t>
            </a:r>
            <a:r>
              <a:rPr lang="pl-PL" dirty="0" err="1"/>
              <a:t>longer</a:t>
            </a:r>
            <a:r>
              <a:rPr lang="pl-PL" dirty="0"/>
              <a:t> </a:t>
            </a:r>
            <a:r>
              <a:rPr lang="pl-PL" dirty="0" err="1"/>
              <a:t>recession-free</a:t>
            </a:r>
            <a:endParaRPr lang="pl-PL" dirty="0"/>
          </a:p>
        </p:txBody>
      </p:sp>
      <p:graphicFrame>
        <p:nvGraphicFramePr>
          <p:cNvPr id="8" name="Wykres 7">
            <a:extLst>
              <a:ext uri="{FF2B5EF4-FFF2-40B4-BE49-F238E27FC236}">
                <a16:creationId xmlns:a16="http://schemas.microsoft.com/office/drawing/2014/main" id="{1966B8D8-6296-4312-97A5-1D96F8384DC0}"/>
              </a:ext>
            </a:extLst>
          </p:cNvPr>
          <p:cNvGraphicFramePr>
            <a:graphicFrameLocks/>
          </p:cNvGraphicFramePr>
          <p:nvPr>
            <p:extLst>
              <p:ext uri="{D42A27DB-BD31-4B8C-83A1-F6EECF244321}">
                <p14:modId xmlns:p14="http://schemas.microsoft.com/office/powerpoint/2010/main" val="2504516420"/>
              </p:ext>
            </p:extLst>
          </p:nvPr>
        </p:nvGraphicFramePr>
        <p:xfrm>
          <a:off x="359999" y="1495918"/>
          <a:ext cx="5196296" cy="493136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1" name="Wykres 10">
            <a:extLst>
              <a:ext uri="{FF2B5EF4-FFF2-40B4-BE49-F238E27FC236}">
                <a16:creationId xmlns:a16="http://schemas.microsoft.com/office/drawing/2014/main" id="{5EC16B03-7034-4BE6-920B-4B250624000B}"/>
              </a:ext>
            </a:extLst>
          </p:cNvPr>
          <p:cNvGraphicFramePr>
            <a:graphicFrameLocks/>
          </p:cNvGraphicFramePr>
          <p:nvPr>
            <p:extLst>
              <p:ext uri="{D42A27DB-BD31-4B8C-83A1-F6EECF244321}">
                <p14:modId xmlns:p14="http://schemas.microsoft.com/office/powerpoint/2010/main" val="1472213164"/>
              </p:ext>
            </p:extLst>
          </p:nvPr>
        </p:nvGraphicFramePr>
        <p:xfrm>
          <a:off x="6199433" y="1495918"/>
          <a:ext cx="5216072" cy="4931362"/>
        </p:xfrm>
        <a:graphic>
          <a:graphicData uri="http://schemas.openxmlformats.org/drawingml/2006/chart">
            <c:chart xmlns:c="http://schemas.openxmlformats.org/drawingml/2006/chart" xmlns:r="http://schemas.openxmlformats.org/officeDocument/2006/relationships" r:id="rId9"/>
          </a:graphicData>
        </a:graphic>
      </p:graphicFrame>
      <p:sp>
        <p:nvSpPr>
          <p:cNvPr id="12" name="Title 1">
            <a:extLst>
              <a:ext uri="{FF2B5EF4-FFF2-40B4-BE49-F238E27FC236}">
                <a16:creationId xmlns:a16="http://schemas.microsoft.com/office/drawing/2014/main" id="{CEB0A1AB-B718-4C66-8264-EA3061692B6A}"/>
              </a:ext>
            </a:extLst>
          </p:cNvPr>
          <p:cNvSpPr txBox="1">
            <a:spLocks/>
          </p:cNvSpPr>
          <p:nvPr/>
        </p:nvSpPr>
        <p:spPr>
          <a:xfrm>
            <a:off x="853722" y="6557178"/>
            <a:ext cx="7658646" cy="206457"/>
          </a:xfrm>
          <a:prstGeom prst="rect">
            <a:avLst/>
          </a:prstGeom>
        </p:spPr>
        <p:txBody>
          <a:bodyPr vert="horz" lIns="0" tIns="0" rIns="0" bIns="0" rtlCol="0" anchor="t" anchorCtr="0">
            <a:noAutofit/>
          </a:bodyPr>
          <a:lstStyle>
            <a:defPPr>
              <a:defRPr lang="en-US"/>
            </a:defPPr>
            <a:lvl1pPr defTabSz="966281">
              <a:spcBef>
                <a:spcPct val="0"/>
              </a:spcBef>
              <a:buNone/>
              <a:tabLst>
                <a:tab pos="291254" algn="l"/>
              </a:tabLst>
              <a:defRPr sz="900" b="0">
                <a:latin typeface="Arial" panose="020B0604020202020204" pitchFamily="34" charset="0"/>
                <a:ea typeface="+mj-ea"/>
                <a:cs typeface="Arial" panose="020B0604020202020204" pitchFamily="34" charset="0"/>
              </a:defRPr>
            </a:lvl1pPr>
          </a:lstStyle>
          <a:p>
            <a:r>
              <a:rPr lang="pl-PL" dirty="0"/>
              <a:t>Source: World Bank, Eurostat</a:t>
            </a:r>
            <a:endParaRPr lang="en-GB" dirty="0"/>
          </a:p>
        </p:txBody>
      </p:sp>
    </p:spTree>
    <p:extLst>
      <p:ext uri="{BB962C8B-B14F-4D97-AF65-F5344CB8AC3E}">
        <p14:creationId xmlns:p14="http://schemas.microsoft.com/office/powerpoint/2010/main" val="381989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i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51" name="Obraz 150"/>
          <p:cNvPicPr/>
          <p:nvPr/>
        </p:nvPicPr>
        <p:blipFill rotWithShape="1">
          <a:blip r:embed="rId7">
            <a:extLst>
              <a:ext uri="{28A0092B-C50C-407E-A947-70E740481C1C}">
                <a14:useLocalDpi xmlns:a14="http://schemas.microsoft.com/office/drawing/2010/main" val="0"/>
              </a:ext>
            </a:extLst>
          </a:blip>
          <a:srcRect l="62014" b="51403"/>
          <a:stretch/>
        </p:blipFill>
        <p:spPr bwMode="auto">
          <a:xfrm>
            <a:off x="11457563" y="702701"/>
            <a:ext cx="706057" cy="1157468"/>
          </a:xfrm>
          <a:prstGeom prst="rect">
            <a:avLst/>
          </a:prstGeom>
          <a:noFill/>
        </p:spPr>
      </p:pic>
      <p:sp>
        <p:nvSpPr>
          <p:cNvPr id="120" name="Tytuł 5">
            <a:extLst>
              <a:ext uri="{FF2B5EF4-FFF2-40B4-BE49-F238E27FC236}">
                <a16:creationId xmlns:a16="http://schemas.microsoft.com/office/drawing/2014/main" id="{7FBB928C-12E5-4639-BBE7-F4656A58C202}"/>
              </a:ext>
            </a:extLst>
          </p:cNvPr>
          <p:cNvSpPr>
            <a:spLocks noGrp="1"/>
          </p:cNvSpPr>
          <p:nvPr>
            <p:ph type="title"/>
          </p:nvPr>
        </p:nvSpPr>
        <p:spPr>
          <a:xfrm>
            <a:off x="490537" y="105267"/>
            <a:ext cx="11210925" cy="699495"/>
          </a:xfrm>
        </p:spPr>
        <p:txBody>
          <a:bodyPr vert="horz" wrap="square" lIns="0" tIns="0" rIns="0" bIns="0" rtlCol="0" anchor="t">
            <a:noAutofit/>
          </a:bodyPr>
          <a:lstStyle/>
          <a:p>
            <a:r>
              <a:rPr lang="en-US" sz="2000" kern="0" dirty="0"/>
              <a:t>Despite the pandemic turmoil, Polish exports remained in a strong upward trend, maintaining strong geographic and product diversification</a:t>
            </a:r>
            <a:br>
              <a:rPr lang="en-GB" sz="2000" kern="0" dirty="0"/>
            </a:br>
            <a:br>
              <a:rPr lang="en-GB" sz="2000" kern="0" dirty="0"/>
            </a:br>
            <a:endParaRPr lang="en-GB" sz="2000" kern="0" dirty="0"/>
          </a:p>
        </p:txBody>
      </p:sp>
      <p:cxnSp>
        <p:nvCxnSpPr>
          <p:cNvPr id="121" name="Łącznik prosty 120"/>
          <p:cNvCxnSpPr/>
          <p:nvPr/>
        </p:nvCxnSpPr>
        <p:spPr>
          <a:xfrm>
            <a:off x="0" y="711004"/>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27" name="Wykres 26">
            <a:extLst>
              <a:ext uri="{FF2B5EF4-FFF2-40B4-BE49-F238E27FC236}">
                <a16:creationId xmlns:a16="http://schemas.microsoft.com/office/drawing/2014/main" id="{5397F4D9-9AF1-4CF6-A3EE-13C3FC7C89BE}"/>
              </a:ext>
            </a:extLst>
          </p:cNvPr>
          <p:cNvGraphicFramePr/>
          <p:nvPr>
            <p:extLst>
              <p:ext uri="{D42A27DB-BD31-4B8C-83A1-F6EECF244321}">
                <p14:modId xmlns:p14="http://schemas.microsoft.com/office/powerpoint/2010/main" val="2095835719"/>
              </p:ext>
            </p:extLst>
          </p:nvPr>
        </p:nvGraphicFramePr>
        <p:xfrm>
          <a:off x="9198160" y="1993091"/>
          <a:ext cx="3052370" cy="2533778"/>
        </p:xfrm>
        <a:graphic>
          <a:graphicData uri="http://schemas.openxmlformats.org/drawingml/2006/chart">
            <c:chart xmlns:c="http://schemas.openxmlformats.org/drawingml/2006/chart" xmlns:r="http://schemas.openxmlformats.org/officeDocument/2006/relationships" r:id="rId8"/>
          </a:graphicData>
        </a:graphic>
      </p:graphicFrame>
      <p:sp>
        <p:nvSpPr>
          <p:cNvPr id="28" name="pole tekstowe 27">
            <a:extLst>
              <a:ext uri="{FF2B5EF4-FFF2-40B4-BE49-F238E27FC236}">
                <a16:creationId xmlns:a16="http://schemas.microsoft.com/office/drawing/2014/main" id="{2FEFACF6-0C75-40E8-A448-27C2A4FFDB8B}"/>
              </a:ext>
            </a:extLst>
          </p:cNvPr>
          <p:cNvSpPr txBox="1"/>
          <p:nvPr/>
        </p:nvSpPr>
        <p:spPr>
          <a:xfrm>
            <a:off x="864739" y="1108148"/>
            <a:ext cx="4898103" cy="334835"/>
          </a:xfrm>
          <a:prstGeom prst="rect">
            <a:avLst/>
          </a:prstGeom>
          <a:noFill/>
        </p:spPr>
        <p:txBody>
          <a:bodyPr wrap="square" lIns="91360" tIns="89920" rIns="91360" bIns="89920" rtlCol="0" anchor="t">
            <a:noAutofit/>
          </a:bodyPr>
          <a:lstStyle/>
          <a:p>
            <a:r>
              <a:rPr lang="en-GB" sz="1400" b="1" dirty="0">
                <a:cs typeface="Arial" panose="020B0604020202020204" pitchFamily="34" charset="0"/>
              </a:rPr>
              <a:t>Export of goods from Poland, bn euros</a:t>
            </a:r>
          </a:p>
        </p:txBody>
      </p:sp>
      <p:sp>
        <p:nvSpPr>
          <p:cNvPr id="29" name="pole tekstowe 28">
            <a:extLst>
              <a:ext uri="{FF2B5EF4-FFF2-40B4-BE49-F238E27FC236}">
                <a16:creationId xmlns:a16="http://schemas.microsoft.com/office/drawing/2014/main" id="{78C5A723-7C3F-4358-A693-A206F77A4AD0}"/>
              </a:ext>
            </a:extLst>
          </p:cNvPr>
          <p:cNvSpPr txBox="1"/>
          <p:nvPr/>
        </p:nvSpPr>
        <p:spPr>
          <a:xfrm>
            <a:off x="5307302" y="1108147"/>
            <a:ext cx="5599354" cy="334835"/>
          </a:xfrm>
          <a:prstGeom prst="rect">
            <a:avLst/>
          </a:prstGeom>
          <a:noFill/>
        </p:spPr>
        <p:txBody>
          <a:bodyPr wrap="square" lIns="91360" tIns="89920" rIns="91360" bIns="89920" rtlCol="0" anchor="t">
            <a:noAutofit/>
          </a:bodyPr>
          <a:lstStyle/>
          <a:p>
            <a:r>
              <a:rPr lang="en-GB" sz="1400" b="1" dirty="0">
                <a:cs typeface="Arial" panose="020B0604020202020204" pitchFamily="34" charset="0"/>
              </a:rPr>
              <a:t>Geographical and product structure of Polish exports</a:t>
            </a:r>
          </a:p>
        </p:txBody>
      </p:sp>
      <p:graphicFrame>
        <p:nvGraphicFramePr>
          <p:cNvPr id="31" name="Wykres 30">
            <a:extLst>
              <a:ext uri="{FF2B5EF4-FFF2-40B4-BE49-F238E27FC236}">
                <a16:creationId xmlns:a16="http://schemas.microsoft.com/office/drawing/2014/main" id="{F5508664-B241-445F-891C-ECA44FC9C95F}"/>
              </a:ext>
            </a:extLst>
          </p:cNvPr>
          <p:cNvGraphicFramePr/>
          <p:nvPr>
            <p:extLst>
              <p:ext uri="{D42A27DB-BD31-4B8C-83A1-F6EECF244321}">
                <p14:modId xmlns:p14="http://schemas.microsoft.com/office/powerpoint/2010/main" val="2093824314"/>
              </p:ext>
            </p:extLst>
          </p:nvPr>
        </p:nvGraphicFramePr>
        <p:xfrm>
          <a:off x="855502" y="1644551"/>
          <a:ext cx="3180579" cy="2546868"/>
        </p:xfrm>
        <a:graphic>
          <a:graphicData uri="http://schemas.openxmlformats.org/drawingml/2006/chart">
            <c:chart xmlns:c="http://schemas.openxmlformats.org/drawingml/2006/chart" xmlns:r="http://schemas.openxmlformats.org/officeDocument/2006/relationships" r:id="rId9"/>
          </a:graphicData>
        </a:graphic>
      </p:graphicFrame>
      <p:sp>
        <p:nvSpPr>
          <p:cNvPr id="32" name="pole tekstowe 31">
            <a:extLst>
              <a:ext uri="{FF2B5EF4-FFF2-40B4-BE49-F238E27FC236}">
                <a16:creationId xmlns:a16="http://schemas.microsoft.com/office/drawing/2014/main" id="{9F7C56C3-AC39-430C-9F01-407334269889}"/>
              </a:ext>
            </a:extLst>
          </p:cNvPr>
          <p:cNvSpPr txBox="1"/>
          <p:nvPr/>
        </p:nvSpPr>
        <p:spPr>
          <a:xfrm>
            <a:off x="294338" y="3919617"/>
            <a:ext cx="972150" cy="276999"/>
          </a:xfrm>
          <a:prstGeom prst="rect">
            <a:avLst/>
          </a:prstGeom>
          <a:noFill/>
        </p:spPr>
        <p:txBody>
          <a:bodyPr wrap="square" rtlCol="0">
            <a:spAutoFit/>
          </a:bodyPr>
          <a:lstStyle/>
          <a:p>
            <a:pPr algn="r"/>
            <a:r>
              <a:rPr lang="en-GB" sz="1200" i="1" dirty="0">
                <a:latin typeface="Arial" panose="020B0604020202020204" pitchFamily="34" charset="0"/>
                <a:cs typeface="Arial" panose="020B0604020202020204" pitchFamily="34" charset="0"/>
              </a:rPr>
              <a:t>% GDP</a:t>
            </a:r>
          </a:p>
        </p:txBody>
      </p:sp>
      <p:sp>
        <p:nvSpPr>
          <p:cNvPr id="33" name="pole tekstowe 32">
            <a:extLst>
              <a:ext uri="{FF2B5EF4-FFF2-40B4-BE49-F238E27FC236}">
                <a16:creationId xmlns:a16="http://schemas.microsoft.com/office/drawing/2014/main" id="{4F6E52D9-198D-4B14-B56E-15D11D3B68F7}"/>
              </a:ext>
            </a:extLst>
          </p:cNvPr>
          <p:cNvSpPr txBox="1"/>
          <p:nvPr/>
        </p:nvSpPr>
        <p:spPr>
          <a:xfrm>
            <a:off x="4075337" y="1644550"/>
            <a:ext cx="972150" cy="276999"/>
          </a:xfrm>
          <a:prstGeom prst="rect">
            <a:avLst/>
          </a:prstGeom>
          <a:noFill/>
        </p:spPr>
        <p:txBody>
          <a:bodyPr wrap="square" rtlCol="0">
            <a:spAutoFit/>
          </a:bodyPr>
          <a:lstStyle/>
          <a:p>
            <a:pPr algn="ctr"/>
            <a:r>
              <a:rPr lang="en-GB" sz="1200" i="1" dirty="0">
                <a:cs typeface="Arial" panose="020B0604020202020204" pitchFamily="34" charset="0"/>
              </a:rPr>
              <a:t>CAGR</a:t>
            </a:r>
          </a:p>
        </p:txBody>
      </p:sp>
      <p:sp>
        <p:nvSpPr>
          <p:cNvPr id="34" name="pole tekstowe 33">
            <a:extLst>
              <a:ext uri="{FF2B5EF4-FFF2-40B4-BE49-F238E27FC236}">
                <a16:creationId xmlns:a16="http://schemas.microsoft.com/office/drawing/2014/main" id="{D4D60DE6-B252-4C73-8155-5A856B72FDBD}"/>
              </a:ext>
            </a:extLst>
          </p:cNvPr>
          <p:cNvSpPr txBox="1"/>
          <p:nvPr/>
        </p:nvSpPr>
        <p:spPr>
          <a:xfrm>
            <a:off x="3866205" y="1921549"/>
            <a:ext cx="753710" cy="276999"/>
          </a:xfrm>
          <a:prstGeom prst="rect">
            <a:avLst/>
          </a:prstGeom>
          <a:noFill/>
        </p:spPr>
        <p:txBody>
          <a:bodyPr wrap="square" rtlCol="0">
            <a:spAutoFit/>
          </a:bodyPr>
          <a:lstStyle/>
          <a:p>
            <a:pPr algn="ctr"/>
            <a:r>
              <a:rPr lang="en-GB" sz="1200" i="1" dirty="0">
                <a:cs typeface="Arial" panose="020B0604020202020204" pitchFamily="34" charset="0"/>
              </a:rPr>
              <a:t>2004-19</a:t>
            </a:r>
          </a:p>
        </p:txBody>
      </p:sp>
      <p:sp>
        <p:nvSpPr>
          <p:cNvPr id="37" name="pole tekstowe 36">
            <a:extLst>
              <a:ext uri="{FF2B5EF4-FFF2-40B4-BE49-F238E27FC236}">
                <a16:creationId xmlns:a16="http://schemas.microsoft.com/office/drawing/2014/main" id="{60D94944-C125-4B98-B8F0-DEC618761DA3}"/>
              </a:ext>
            </a:extLst>
          </p:cNvPr>
          <p:cNvSpPr txBox="1"/>
          <p:nvPr/>
        </p:nvSpPr>
        <p:spPr>
          <a:xfrm>
            <a:off x="4502910" y="1921549"/>
            <a:ext cx="753710" cy="276999"/>
          </a:xfrm>
          <a:prstGeom prst="rect">
            <a:avLst/>
          </a:prstGeom>
          <a:noFill/>
        </p:spPr>
        <p:txBody>
          <a:bodyPr wrap="square" rtlCol="0">
            <a:spAutoFit/>
          </a:bodyPr>
          <a:lstStyle/>
          <a:p>
            <a:pPr algn="ctr"/>
            <a:r>
              <a:rPr lang="en-GB" sz="1200" i="1" dirty="0">
                <a:cs typeface="Arial" panose="020B0604020202020204" pitchFamily="34" charset="0"/>
              </a:rPr>
              <a:t>2019-22</a:t>
            </a:r>
          </a:p>
        </p:txBody>
      </p:sp>
      <p:sp>
        <p:nvSpPr>
          <p:cNvPr id="38" name="pole tekstowe 37">
            <a:extLst>
              <a:ext uri="{FF2B5EF4-FFF2-40B4-BE49-F238E27FC236}">
                <a16:creationId xmlns:a16="http://schemas.microsoft.com/office/drawing/2014/main" id="{8D643FA7-65D2-4564-BC55-25A3356F8882}"/>
              </a:ext>
            </a:extLst>
          </p:cNvPr>
          <p:cNvSpPr txBox="1"/>
          <p:nvPr/>
        </p:nvSpPr>
        <p:spPr>
          <a:xfrm>
            <a:off x="3904394" y="2270073"/>
            <a:ext cx="677333" cy="276999"/>
          </a:xfrm>
          <a:prstGeom prst="rect">
            <a:avLst/>
          </a:prstGeom>
          <a:noFill/>
        </p:spPr>
        <p:txBody>
          <a:bodyPr wrap="square" rtlCol="0">
            <a:spAutoFit/>
          </a:bodyPr>
          <a:lstStyle/>
          <a:p>
            <a:pPr algn="ctr"/>
            <a:r>
              <a:rPr lang="en-GB" sz="1200" b="1" dirty="0">
                <a:solidFill>
                  <a:srgbClr val="548235"/>
                </a:solidFill>
                <a:latin typeface="Arial" panose="020B0604020202020204" pitchFamily="34" charset="0"/>
                <a:cs typeface="Arial" panose="020B0604020202020204" pitchFamily="34" charset="0"/>
              </a:rPr>
              <a:t>+10%</a:t>
            </a:r>
          </a:p>
        </p:txBody>
      </p:sp>
      <p:sp>
        <p:nvSpPr>
          <p:cNvPr id="39" name="pole tekstowe 38">
            <a:extLst>
              <a:ext uri="{FF2B5EF4-FFF2-40B4-BE49-F238E27FC236}">
                <a16:creationId xmlns:a16="http://schemas.microsoft.com/office/drawing/2014/main" id="{33F39600-80E6-477F-89C9-6CA89A1DA2E8}"/>
              </a:ext>
            </a:extLst>
          </p:cNvPr>
          <p:cNvSpPr txBox="1"/>
          <p:nvPr/>
        </p:nvSpPr>
        <p:spPr>
          <a:xfrm>
            <a:off x="3904394" y="2947966"/>
            <a:ext cx="677333" cy="276999"/>
          </a:xfrm>
          <a:prstGeom prst="rect">
            <a:avLst/>
          </a:prstGeom>
          <a:noFill/>
        </p:spPr>
        <p:txBody>
          <a:bodyPr wrap="square" rtlCol="0">
            <a:spAutoFit/>
          </a:bodyPr>
          <a:lstStyle/>
          <a:p>
            <a:pPr algn="ctr"/>
            <a:r>
              <a:rPr lang="en-GB" sz="1200" b="1" dirty="0">
                <a:solidFill>
                  <a:srgbClr val="548235"/>
                </a:solidFill>
                <a:latin typeface="Arial" panose="020B0604020202020204" pitchFamily="34" charset="0"/>
                <a:cs typeface="Arial" panose="020B0604020202020204" pitchFamily="34" charset="0"/>
              </a:rPr>
              <a:t>+10%</a:t>
            </a:r>
          </a:p>
        </p:txBody>
      </p:sp>
      <p:sp>
        <p:nvSpPr>
          <p:cNvPr id="40" name="pole tekstowe 39">
            <a:extLst>
              <a:ext uri="{FF2B5EF4-FFF2-40B4-BE49-F238E27FC236}">
                <a16:creationId xmlns:a16="http://schemas.microsoft.com/office/drawing/2014/main" id="{E575FD2D-A13F-4698-8748-906EF5FC6800}"/>
              </a:ext>
            </a:extLst>
          </p:cNvPr>
          <p:cNvSpPr txBox="1"/>
          <p:nvPr/>
        </p:nvSpPr>
        <p:spPr>
          <a:xfrm>
            <a:off x="4541099" y="2270073"/>
            <a:ext cx="677333" cy="276999"/>
          </a:xfrm>
          <a:prstGeom prst="rect">
            <a:avLst/>
          </a:prstGeom>
          <a:noFill/>
        </p:spPr>
        <p:txBody>
          <a:bodyPr wrap="square" rtlCol="0">
            <a:spAutoFit/>
          </a:bodyPr>
          <a:lstStyle/>
          <a:p>
            <a:pPr algn="ctr"/>
            <a:r>
              <a:rPr lang="en-GB" sz="1200" b="1" dirty="0">
                <a:solidFill>
                  <a:srgbClr val="548235"/>
                </a:solidFill>
                <a:latin typeface="Arial" panose="020B0604020202020204" pitchFamily="34" charset="0"/>
                <a:cs typeface="Arial" panose="020B0604020202020204" pitchFamily="34" charset="0"/>
              </a:rPr>
              <a:t>+13%</a:t>
            </a:r>
          </a:p>
        </p:txBody>
      </p:sp>
      <p:sp>
        <p:nvSpPr>
          <p:cNvPr id="41" name="pole tekstowe 40">
            <a:extLst>
              <a:ext uri="{FF2B5EF4-FFF2-40B4-BE49-F238E27FC236}">
                <a16:creationId xmlns:a16="http://schemas.microsoft.com/office/drawing/2014/main" id="{9AE0E2BF-F90F-4C2F-BA06-301FD1C157CE}"/>
              </a:ext>
            </a:extLst>
          </p:cNvPr>
          <p:cNvSpPr txBox="1"/>
          <p:nvPr/>
        </p:nvSpPr>
        <p:spPr>
          <a:xfrm>
            <a:off x="4541099" y="2947966"/>
            <a:ext cx="677333" cy="276999"/>
          </a:xfrm>
          <a:prstGeom prst="rect">
            <a:avLst/>
          </a:prstGeom>
          <a:noFill/>
        </p:spPr>
        <p:txBody>
          <a:bodyPr wrap="square" rtlCol="0">
            <a:spAutoFit/>
          </a:bodyPr>
          <a:lstStyle/>
          <a:p>
            <a:pPr algn="ctr"/>
            <a:r>
              <a:rPr lang="en-GB" sz="1200" b="1" dirty="0">
                <a:solidFill>
                  <a:srgbClr val="548235"/>
                </a:solidFill>
                <a:latin typeface="Arial" panose="020B0604020202020204" pitchFamily="34" charset="0"/>
                <a:cs typeface="Arial" panose="020B0604020202020204" pitchFamily="34" charset="0"/>
              </a:rPr>
              <a:t>+12%</a:t>
            </a:r>
          </a:p>
        </p:txBody>
      </p:sp>
      <p:sp>
        <p:nvSpPr>
          <p:cNvPr id="42" name="Owal 41">
            <a:extLst>
              <a:ext uri="{FF2B5EF4-FFF2-40B4-BE49-F238E27FC236}">
                <a16:creationId xmlns:a16="http://schemas.microsoft.com/office/drawing/2014/main" id="{F7773BB7-7B85-45EA-B12D-01D205143FC5}"/>
              </a:ext>
            </a:extLst>
          </p:cNvPr>
          <p:cNvSpPr/>
          <p:nvPr/>
        </p:nvSpPr>
        <p:spPr>
          <a:xfrm>
            <a:off x="1397580" y="3896116"/>
            <a:ext cx="324000" cy="32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GB" sz="1200" dirty="0">
                <a:solidFill>
                  <a:schemeClr val="bg1"/>
                </a:solidFill>
                <a:cs typeface="Arial" panose="020B0604020202020204" pitchFamily="34" charset="0"/>
              </a:rPr>
              <a:t>29</a:t>
            </a:r>
          </a:p>
        </p:txBody>
      </p:sp>
      <p:sp>
        <p:nvSpPr>
          <p:cNvPr id="43" name="Owal 42">
            <a:extLst>
              <a:ext uri="{FF2B5EF4-FFF2-40B4-BE49-F238E27FC236}">
                <a16:creationId xmlns:a16="http://schemas.microsoft.com/office/drawing/2014/main" id="{2F56D6F7-32E9-4020-822B-28928B5551CA}"/>
              </a:ext>
            </a:extLst>
          </p:cNvPr>
          <p:cNvSpPr/>
          <p:nvPr/>
        </p:nvSpPr>
        <p:spPr>
          <a:xfrm>
            <a:off x="1777437" y="3896116"/>
            <a:ext cx="324000" cy="32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GB" sz="1200" dirty="0">
                <a:solidFill>
                  <a:schemeClr val="bg1"/>
                </a:solidFill>
                <a:cs typeface="Arial" panose="020B0604020202020204" pitchFamily="34" charset="0"/>
              </a:rPr>
              <a:t>32</a:t>
            </a:r>
          </a:p>
        </p:txBody>
      </p:sp>
      <p:sp>
        <p:nvSpPr>
          <p:cNvPr id="44" name="Owal 43">
            <a:extLst>
              <a:ext uri="{FF2B5EF4-FFF2-40B4-BE49-F238E27FC236}">
                <a16:creationId xmlns:a16="http://schemas.microsoft.com/office/drawing/2014/main" id="{188AA485-DAEE-4B78-9937-55BDFC4D82ED}"/>
              </a:ext>
            </a:extLst>
          </p:cNvPr>
          <p:cNvSpPr/>
          <p:nvPr/>
        </p:nvSpPr>
        <p:spPr>
          <a:xfrm>
            <a:off x="2157294" y="3896116"/>
            <a:ext cx="324000" cy="32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GB" sz="1200" dirty="0">
                <a:solidFill>
                  <a:schemeClr val="bg1"/>
                </a:solidFill>
                <a:cs typeface="Arial" panose="020B0604020202020204" pitchFamily="34" charset="0"/>
              </a:rPr>
              <a:t>33</a:t>
            </a:r>
          </a:p>
        </p:txBody>
      </p:sp>
      <p:sp>
        <p:nvSpPr>
          <p:cNvPr id="45" name="Owal 44">
            <a:extLst>
              <a:ext uri="{FF2B5EF4-FFF2-40B4-BE49-F238E27FC236}">
                <a16:creationId xmlns:a16="http://schemas.microsoft.com/office/drawing/2014/main" id="{3674EEC7-134A-4CC6-9B51-A370445DE95D}"/>
              </a:ext>
            </a:extLst>
          </p:cNvPr>
          <p:cNvSpPr/>
          <p:nvPr/>
        </p:nvSpPr>
        <p:spPr>
          <a:xfrm>
            <a:off x="2537151" y="3896116"/>
            <a:ext cx="324000" cy="32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GB" sz="1200" dirty="0">
                <a:solidFill>
                  <a:schemeClr val="bg1"/>
                </a:solidFill>
                <a:cs typeface="Arial" panose="020B0604020202020204" pitchFamily="34" charset="0"/>
              </a:rPr>
              <a:t>40</a:t>
            </a:r>
          </a:p>
        </p:txBody>
      </p:sp>
      <p:sp>
        <p:nvSpPr>
          <p:cNvPr id="46" name="Owal 45">
            <a:extLst>
              <a:ext uri="{FF2B5EF4-FFF2-40B4-BE49-F238E27FC236}">
                <a16:creationId xmlns:a16="http://schemas.microsoft.com/office/drawing/2014/main" id="{2E7527C1-120C-4480-9ACF-99EE7A5468D4}"/>
              </a:ext>
            </a:extLst>
          </p:cNvPr>
          <p:cNvSpPr/>
          <p:nvPr/>
        </p:nvSpPr>
        <p:spPr>
          <a:xfrm>
            <a:off x="2917008" y="3896116"/>
            <a:ext cx="324000" cy="32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GB" sz="1200" dirty="0">
                <a:solidFill>
                  <a:schemeClr val="bg1"/>
                </a:solidFill>
                <a:cs typeface="Arial" panose="020B0604020202020204" pitchFamily="34" charset="0"/>
              </a:rPr>
              <a:t>43</a:t>
            </a:r>
          </a:p>
        </p:txBody>
      </p:sp>
      <p:sp>
        <p:nvSpPr>
          <p:cNvPr id="47" name="Owal 46">
            <a:extLst>
              <a:ext uri="{FF2B5EF4-FFF2-40B4-BE49-F238E27FC236}">
                <a16:creationId xmlns:a16="http://schemas.microsoft.com/office/drawing/2014/main" id="{BE37FD3F-04D9-4570-AD48-CCE85B2C3F04}"/>
              </a:ext>
            </a:extLst>
          </p:cNvPr>
          <p:cNvSpPr/>
          <p:nvPr/>
        </p:nvSpPr>
        <p:spPr>
          <a:xfrm>
            <a:off x="3296865" y="3896116"/>
            <a:ext cx="324000" cy="32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GB" sz="1200" dirty="0">
                <a:solidFill>
                  <a:schemeClr val="bg1"/>
                </a:solidFill>
                <a:cs typeface="Arial" panose="020B0604020202020204" pitchFamily="34" charset="0"/>
              </a:rPr>
              <a:t>45</a:t>
            </a:r>
          </a:p>
        </p:txBody>
      </p:sp>
      <p:sp>
        <p:nvSpPr>
          <p:cNvPr id="48" name="Owal 47">
            <a:extLst>
              <a:ext uri="{FF2B5EF4-FFF2-40B4-BE49-F238E27FC236}">
                <a16:creationId xmlns:a16="http://schemas.microsoft.com/office/drawing/2014/main" id="{0993F45A-5621-4A86-B7C1-DD578C420B21}"/>
              </a:ext>
            </a:extLst>
          </p:cNvPr>
          <p:cNvSpPr/>
          <p:nvPr/>
        </p:nvSpPr>
        <p:spPr>
          <a:xfrm>
            <a:off x="3676721" y="3896116"/>
            <a:ext cx="324000" cy="32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GB" sz="1200" dirty="0">
                <a:solidFill>
                  <a:schemeClr val="bg1"/>
                </a:solidFill>
                <a:cs typeface="Arial" panose="020B0604020202020204" pitchFamily="34" charset="0"/>
              </a:rPr>
              <a:t>53</a:t>
            </a:r>
          </a:p>
        </p:txBody>
      </p:sp>
      <p:graphicFrame>
        <p:nvGraphicFramePr>
          <p:cNvPr id="49" name="Wykres 48">
            <a:extLst>
              <a:ext uri="{FF2B5EF4-FFF2-40B4-BE49-F238E27FC236}">
                <a16:creationId xmlns:a16="http://schemas.microsoft.com/office/drawing/2014/main" id="{89B04215-F69E-4768-87D2-656078CD5E5A}"/>
              </a:ext>
            </a:extLst>
          </p:cNvPr>
          <p:cNvGraphicFramePr/>
          <p:nvPr>
            <p:extLst>
              <p:ext uri="{D42A27DB-BD31-4B8C-83A1-F6EECF244321}">
                <p14:modId xmlns:p14="http://schemas.microsoft.com/office/powerpoint/2010/main" val="590266365"/>
              </p:ext>
            </p:extLst>
          </p:nvPr>
        </p:nvGraphicFramePr>
        <p:xfrm>
          <a:off x="5362629" y="1993091"/>
          <a:ext cx="3052370" cy="2533778"/>
        </p:xfrm>
        <a:graphic>
          <a:graphicData uri="http://schemas.openxmlformats.org/drawingml/2006/chart">
            <c:chart xmlns:c="http://schemas.openxmlformats.org/drawingml/2006/chart" xmlns:r="http://schemas.openxmlformats.org/officeDocument/2006/relationships" r:id="rId10"/>
          </a:graphicData>
        </a:graphic>
      </p:graphicFrame>
      <p:sp>
        <p:nvSpPr>
          <p:cNvPr id="50" name="pole tekstowe 49">
            <a:extLst>
              <a:ext uri="{FF2B5EF4-FFF2-40B4-BE49-F238E27FC236}">
                <a16:creationId xmlns:a16="http://schemas.microsoft.com/office/drawing/2014/main" id="{F538B547-2B9F-4211-B0F6-22637889E417}"/>
              </a:ext>
            </a:extLst>
          </p:cNvPr>
          <p:cNvSpPr txBox="1"/>
          <p:nvPr/>
        </p:nvSpPr>
        <p:spPr>
          <a:xfrm>
            <a:off x="5339625" y="1662853"/>
            <a:ext cx="2108298" cy="461665"/>
          </a:xfrm>
          <a:prstGeom prst="rect">
            <a:avLst/>
          </a:prstGeom>
          <a:noFill/>
        </p:spPr>
        <p:txBody>
          <a:bodyPr wrap="square" rtlCol="0">
            <a:spAutoFit/>
          </a:bodyPr>
          <a:lstStyle/>
          <a:p>
            <a:r>
              <a:rPr lang="en-GB" sz="1200" i="1" dirty="0">
                <a:cs typeface="Arial" panose="020B0604020202020204" pitchFamily="34" charset="0"/>
              </a:rPr>
              <a:t>Top 10 partners,</a:t>
            </a:r>
            <a:br>
              <a:rPr lang="en-GB" sz="1200" i="1" dirty="0">
                <a:cs typeface="Arial" panose="020B0604020202020204" pitchFamily="34" charset="0"/>
              </a:rPr>
            </a:br>
            <a:r>
              <a:rPr lang="en-GB" sz="1200" i="1" dirty="0">
                <a:cs typeface="Arial" panose="020B0604020202020204" pitchFamily="34" charset="0"/>
              </a:rPr>
              <a:t>2022</a:t>
            </a:r>
          </a:p>
        </p:txBody>
      </p:sp>
      <p:sp>
        <p:nvSpPr>
          <p:cNvPr id="51" name="pole tekstowe 50">
            <a:extLst>
              <a:ext uri="{FF2B5EF4-FFF2-40B4-BE49-F238E27FC236}">
                <a16:creationId xmlns:a16="http://schemas.microsoft.com/office/drawing/2014/main" id="{BD53B68E-78A5-4184-9ADE-960DAF5A7C15}"/>
              </a:ext>
            </a:extLst>
          </p:cNvPr>
          <p:cNvSpPr txBox="1"/>
          <p:nvPr/>
        </p:nvSpPr>
        <p:spPr>
          <a:xfrm>
            <a:off x="8137955" y="1662853"/>
            <a:ext cx="2832025" cy="461665"/>
          </a:xfrm>
          <a:prstGeom prst="rect">
            <a:avLst/>
          </a:prstGeom>
          <a:noFill/>
        </p:spPr>
        <p:txBody>
          <a:bodyPr wrap="square" rtlCol="0">
            <a:spAutoFit/>
          </a:bodyPr>
          <a:lstStyle/>
          <a:p>
            <a:r>
              <a:rPr lang="en-GB" sz="1200" i="1" dirty="0">
                <a:cs typeface="Arial" panose="020B0604020202020204" pitchFamily="34" charset="0"/>
              </a:rPr>
              <a:t>Main product categories, </a:t>
            </a:r>
            <a:br>
              <a:rPr lang="en-GB" sz="1200" i="1" dirty="0">
                <a:cs typeface="Arial" panose="020B0604020202020204" pitchFamily="34" charset="0"/>
              </a:rPr>
            </a:br>
            <a:r>
              <a:rPr lang="en-GB" sz="1200" i="1" dirty="0">
                <a:cs typeface="Arial" panose="020B0604020202020204" pitchFamily="34" charset="0"/>
              </a:rPr>
              <a:t>2022</a:t>
            </a:r>
          </a:p>
        </p:txBody>
      </p:sp>
      <p:sp>
        <p:nvSpPr>
          <p:cNvPr id="52" name="pole tekstowe 51">
            <a:extLst>
              <a:ext uri="{FF2B5EF4-FFF2-40B4-BE49-F238E27FC236}">
                <a16:creationId xmlns:a16="http://schemas.microsoft.com/office/drawing/2014/main" id="{B9127A41-3CDB-4908-92A8-19F6770C6E9D}"/>
              </a:ext>
            </a:extLst>
          </p:cNvPr>
          <p:cNvSpPr txBox="1"/>
          <p:nvPr/>
        </p:nvSpPr>
        <p:spPr>
          <a:xfrm>
            <a:off x="6804402" y="1753599"/>
            <a:ext cx="972150" cy="276999"/>
          </a:xfrm>
          <a:prstGeom prst="rect">
            <a:avLst/>
          </a:prstGeom>
          <a:noFill/>
        </p:spPr>
        <p:txBody>
          <a:bodyPr wrap="square" rtlCol="0">
            <a:spAutoFit/>
          </a:bodyPr>
          <a:lstStyle/>
          <a:p>
            <a:pPr algn="ctr"/>
            <a:r>
              <a:rPr lang="en-GB" sz="1200" i="1" dirty="0">
                <a:cs typeface="Arial" panose="020B0604020202020204" pitchFamily="34" charset="0"/>
              </a:rPr>
              <a:t>CAGR</a:t>
            </a:r>
          </a:p>
        </p:txBody>
      </p:sp>
      <p:sp>
        <p:nvSpPr>
          <p:cNvPr id="53" name="pole tekstowe 52">
            <a:extLst>
              <a:ext uri="{FF2B5EF4-FFF2-40B4-BE49-F238E27FC236}">
                <a16:creationId xmlns:a16="http://schemas.microsoft.com/office/drawing/2014/main" id="{73C8EE3F-261D-46A7-B409-19E36DDB2CA2}"/>
              </a:ext>
            </a:extLst>
          </p:cNvPr>
          <p:cNvSpPr txBox="1"/>
          <p:nvPr/>
        </p:nvSpPr>
        <p:spPr>
          <a:xfrm>
            <a:off x="6613332" y="1992098"/>
            <a:ext cx="753710" cy="276999"/>
          </a:xfrm>
          <a:prstGeom prst="rect">
            <a:avLst/>
          </a:prstGeom>
          <a:noFill/>
        </p:spPr>
        <p:txBody>
          <a:bodyPr wrap="square" rtlCol="0">
            <a:spAutoFit/>
          </a:bodyPr>
          <a:lstStyle/>
          <a:p>
            <a:pPr algn="ctr"/>
            <a:r>
              <a:rPr lang="en-GB" sz="1200" i="1" dirty="0">
                <a:cs typeface="Arial" panose="020B0604020202020204" pitchFamily="34" charset="0"/>
              </a:rPr>
              <a:t>’10-’19</a:t>
            </a:r>
          </a:p>
        </p:txBody>
      </p:sp>
      <p:sp>
        <p:nvSpPr>
          <p:cNvPr id="54" name="pole tekstowe 53">
            <a:extLst>
              <a:ext uri="{FF2B5EF4-FFF2-40B4-BE49-F238E27FC236}">
                <a16:creationId xmlns:a16="http://schemas.microsoft.com/office/drawing/2014/main" id="{CED83E27-F13F-4D3F-9CC6-0D2851C9560A}"/>
              </a:ext>
            </a:extLst>
          </p:cNvPr>
          <p:cNvSpPr txBox="1"/>
          <p:nvPr/>
        </p:nvSpPr>
        <p:spPr>
          <a:xfrm>
            <a:off x="7213912" y="1992098"/>
            <a:ext cx="753710" cy="276999"/>
          </a:xfrm>
          <a:prstGeom prst="rect">
            <a:avLst/>
          </a:prstGeom>
          <a:noFill/>
        </p:spPr>
        <p:txBody>
          <a:bodyPr wrap="square" rtlCol="0">
            <a:spAutoFit/>
          </a:bodyPr>
          <a:lstStyle/>
          <a:p>
            <a:pPr algn="ctr"/>
            <a:r>
              <a:rPr lang="en-GB" sz="1200" i="1" dirty="0">
                <a:cs typeface="Arial" panose="020B0604020202020204" pitchFamily="34" charset="0"/>
              </a:rPr>
              <a:t>’19-’22</a:t>
            </a:r>
          </a:p>
        </p:txBody>
      </p:sp>
      <p:sp>
        <p:nvSpPr>
          <p:cNvPr id="55" name="pole tekstowe 54">
            <a:extLst>
              <a:ext uri="{FF2B5EF4-FFF2-40B4-BE49-F238E27FC236}">
                <a16:creationId xmlns:a16="http://schemas.microsoft.com/office/drawing/2014/main" id="{B2E0068B-AB23-482F-AA05-2BC2563B55DB}"/>
              </a:ext>
            </a:extLst>
          </p:cNvPr>
          <p:cNvSpPr txBox="1"/>
          <p:nvPr/>
        </p:nvSpPr>
        <p:spPr>
          <a:xfrm>
            <a:off x="5339625" y="1421674"/>
            <a:ext cx="972150" cy="276999"/>
          </a:xfrm>
          <a:prstGeom prst="rect">
            <a:avLst/>
          </a:prstGeom>
          <a:noFill/>
        </p:spPr>
        <p:txBody>
          <a:bodyPr wrap="square" rtlCol="0">
            <a:spAutoFit/>
          </a:bodyPr>
          <a:lstStyle/>
          <a:p>
            <a:r>
              <a:rPr lang="en-GB" sz="1200" i="1" dirty="0">
                <a:cs typeface="Arial" panose="020B0604020202020204" pitchFamily="34" charset="0"/>
              </a:rPr>
              <a:t>bn euros</a:t>
            </a:r>
          </a:p>
        </p:txBody>
      </p:sp>
      <p:sp>
        <p:nvSpPr>
          <p:cNvPr id="56" name="pole tekstowe 55">
            <a:extLst>
              <a:ext uri="{FF2B5EF4-FFF2-40B4-BE49-F238E27FC236}">
                <a16:creationId xmlns:a16="http://schemas.microsoft.com/office/drawing/2014/main" id="{E02CDA28-EF09-4C62-BAFF-B36F43C174E4}"/>
              </a:ext>
            </a:extLst>
          </p:cNvPr>
          <p:cNvSpPr txBox="1"/>
          <p:nvPr/>
        </p:nvSpPr>
        <p:spPr>
          <a:xfrm>
            <a:off x="6651521" y="2259807"/>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9%</a:t>
            </a:r>
          </a:p>
        </p:txBody>
      </p:sp>
      <p:sp>
        <p:nvSpPr>
          <p:cNvPr id="57" name="pole tekstowe 56">
            <a:extLst>
              <a:ext uri="{FF2B5EF4-FFF2-40B4-BE49-F238E27FC236}">
                <a16:creationId xmlns:a16="http://schemas.microsoft.com/office/drawing/2014/main" id="{DDB72436-2F19-46BC-863D-30AC36FA6718}"/>
              </a:ext>
            </a:extLst>
          </p:cNvPr>
          <p:cNvSpPr txBox="1"/>
          <p:nvPr/>
        </p:nvSpPr>
        <p:spPr>
          <a:xfrm>
            <a:off x="7252101" y="2259807"/>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3%</a:t>
            </a:r>
          </a:p>
        </p:txBody>
      </p:sp>
      <p:sp>
        <p:nvSpPr>
          <p:cNvPr id="58" name="pole tekstowe 57">
            <a:extLst>
              <a:ext uri="{FF2B5EF4-FFF2-40B4-BE49-F238E27FC236}">
                <a16:creationId xmlns:a16="http://schemas.microsoft.com/office/drawing/2014/main" id="{567889EA-94E5-4CB0-BCEB-2F6204BC921A}"/>
              </a:ext>
            </a:extLst>
          </p:cNvPr>
          <p:cNvSpPr txBox="1"/>
          <p:nvPr/>
        </p:nvSpPr>
        <p:spPr>
          <a:xfrm>
            <a:off x="6651521" y="2471884"/>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8%</a:t>
            </a:r>
          </a:p>
        </p:txBody>
      </p:sp>
      <p:sp>
        <p:nvSpPr>
          <p:cNvPr id="59" name="pole tekstowe 58">
            <a:extLst>
              <a:ext uri="{FF2B5EF4-FFF2-40B4-BE49-F238E27FC236}">
                <a16:creationId xmlns:a16="http://schemas.microsoft.com/office/drawing/2014/main" id="{882E2311-BBDE-40DD-BB34-924FD6A7A986}"/>
              </a:ext>
            </a:extLst>
          </p:cNvPr>
          <p:cNvSpPr txBox="1"/>
          <p:nvPr/>
        </p:nvSpPr>
        <p:spPr>
          <a:xfrm>
            <a:off x="7252101" y="2471884"/>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6%</a:t>
            </a:r>
          </a:p>
        </p:txBody>
      </p:sp>
      <p:sp>
        <p:nvSpPr>
          <p:cNvPr id="60" name="pole tekstowe 59">
            <a:extLst>
              <a:ext uri="{FF2B5EF4-FFF2-40B4-BE49-F238E27FC236}">
                <a16:creationId xmlns:a16="http://schemas.microsoft.com/office/drawing/2014/main" id="{69B1628D-1E7B-4B63-B2C0-0F8CC0BF653D}"/>
              </a:ext>
            </a:extLst>
          </p:cNvPr>
          <p:cNvSpPr txBox="1"/>
          <p:nvPr/>
        </p:nvSpPr>
        <p:spPr>
          <a:xfrm>
            <a:off x="6651521" y="2683961"/>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6%</a:t>
            </a:r>
          </a:p>
        </p:txBody>
      </p:sp>
      <p:sp>
        <p:nvSpPr>
          <p:cNvPr id="61" name="pole tekstowe 60">
            <a:extLst>
              <a:ext uri="{FF2B5EF4-FFF2-40B4-BE49-F238E27FC236}">
                <a16:creationId xmlns:a16="http://schemas.microsoft.com/office/drawing/2014/main" id="{15E07D7A-2917-4C44-925D-B251094A1A11}"/>
              </a:ext>
            </a:extLst>
          </p:cNvPr>
          <p:cNvSpPr txBox="1"/>
          <p:nvPr/>
        </p:nvSpPr>
        <p:spPr>
          <a:xfrm>
            <a:off x="7252101" y="2683961"/>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2%</a:t>
            </a:r>
          </a:p>
        </p:txBody>
      </p:sp>
      <p:sp>
        <p:nvSpPr>
          <p:cNvPr id="62" name="pole tekstowe 61">
            <a:extLst>
              <a:ext uri="{FF2B5EF4-FFF2-40B4-BE49-F238E27FC236}">
                <a16:creationId xmlns:a16="http://schemas.microsoft.com/office/drawing/2014/main" id="{2A4133AA-8C38-4AA0-9FAC-CF2F552BB8C7}"/>
              </a:ext>
            </a:extLst>
          </p:cNvPr>
          <p:cNvSpPr txBox="1"/>
          <p:nvPr/>
        </p:nvSpPr>
        <p:spPr>
          <a:xfrm>
            <a:off x="6651521" y="2896038"/>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7%</a:t>
            </a:r>
          </a:p>
        </p:txBody>
      </p:sp>
      <p:sp>
        <p:nvSpPr>
          <p:cNvPr id="63" name="pole tekstowe 62">
            <a:extLst>
              <a:ext uri="{FF2B5EF4-FFF2-40B4-BE49-F238E27FC236}">
                <a16:creationId xmlns:a16="http://schemas.microsoft.com/office/drawing/2014/main" id="{00CFE3F9-7F94-412E-896C-99563D83D29A}"/>
              </a:ext>
            </a:extLst>
          </p:cNvPr>
          <p:cNvSpPr txBox="1"/>
          <p:nvPr/>
        </p:nvSpPr>
        <p:spPr>
          <a:xfrm>
            <a:off x="7252101" y="2896038"/>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6%</a:t>
            </a:r>
          </a:p>
        </p:txBody>
      </p:sp>
      <p:sp>
        <p:nvSpPr>
          <p:cNvPr id="64" name="pole tekstowe 63">
            <a:extLst>
              <a:ext uri="{FF2B5EF4-FFF2-40B4-BE49-F238E27FC236}">
                <a16:creationId xmlns:a16="http://schemas.microsoft.com/office/drawing/2014/main" id="{A43A2518-5668-4B34-B4C6-B2B67653D670}"/>
              </a:ext>
            </a:extLst>
          </p:cNvPr>
          <p:cNvSpPr txBox="1"/>
          <p:nvPr/>
        </p:nvSpPr>
        <p:spPr>
          <a:xfrm>
            <a:off x="6651521" y="3108115"/>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8%</a:t>
            </a:r>
          </a:p>
        </p:txBody>
      </p:sp>
      <p:sp>
        <p:nvSpPr>
          <p:cNvPr id="65" name="pole tekstowe 64">
            <a:extLst>
              <a:ext uri="{FF2B5EF4-FFF2-40B4-BE49-F238E27FC236}">
                <a16:creationId xmlns:a16="http://schemas.microsoft.com/office/drawing/2014/main" id="{396AD905-075E-44B5-A504-0C7B57E8DBA7}"/>
              </a:ext>
            </a:extLst>
          </p:cNvPr>
          <p:cNvSpPr txBox="1"/>
          <p:nvPr/>
        </p:nvSpPr>
        <p:spPr>
          <a:xfrm>
            <a:off x="7252101" y="3108115"/>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5%</a:t>
            </a:r>
          </a:p>
        </p:txBody>
      </p:sp>
      <p:sp>
        <p:nvSpPr>
          <p:cNvPr id="66" name="pole tekstowe 65">
            <a:extLst>
              <a:ext uri="{FF2B5EF4-FFF2-40B4-BE49-F238E27FC236}">
                <a16:creationId xmlns:a16="http://schemas.microsoft.com/office/drawing/2014/main" id="{A9BF30C0-2F94-4B40-A03F-4012760BBE18}"/>
              </a:ext>
            </a:extLst>
          </p:cNvPr>
          <p:cNvSpPr txBox="1"/>
          <p:nvPr/>
        </p:nvSpPr>
        <p:spPr>
          <a:xfrm>
            <a:off x="6651521" y="3320192"/>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5%</a:t>
            </a:r>
          </a:p>
        </p:txBody>
      </p:sp>
      <p:sp>
        <p:nvSpPr>
          <p:cNvPr id="67" name="pole tekstowe 66">
            <a:extLst>
              <a:ext uri="{FF2B5EF4-FFF2-40B4-BE49-F238E27FC236}">
                <a16:creationId xmlns:a16="http://schemas.microsoft.com/office/drawing/2014/main" id="{76463237-B282-42C4-A92C-67B753B4B94B}"/>
              </a:ext>
            </a:extLst>
          </p:cNvPr>
          <p:cNvSpPr txBox="1"/>
          <p:nvPr/>
        </p:nvSpPr>
        <p:spPr>
          <a:xfrm>
            <a:off x="7252101" y="3320192"/>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4%</a:t>
            </a:r>
          </a:p>
        </p:txBody>
      </p:sp>
      <p:sp>
        <p:nvSpPr>
          <p:cNvPr id="68" name="pole tekstowe 67">
            <a:extLst>
              <a:ext uri="{FF2B5EF4-FFF2-40B4-BE49-F238E27FC236}">
                <a16:creationId xmlns:a16="http://schemas.microsoft.com/office/drawing/2014/main" id="{A0AB9F9D-5B7A-4453-9AFB-79CA9652FACB}"/>
              </a:ext>
            </a:extLst>
          </p:cNvPr>
          <p:cNvSpPr txBox="1"/>
          <p:nvPr/>
        </p:nvSpPr>
        <p:spPr>
          <a:xfrm>
            <a:off x="6651521" y="3532269"/>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3%</a:t>
            </a:r>
          </a:p>
        </p:txBody>
      </p:sp>
      <p:sp>
        <p:nvSpPr>
          <p:cNvPr id="69" name="pole tekstowe 68">
            <a:extLst>
              <a:ext uri="{FF2B5EF4-FFF2-40B4-BE49-F238E27FC236}">
                <a16:creationId xmlns:a16="http://schemas.microsoft.com/office/drawing/2014/main" id="{29727CC9-EDD4-48C9-B15C-468F6A47BBA3}"/>
              </a:ext>
            </a:extLst>
          </p:cNvPr>
          <p:cNvSpPr txBox="1"/>
          <p:nvPr/>
        </p:nvSpPr>
        <p:spPr>
          <a:xfrm>
            <a:off x="7252101" y="3532269"/>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5%</a:t>
            </a:r>
          </a:p>
        </p:txBody>
      </p:sp>
      <p:sp>
        <p:nvSpPr>
          <p:cNvPr id="70" name="pole tekstowe 69">
            <a:extLst>
              <a:ext uri="{FF2B5EF4-FFF2-40B4-BE49-F238E27FC236}">
                <a16:creationId xmlns:a16="http://schemas.microsoft.com/office/drawing/2014/main" id="{8DFF687D-CE80-4CFA-93A4-4BF62BF08E2E}"/>
              </a:ext>
            </a:extLst>
          </p:cNvPr>
          <p:cNvSpPr txBox="1"/>
          <p:nvPr/>
        </p:nvSpPr>
        <p:spPr>
          <a:xfrm>
            <a:off x="6651521" y="3744346"/>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7%</a:t>
            </a:r>
          </a:p>
        </p:txBody>
      </p:sp>
      <p:sp>
        <p:nvSpPr>
          <p:cNvPr id="71" name="pole tekstowe 70">
            <a:extLst>
              <a:ext uri="{FF2B5EF4-FFF2-40B4-BE49-F238E27FC236}">
                <a16:creationId xmlns:a16="http://schemas.microsoft.com/office/drawing/2014/main" id="{1CD78DD3-404A-4A3A-80A7-FBEF65DB2839}"/>
              </a:ext>
            </a:extLst>
          </p:cNvPr>
          <p:cNvSpPr txBox="1"/>
          <p:nvPr/>
        </p:nvSpPr>
        <p:spPr>
          <a:xfrm>
            <a:off x="7252101" y="3744346"/>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7%</a:t>
            </a:r>
          </a:p>
        </p:txBody>
      </p:sp>
      <p:sp>
        <p:nvSpPr>
          <p:cNvPr id="72" name="pole tekstowe 71">
            <a:extLst>
              <a:ext uri="{FF2B5EF4-FFF2-40B4-BE49-F238E27FC236}">
                <a16:creationId xmlns:a16="http://schemas.microsoft.com/office/drawing/2014/main" id="{DE93E5E3-868A-41A9-B5BD-20DD52A73845}"/>
              </a:ext>
            </a:extLst>
          </p:cNvPr>
          <p:cNvSpPr txBox="1"/>
          <p:nvPr/>
        </p:nvSpPr>
        <p:spPr>
          <a:xfrm>
            <a:off x="6651521" y="3956423"/>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6%</a:t>
            </a:r>
          </a:p>
        </p:txBody>
      </p:sp>
      <p:sp>
        <p:nvSpPr>
          <p:cNvPr id="73" name="pole tekstowe 72">
            <a:extLst>
              <a:ext uri="{FF2B5EF4-FFF2-40B4-BE49-F238E27FC236}">
                <a16:creationId xmlns:a16="http://schemas.microsoft.com/office/drawing/2014/main" id="{D1F7FBC2-1AF4-401C-8463-C396056B9156}"/>
              </a:ext>
            </a:extLst>
          </p:cNvPr>
          <p:cNvSpPr txBox="1"/>
          <p:nvPr/>
        </p:nvSpPr>
        <p:spPr>
          <a:xfrm>
            <a:off x="7252101" y="3956423"/>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25%</a:t>
            </a:r>
          </a:p>
        </p:txBody>
      </p:sp>
      <p:sp>
        <p:nvSpPr>
          <p:cNvPr id="74" name="pole tekstowe 73">
            <a:extLst>
              <a:ext uri="{FF2B5EF4-FFF2-40B4-BE49-F238E27FC236}">
                <a16:creationId xmlns:a16="http://schemas.microsoft.com/office/drawing/2014/main" id="{9BB37063-81DB-4B72-AEF5-9584A34CC664}"/>
              </a:ext>
            </a:extLst>
          </p:cNvPr>
          <p:cNvSpPr txBox="1"/>
          <p:nvPr/>
        </p:nvSpPr>
        <p:spPr>
          <a:xfrm>
            <a:off x="6651521" y="4168498"/>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7%</a:t>
            </a:r>
          </a:p>
        </p:txBody>
      </p:sp>
      <p:sp>
        <p:nvSpPr>
          <p:cNvPr id="75" name="pole tekstowe 74">
            <a:extLst>
              <a:ext uri="{FF2B5EF4-FFF2-40B4-BE49-F238E27FC236}">
                <a16:creationId xmlns:a16="http://schemas.microsoft.com/office/drawing/2014/main" id="{03DA6C89-3E0C-43DC-8DA1-514DA8306AD0}"/>
              </a:ext>
            </a:extLst>
          </p:cNvPr>
          <p:cNvSpPr txBox="1"/>
          <p:nvPr/>
        </p:nvSpPr>
        <p:spPr>
          <a:xfrm>
            <a:off x="7252101" y="4168498"/>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1%</a:t>
            </a:r>
          </a:p>
        </p:txBody>
      </p:sp>
      <p:pic>
        <p:nvPicPr>
          <p:cNvPr id="76" name="Obraz 75">
            <a:extLst>
              <a:ext uri="{FF2B5EF4-FFF2-40B4-BE49-F238E27FC236}">
                <a16:creationId xmlns:a16="http://schemas.microsoft.com/office/drawing/2014/main" id="{F86C217B-C07E-4036-804F-A0624A194494}"/>
              </a:ext>
            </a:extLst>
          </p:cNvPr>
          <p:cNvPicPr>
            <a:picLocks/>
          </p:cNvPicPr>
          <p:nvPr/>
        </p:nvPicPr>
        <p:blipFill>
          <a:blip r:embed="rId11">
            <a:extLst>
              <a:ext uri="{28A0092B-C50C-407E-A947-70E740481C1C}">
                <a14:useLocalDpi xmlns:a14="http://schemas.microsoft.com/office/drawing/2010/main" val="0"/>
              </a:ext>
            </a:extLst>
          </a:blip>
          <a:stretch>
            <a:fillRect/>
          </a:stretch>
        </p:blipFill>
        <p:spPr>
          <a:xfrm>
            <a:off x="5443610" y="3583435"/>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77" name="Obraz 76">
            <a:extLst>
              <a:ext uri="{FF2B5EF4-FFF2-40B4-BE49-F238E27FC236}">
                <a16:creationId xmlns:a16="http://schemas.microsoft.com/office/drawing/2014/main" id="{F4BEAE06-2633-4D67-BB9C-151FE748FEFE}"/>
              </a:ext>
            </a:extLst>
          </p:cNvPr>
          <p:cNvPicPr>
            <a:picLocks/>
          </p:cNvPicPr>
          <p:nvPr/>
        </p:nvPicPr>
        <p:blipFill>
          <a:blip r:embed="rId12">
            <a:extLst>
              <a:ext uri="{28A0092B-C50C-407E-A947-70E740481C1C}">
                <a14:useLocalDpi xmlns:a14="http://schemas.microsoft.com/office/drawing/2010/main" val="0"/>
              </a:ext>
            </a:extLst>
          </a:blip>
          <a:stretch>
            <a:fillRect/>
          </a:stretch>
        </p:blipFill>
        <p:spPr>
          <a:xfrm>
            <a:off x="5443610" y="4223210"/>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78" name="Obraz 77">
            <a:extLst>
              <a:ext uri="{FF2B5EF4-FFF2-40B4-BE49-F238E27FC236}">
                <a16:creationId xmlns:a16="http://schemas.microsoft.com/office/drawing/2014/main" id="{C353B96A-F70D-412D-832F-2582075E4E08}"/>
              </a:ext>
            </a:extLst>
          </p:cNvPr>
          <p:cNvPicPr>
            <a:picLocks/>
          </p:cNvPicPr>
          <p:nvPr/>
        </p:nvPicPr>
        <p:blipFill>
          <a:blip r:embed="rId13">
            <a:extLst>
              <a:ext uri="{28A0092B-C50C-407E-A947-70E740481C1C}">
                <a14:useLocalDpi xmlns:a14="http://schemas.microsoft.com/office/drawing/2010/main" val="0"/>
              </a:ext>
            </a:extLst>
          </a:blip>
          <a:stretch>
            <a:fillRect/>
          </a:stretch>
        </p:blipFill>
        <p:spPr>
          <a:xfrm>
            <a:off x="5443610" y="3156917"/>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79" name="Obraz 78">
            <a:extLst>
              <a:ext uri="{FF2B5EF4-FFF2-40B4-BE49-F238E27FC236}">
                <a16:creationId xmlns:a16="http://schemas.microsoft.com/office/drawing/2014/main" id="{4CBE85CB-8D5B-4EDE-872F-D1682E4E4E4C}"/>
              </a:ext>
            </a:extLst>
          </p:cNvPr>
          <p:cNvPicPr>
            <a:picLocks/>
          </p:cNvPicPr>
          <p:nvPr/>
        </p:nvPicPr>
        <p:blipFill>
          <a:blip r:embed="rId14">
            <a:extLst>
              <a:ext uri="{28A0092B-C50C-407E-A947-70E740481C1C}">
                <a14:useLocalDpi xmlns:a14="http://schemas.microsoft.com/office/drawing/2010/main" val="0"/>
              </a:ext>
            </a:extLst>
          </a:blip>
          <a:stretch>
            <a:fillRect/>
          </a:stretch>
        </p:blipFill>
        <p:spPr>
          <a:xfrm>
            <a:off x="5443610" y="2303881"/>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80" name="Obraz 79">
            <a:extLst>
              <a:ext uri="{FF2B5EF4-FFF2-40B4-BE49-F238E27FC236}">
                <a16:creationId xmlns:a16="http://schemas.microsoft.com/office/drawing/2014/main" id="{F60D5425-DF0A-40B1-A300-943A42F67E58}"/>
              </a:ext>
            </a:extLst>
          </p:cNvPr>
          <p:cNvPicPr>
            <a:picLocks/>
          </p:cNvPicPr>
          <p:nvPr/>
        </p:nvPicPr>
        <p:blipFill>
          <a:blip r:embed="rId15">
            <a:extLst>
              <a:ext uri="{28A0092B-C50C-407E-A947-70E740481C1C}">
                <a14:useLocalDpi xmlns:a14="http://schemas.microsoft.com/office/drawing/2010/main" val="0"/>
              </a:ext>
            </a:extLst>
          </a:blip>
          <a:stretch>
            <a:fillRect/>
          </a:stretch>
        </p:blipFill>
        <p:spPr>
          <a:xfrm>
            <a:off x="5443610" y="3370176"/>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81" name="Obraz 80">
            <a:extLst>
              <a:ext uri="{FF2B5EF4-FFF2-40B4-BE49-F238E27FC236}">
                <a16:creationId xmlns:a16="http://schemas.microsoft.com/office/drawing/2014/main" id="{15DBC2E9-2F72-41E7-98EF-716C16263D6E}"/>
              </a:ext>
            </a:extLst>
          </p:cNvPr>
          <p:cNvPicPr>
            <a:picLocks/>
          </p:cNvPicPr>
          <p:nvPr/>
        </p:nvPicPr>
        <p:blipFill>
          <a:blip r:embed="rId16">
            <a:extLst>
              <a:ext uri="{28A0092B-C50C-407E-A947-70E740481C1C}">
                <a14:useLocalDpi xmlns:a14="http://schemas.microsoft.com/office/drawing/2010/main" val="0"/>
              </a:ext>
            </a:extLst>
          </a:blip>
          <a:stretch>
            <a:fillRect/>
          </a:stretch>
        </p:blipFill>
        <p:spPr>
          <a:xfrm>
            <a:off x="5443610" y="3796694"/>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82" name="Obraz 81" descr="Obraz zawierający tekst, akcesorium, wizytówka&#10;&#10;Opis wygenerowany automatycznie">
            <a:extLst>
              <a:ext uri="{FF2B5EF4-FFF2-40B4-BE49-F238E27FC236}">
                <a16:creationId xmlns:a16="http://schemas.microsoft.com/office/drawing/2014/main" id="{BE52402D-6669-4962-A955-EAD897BBAB2E}"/>
              </a:ext>
            </a:extLst>
          </p:cNvPr>
          <p:cNvPicPr>
            <a:picLocks/>
          </p:cNvPicPr>
          <p:nvPr/>
        </p:nvPicPr>
        <p:blipFill>
          <a:blip r:embed="rId17">
            <a:extLst>
              <a:ext uri="{28A0092B-C50C-407E-A947-70E740481C1C}">
                <a14:useLocalDpi xmlns:a14="http://schemas.microsoft.com/office/drawing/2010/main" val="0"/>
              </a:ext>
            </a:extLst>
          </a:blip>
          <a:stretch>
            <a:fillRect/>
          </a:stretch>
        </p:blipFill>
        <p:spPr>
          <a:xfrm>
            <a:off x="5443610" y="2517140"/>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83" name="Obraz 82">
            <a:extLst>
              <a:ext uri="{FF2B5EF4-FFF2-40B4-BE49-F238E27FC236}">
                <a16:creationId xmlns:a16="http://schemas.microsoft.com/office/drawing/2014/main" id="{42A3AE83-C843-410B-A89E-1A4CB03E0FBD}"/>
              </a:ext>
            </a:extLst>
          </p:cNvPr>
          <p:cNvPicPr>
            <a:picLocks/>
          </p:cNvPicPr>
          <p:nvPr/>
        </p:nvPicPr>
        <p:blipFill>
          <a:blip r:embed="rId18">
            <a:extLst>
              <a:ext uri="{28A0092B-C50C-407E-A947-70E740481C1C}">
                <a14:useLocalDpi xmlns:a14="http://schemas.microsoft.com/office/drawing/2010/main" val="0"/>
              </a:ext>
            </a:extLst>
          </a:blip>
          <a:stretch>
            <a:fillRect/>
          </a:stretch>
        </p:blipFill>
        <p:spPr>
          <a:xfrm>
            <a:off x="5443610" y="2943658"/>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84" name="Obraz 83">
            <a:extLst>
              <a:ext uri="{FF2B5EF4-FFF2-40B4-BE49-F238E27FC236}">
                <a16:creationId xmlns:a16="http://schemas.microsoft.com/office/drawing/2014/main" id="{2E726E90-0E05-47D0-B915-91DD593E8580}"/>
              </a:ext>
            </a:extLst>
          </p:cNvPr>
          <p:cNvPicPr>
            <a:picLocks/>
          </p:cNvPicPr>
          <p:nvPr/>
        </p:nvPicPr>
        <p:blipFill>
          <a:blip r:embed="rId19">
            <a:extLst>
              <a:ext uri="{28A0092B-C50C-407E-A947-70E740481C1C}">
                <a14:useLocalDpi xmlns:a14="http://schemas.microsoft.com/office/drawing/2010/main" val="0"/>
              </a:ext>
            </a:extLst>
          </a:blip>
          <a:stretch>
            <a:fillRect/>
          </a:stretch>
        </p:blipFill>
        <p:spPr>
          <a:xfrm>
            <a:off x="5443610" y="4009953"/>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85" name="Obraz 84">
            <a:extLst>
              <a:ext uri="{FF2B5EF4-FFF2-40B4-BE49-F238E27FC236}">
                <a16:creationId xmlns:a16="http://schemas.microsoft.com/office/drawing/2014/main" id="{D0FF533B-797D-4B02-8420-CB582C174457}"/>
              </a:ext>
            </a:extLst>
          </p:cNvPr>
          <p:cNvPicPr>
            <a:picLocks/>
          </p:cNvPicPr>
          <p:nvPr/>
        </p:nvPicPr>
        <p:blipFill>
          <a:blip r:embed="rId20">
            <a:extLst>
              <a:ext uri="{28A0092B-C50C-407E-A947-70E740481C1C}">
                <a14:useLocalDpi xmlns:a14="http://schemas.microsoft.com/office/drawing/2010/main" val="0"/>
              </a:ext>
            </a:extLst>
          </a:blip>
          <a:stretch>
            <a:fillRect/>
          </a:stretch>
        </p:blipFill>
        <p:spPr>
          <a:xfrm>
            <a:off x="5443610" y="2730399"/>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sp>
        <p:nvSpPr>
          <p:cNvPr id="86" name="Prostokąt 85">
            <a:extLst>
              <a:ext uri="{FF2B5EF4-FFF2-40B4-BE49-F238E27FC236}">
                <a16:creationId xmlns:a16="http://schemas.microsoft.com/office/drawing/2014/main" id="{E7E7C5C1-9C7D-4270-8147-95DC512F2714}"/>
              </a:ext>
            </a:extLst>
          </p:cNvPr>
          <p:cNvSpPr/>
          <p:nvPr/>
        </p:nvSpPr>
        <p:spPr>
          <a:xfrm>
            <a:off x="5977379" y="2300265"/>
            <a:ext cx="45719" cy="1862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7" name="pole tekstowe 86">
            <a:extLst>
              <a:ext uri="{FF2B5EF4-FFF2-40B4-BE49-F238E27FC236}">
                <a16:creationId xmlns:a16="http://schemas.microsoft.com/office/drawing/2014/main" id="{0E042AB4-9122-4747-8063-A311093F4066}"/>
              </a:ext>
            </a:extLst>
          </p:cNvPr>
          <p:cNvSpPr txBox="1"/>
          <p:nvPr/>
        </p:nvSpPr>
        <p:spPr>
          <a:xfrm>
            <a:off x="8098194" y="2458728"/>
            <a:ext cx="1656497" cy="276999"/>
          </a:xfrm>
          <a:prstGeom prst="rect">
            <a:avLst/>
          </a:prstGeom>
          <a:noFill/>
        </p:spPr>
        <p:txBody>
          <a:bodyPr wrap="square" rtlCol="0">
            <a:spAutoFit/>
          </a:bodyPr>
          <a:lstStyle/>
          <a:p>
            <a:r>
              <a:rPr lang="en-GB" sz="1200" dirty="0">
                <a:cs typeface="Arial" panose="020B0604020202020204" pitchFamily="34" charset="0"/>
              </a:rPr>
              <a:t>Food, agriculture</a:t>
            </a:r>
          </a:p>
        </p:txBody>
      </p:sp>
      <p:sp>
        <p:nvSpPr>
          <p:cNvPr id="88" name="pole tekstowe 87">
            <a:extLst>
              <a:ext uri="{FF2B5EF4-FFF2-40B4-BE49-F238E27FC236}">
                <a16:creationId xmlns:a16="http://schemas.microsoft.com/office/drawing/2014/main" id="{9F55B4E6-5310-445C-83EF-2EB79F8CFE29}"/>
              </a:ext>
            </a:extLst>
          </p:cNvPr>
          <p:cNvSpPr txBox="1"/>
          <p:nvPr/>
        </p:nvSpPr>
        <p:spPr>
          <a:xfrm>
            <a:off x="8098193" y="2246489"/>
            <a:ext cx="1866215" cy="276999"/>
          </a:xfrm>
          <a:prstGeom prst="rect">
            <a:avLst/>
          </a:prstGeom>
          <a:noFill/>
        </p:spPr>
        <p:txBody>
          <a:bodyPr wrap="square" rtlCol="0">
            <a:spAutoFit/>
          </a:bodyPr>
          <a:lstStyle/>
          <a:p>
            <a:r>
              <a:rPr lang="en-GB" sz="1200" dirty="0">
                <a:cs typeface="Arial" panose="020B0604020202020204" pitchFamily="34" charset="0"/>
              </a:rPr>
              <a:t>Machinery, appliances</a:t>
            </a:r>
          </a:p>
        </p:txBody>
      </p:sp>
      <p:sp>
        <p:nvSpPr>
          <p:cNvPr id="89" name="pole tekstowe 88">
            <a:extLst>
              <a:ext uri="{FF2B5EF4-FFF2-40B4-BE49-F238E27FC236}">
                <a16:creationId xmlns:a16="http://schemas.microsoft.com/office/drawing/2014/main" id="{54CAE440-17D3-443D-A8BF-43041341FA3A}"/>
              </a:ext>
            </a:extLst>
          </p:cNvPr>
          <p:cNvSpPr txBox="1"/>
          <p:nvPr/>
        </p:nvSpPr>
        <p:spPr>
          <a:xfrm>
            <a:off x="8098194" y="2670967"/>
            <a:ext cx="1656497" cy="276999"/>
          </a:xfrm>
          <a:prstGeom prst="rect">
            <a:avLst/>
          </a:prstGeom>
          <a:noFill/>
        </p:spPr>
        <p:txBody>
          <a:bodyPr wrap="square" rtlCol="0">
            <a:spAutoFit/>
          </a:bodyPr>
          <a:lstStyle/>
          <a:p>
            <a:r>
              <a:rPr lang="en-GB" sz="1200" dirty="0">
                <a:cs typeface="Arial" panose="020B0604020202020204" pitchFamily="34" charset="0"/>
              </a:rPr>
              <a:t>Transport equipment</a:t>
            </a:r>
          </a:p>
        </p:txBody>
      </p:sp>
      <p:sp>
        <p:nvSpPr>
          <p:cNvPr id="90" name="pole tekstowe 89">
            <a:extLst>
              <a:ext uri="{FF2B5EF4-FFF2-40B4-BE49-F238E27FC236}">
                <a16:creationId xmlns:a16="http://schemas.microsoft.com/office/drawing/2014/main" id="{540C5C62-83EB-4E9E-B5C5-EE15012EDE31}"/>
              </a:ext>
            </a:extLst>
          </p:cNvPr>
          <p:cNvSpPr txBox="1"/>
          <p:nvPr/>
        </p:nvSpPr>
        <p:spPr>
          <a:xfrm>
            <a:off x="8098194" y="2883206"/>
            <a:ext cx="1656497" cy="276999"/>
          </a:xfrm>
          <a:prstGeom prst="rect">
            <a:avLst/>
          </a:prstGeom>
          <a:noFill/>
        </p:spPr>
        <p:txBody>
          <a:bodyPr wrap="square" rtlCol="0">
            <a:spAutoFit/>
          </a:bodyPr>
          <a:lstStyle/>
          <a:p>
            <a:r>
              <a:rPr lang="en-GB" sz="1200" dirty="0">
                <a:cs typeface="Arial" panose="020B0604020202020204" pitchFamily="34" charset="0"/>
              </a:rPr>
              <a:t>Metals, articles thereof</a:t>
            </a:r>
          </a:p>
        </p:txBody>
      </p:sp>
      <p:sp>
        <p:nvSpPr>
          <p:cNvPr id="91" name="pole tekstowe 90">
            <a:extLst>
              <a:ext uri="{FF2B5EF4-FFF2-40B4-BE49-F238E27FC236}">
                <a16:creationId xmlns:a16="http://schemas.microsoft.com/office/drawing/2014/main" id="{8D87E5E5-80AF-4325-B742-F8E8EE1E6276}"/>
              </a:ext>
            </a:extLst>
          </p:cNvPr>
          <p:cNvSpPr txBox="1"/>
          <p:nvPr/>
        </p:nvSpPr>
        <p:spPr>
          <a:xfrm>
            <a:off x="8098194" y="3095445"/>
            <a:ext cx="1656497" cy="276999"/>
          </a:xfrm>
          <a:prstGeom prst="rect">
            <a:avLst/>
          </a:prstGeom>
          <a:noFill/>
        </p:spPr>
        <p:txBody>
          <a:bodyPr wrap="square" rtlCol="0">
            <a:spAutoFit/>
          </a:bodyPr>
          <a:lstStyle/>
          <a:p>
            <a:r>
              <a:rPr lang="en-GB" sz="1200" dirty="0">
                <a:cs typeface="Arial" panose="020B0604020202020204" pitchFamily="34" charset="0"/>
              </a:rPr>
              <a:t>Chemical products</a:t>
            </a:r>
          </a:p>
        </p:txBody>
      </p:sp>
      <p:sp>
        <p:nvSpPr>
          <p:cNvPr id="92" name="pole tekstowe 91">
            <a:extLst>
              <a:ext uri="{FF2B5EF4-FFF2-40B4-BE49-F238E27FC236}">
                <a16:creationId xmlns:a16="http://schemas.microsoft.com/office/drawing/2014/main" id="{F1527EE4-A0DB-4503-9F9B-4A969F5DC958}"/>
              </a:ext>
            </a:extLst>
          </p:cNvPr>
          <p:cNvSpPr txBox="1"/>
          <p:nvPr/>
        </p:nvSpPr>
        <p:spPr>
          <a:xfrm>
            <a:off x="8098194" y="3307684"/>
            <a:ext cx="1656497" cy="276999"/>
          </a:xfrm>
          <a:prstGeom prst="rect">
            <a:avLst/>
          </a:prstGeom>
          <a:noFill/>
        </p:spPr>
        <p:txBody>
          <a:bodyPr wrap="square" rtlCol="0">
            <a:spAutoFit/>
          </a:bodyPr>
          <a:lstStyle/>
          <a:p>
            <a:r>
              <a:rPr lang="en-GB" sz="1200" dirty="0">
                <a:cs typeface="Arial" panose="020B0604020202020204" pitchFamily="34" charset="0"/>
              </a:rPr>
              <a:t>Plastics, rubber</a:t>
            </a:r>
          </a:p>
        </p:txBody>
      </p:sp>
      <p:sp>
        <p:nvSpPr>
          <p:cNvPr id="93" name="pole tekstowe 92">
            <a:extLst>
              <a:ext uri="{FF2B5EF4-FFF2-40B4-BE49-F238E27FC236}">
                <a16:creationId xmlns:a16="http://schemas.microsoft.com/office/drawing/2014/main" id="{B4C12777-F178-4809-AE05-2E5B9F65B560}"/>
              </a:ext>
            </a:extLst>
          </p:cNvPr>
          <p:cNvSpPr txBox="1"/>
          <p:nvPr/>
        </p:nvSpPr>
        <p:spPr>
          <a:xfrm>
            <a:off x="8098194" y="3519923"/>
            <a:ext cx="1656497" cy="276999"/>
          </a:xfrm>
          <a:prstGeom prst="rect">
            <a:avLst/>
          </a:prstGeom>
          <a:noFill/>
        </p:spPr>
        <p:txBody>
          <a:bodyPr wrap="square" rtlCol="0">
            <a:spAutoFit/>
          </a:bodyPr>
          <a:lstStyle/>
          <a:p>
            <a:r>
              <a:rPr lang="en-GB" sz="1200" dirty="0">
                <a:cs typeface="Arial" panose="020B0604020202020204" pitchFamily="34" charset="0"/>
              </a:rPr>
              <a:t>Textiles</a:t>
            </a:r>
          </a:p>
        </p:txBody>
      </p:sp>
      <p:sp>
        <p:nvSpPr>
          <p:cNvPr id="94" name="pole tekstowe 93">
            <a:extLst>
              <a:ext uri="{FF2B5EF4-FFF2-40B4-BE49-F238E27FC236}">
                <a16:creationId xmlns:a16="http://schemas.microsoft.com/office/drawing/2014/main" id="{25116E65-53FC-42F7-83A8-A382BF8EE967}"/>
              </a:ext>
            </a:extLst>
          </p:cNvPr>
          <p:cNvSpPr txBox="1"/>
          <p:nvPr/>
        </p:nvSpPr>
        <p:spPr>
          <a:xfrm>
            <a:off x="8098194" y="3732162"/>
            <a:ext cx="1656497" cy="276999"/>
          </a:xfrm>
          <a:prstGeom prst="rect">
            <a:avLst/>
          </a:prstGeom>
          <a:noFill/>
        </p:spPr>
        <p:txBody>
          <a:bodyPr wrap="square" rtlCol="0">
            <a:spAutoFit/>
          </a:bodyPr>
          <a:lstStyle/>
          <a:p>
            <a:r>
              <a:rPr lang="en-GB" sz="1200" dirty="0">
                <a:cs typeface="Arial" panose="020B0604020202020204" pitchFamily="34" charset="0"/>
              </a:rPr>
              <a:t>Mineral products</a:t>
            </a:r>
          </a:p>
        </p:txBody>
      </p:sp>
      <p:sp>
        <p:nvSpPr>
          <p:cNvPr id="95" name="pole tekstowe 94">
            <a:extLst>
              <a:ext uri="{FF2B5EF4-FFF2-40B4-BE49-F238E27FC236}">
                <a16:creationId xmlns:a16="http://schemas.microsoft.com/office/drawing/2014/main" id="{A07DAF33-5186-4EBF-B112-62523451DF50}"/>
              </a:ext>
            </a:extLst>
          </p:cNvPr>
          <p:cNvSpPr txBox="1"/>
          <p:nvPr/>
        </p:nvSpPr>
        <p:spPr>
          <a:xfrm>
            <a:off x="8098194" y="4156640"/>
            <a:ext cx="1656497" cy="276999"/>
          </a:xfrm>
          <a:prstGeom prst="rect">
            <a:avLst/>
          </a:prstGeom>
          <a:noFill/>
        </p:spPr>
        <p:txBody>
          <a:bodyPr wrap="square" rtlCol="0">
            <a:spAutoFit/>
          </a:bodyPr>
          <a:lstStyle/>
          <a:p>
            <a:r>
              <a:rPr lang="en-GB" sz="1200" dirty="0">
                <a:cs typeface="Arial" panose="020B0604020202020204" pitchFamily="34" charset="0"/>
              </a:rPr>
              <a:t>Other</a:t>
            </a:r>
          </a:p>
        </p:txBody>
      </p:sp>
      <p:sp>
        <p:nvSpPr>
          <p:cNvPr id="96" name="pole tekstowe 95">
            <a:extLst>
              <a:ext uri="{FF2B5EF4-FFF2-40B4-BE49-F238E27FC236}">
                <a16:creationId xmlns:a16="http://schemas.microsoft.com/office/drawing/2014/main" id="{C3A3DA06-C90C-472A-8B16-28C9B0A3BB4C}"/>
              </a:ext>
            </a:extLst>
          </p:cNvPr>
          <p:cNvSpPr txBox="1"/>
          <p:nvPr/>
        </p:nvSpPr>
        <p:spPr>
          <a:xfrm>
            <a:off x="8098194" y="3944401"/>
            <a:ext cx="1656497" cy="276999"/>
          </a:xfrm>
          <a:prstGeom prst="rect">
            <a:avLst/>
          </a:prstGeom>
          <a:noFill/>
        </p:spPr>
        <p:txBody>
          <a:bodyPr wrap="square" rtlCol="0">
            <a:spAutoFit/>
          </a:bodyPr>
          <a:lstStyle/>
          <a:p>
            <a:r>
              <a:rPr lang="en-GB" sz="1200" dirty="0">
                <a:cs typeface="Arial" panose="020B0604020202020204" pitchFamily="34" charset="0"/>
              </a:rPr>
              <a:t>Paper, pulp</a:t>
            </a:r>
          </a:p>
        </p:txBody>
      </p:sp>
      <p:sp>
        <p:nvSpPr>
          <p:cNvPr id="97" name="pole tekstowe 96">
            <a:extLst>
              <a:ext uri="{FF2B5EF4-FFF2-40B4-BE49-F238E27FC236}">
                <a16:creationId xmlns:a16="http://schemas.microsoft.com/office/drawing/2014/main" id="{641B4013-AC52-48A9-8992-BB4ECA6FE6B9}"/>
              </a:ext>
            </a:extLst>
          </p:cNvPr>
          <p:cNvSpPr txBox="1"/>
          <p:nvPr/>
        </p:nvSpPr>
        <p:spPr>
          <a:xfrm>
            <a:off x="10532283" y="1753599"/>
            <a:ext cx="972150" cy="276999"/>
          </a:xfrm>
          <a:prstGeom prst="rect">
            <a:avLst/>
          </a:prstGeom>
          <a:noFill/>
        </p:spPr>
        <p:txBody>
          <a:bodyPr wrap="square" rtlCol="0">
            <a:spAutoFit/>
          </a:bodyPr>
          <a:lstStyle/>
          <a:p>
            <a:pPr algn="ctr"/>
            <a:r>
              <a:rPr lang="en-GB" sz="1200" i="1" dirty="0">
                <a:cs typeface="Arial" panose="020B0604020202020204" pitchFamily="34" charset="0"/>
              </a:rPr>
              <a:t>CAGR</a:t>
            </a:r>
          </a:p>
        </p:txBody>
      </p:sp>
      <p:sp>
        <p:nvSpPr>
          <p:cNvPr id="98" name="pole tekstowe 97">
            <a:extLst>
              <a:ext uri="{FF2B5EF4-FFF2-40B4-BE49-F238E27FC236}">
                <a16:creationId xmlns:a16="http://schemas.microsoft.com/office/drawing/2014/main" id="{667B4DDD-E6A1-4351-A449-014B3F0B7243}"/>
              </a:ext>
            </a:extLst>
          </p:cNvPr>
          <p:cNvSpPr txBox="1"/>
          <p:nvPr/>
        </p:nvSpPr>
        <p:spPr>
          <a:xfrm>
            <a:off x="10341213" y="1992098"/>
            <a:ext cx="753710" cy="276999"/>
          </a:xfrm>
          <a:prstGeom prst="rect">
            <a:avLst/>
          </a:prstGeom>
          <a:noFill/>
        </p:spPr>
        <p:txBody>
          <a:bodyPr wrap="square" rtlCol="0">
            <a:spAutoFit/>
          </a:bodyPr>
          <a:lstStyle/>
          <a:p>
            <a:pPr algn="ctr"/>
            <a:r>
              <a:rPr lang="en-GB" sz="1200" i="1" dirty="0">
                <a:cs typeface="Arial" panose="020B0604020202020204" pitchFamily="34" charset="0"/>
              </a:rPr>
              <a:t>’10-’19</a:t>
            </a:r>
          </a:p>
        </p:txBody>
      </p:sp>
      <p:sp>
        <p:nvSpPr>
          <p:cNvPr id="99" name="pole tekstowe 98">
            <a:extLst>
              <a:ext uri="{FF2B5EF4-FFF2-40B4-BE49-F238E27FC236}">
                <a16:creationId xmlns:a16="http://schemas.microsoft.com/office/drawing/2014/main" id="{9D287938-30A9-4B2F-A6D5-FE68CE3062CA}"/>
              </a:ext>
            </a:extLst>
          </p:cNvPr>
          <p:cNvSpPr txBox="1"/>
          <p:nvPr/>
        </p:nvSpPr>
        <p:spPr>
          <a:xfrm>
            <a:off x="10941793" y="1992098"/>
            <a:ext cx="753710" cy="276999"/>
          </a:xfrm>
          <a:prstGeom prst="rect">
            <a:avLst/>
          </a:prstGeom>
          <a:noFill/>
        </p:spPr>
        <p:txBody>
          <a:bodyPr wrap="square" rtlCol="0">
            <a:spAutoFit/>
          </a:bodyPr>
          <a:lstStyle/>
          <a:p>
            <a:pPr algn="ctr"/>
            <a:r>
              <a:rPr lang="en-GB" sz="1200" i="1" dirty="0">
                <a:cs typeface="Arial" panose="020B0604020202020204" pitchFamily="34" charset="0"/>
              </a:rPr>
              <a:t>’19-’22</a:t>
            </a:r>
          </a:p>
        </p:txBody>
      </p:sp>
      <p:sp>
        <p:nvSpPr>
          <p:cNvPr id="100" name="pole tekstowe 99">
            <a:extLst>
              <a:ext uri="{FF2B5EF4-FFF2-40B4-BE49-F238E27FC236}">
                <a16:creationId xmlns:a16="http://schemas.microsoft.com/office/drawing/2014/main" id="{40703CF1-4938-4331-B811-28BF89199981}"/>
              </a:ext>
            </a:extLst>
          </p:cNvPr>
          <p:cNvSpPr txBox="1"/>
          <p:nvPr/>
        </p:nvSpPr>
        <p:spPr>
          <a:xfrm>
            <a:off x="10379402" y="2259807"/>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7%</a:t>
            </a:r>
          </a:p>
        </p:txBody>
      </p:sp>
      <p:sp>
        <p:nvSpPr>
          <p:cNvPr id="101" name="pole tekstowe 100">
            <a:extLst>
              <a:ext uri="{FF2B5EF4-FFF2-40B4-BE49-F238E27FC236}">
                <a16:creationId xmlns:a16="http://schemas.microsoft.com/office/drawing/2014/main" id="{A42D5FDC-8859-44DE-B4D9-CB2DEB872E31}"/>
              </a:ext>
            </a:extLst>
          </p:cNvPr>
          <p:cNvSpPr txBox="1"/>
          <p:nvPr/>
        </p:nvSpPr>
        <p:spPr>
          <a:xfrm>
            <a:off x="10979982" y="2259807"/>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3%</a:t>
            </a:r>
          </a:p>
        </p:txBody>
      </p:sp>
      <p:sp>
        <p:nvSpPr>
          <p:cNvPr id="102" name="pole tekstowe 101">
            <a:extLst>
              <a:ext uri="{FF2B5EF4-FFF2-40B4-BE49-F238E27FC236}">
                <a16:creationId xmlns:a16="http://schemas.microsoft.com/office/drawing/2014/main" id="{5D490177-F1D0-4D6D-B3AF-D035E079D29B}"/>
              </a:ext>
            </a:extLst>
          </p:cNvPr>
          <p:cNvSpPr txBox="1"/>
          <p:nvPr/>
        </p:nvSpPr>
        <p:spPr>
          <a:xfrm>
            <a:off x="10379402" y="2488678"/>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0%</a:t>
            </a:r>
          </a:p>
        </p:txBody>
      </p:sp>
      <p:sp>
        <p:nvSpPr>
          <p:cNvPr id="103" name="pole tekstowe 102">
            <a:extLst>
              <a:ext uri="{FF2B5EF4-FFF2-40B4-BE49-F238E27FC236}">
                <a16:creationId xmlns:a16="http://schemas.microsoft.com/office/drawing/2014/main" id="{ED3CA2D0-5F21-449E-A2A6-02EF9618D8AD}"/>
              </a:ext>
            </a:extLst>
          </p:cNvPr>
          <p:cNvSpPr txBox="1"/>
          <p:nvPr/>
        </p:nvSpPr>
        <p:spPr>
          <a:xfrm>
            <a:off x="10979982" y="2488678"/>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4%</a:t>
            </a:r>
          </a:p>
        </p:txBody>
      </p:sp>
      <p:sp>
        <p:nvSpPr>
          <p:cNvPr id="104" name="pole tekstowe 103">
            <a:extLst>
              <a:ext uri="{FF2B5EF4-FFF2-40B4-BE49-F238E27FC236}">
                <a16:creationId xmlns:a16="http://schemas.microsoft.com/office/drawing/2014/main" id="{70E73F95-15B6-4F4F-9A3F-1E662F5676DD}"/>
              </a:ext>
            </a:extLst>
          </p:cNvPr>
          <p:cNvSpPr txBox="1"/>
          <p:nvPr/>
        </p:nvSpPr>
        <p:spPr>
          <a:xfrm>
            <a:off x="10379402" y="2708259"/>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6%</a:t>
            </a:r>
          </a:p>
        </p:txBody>
      </p:sp>
      <p:sp>
        <p:nvSpPr>
          <p:cNvPr id="105" name="pole tekstowe 104">
            <a:extLst>
              <a:ext uri="{FF2B5EF4-FFF2-40B4-BE49-F238E27FC236}">
                <a16:creationId xmlns:a16="http://schemas.microsoft.com/office/drawing/2014/main" id="{EB3F8EFB-03F9-45A5-8A63-77EF06191358}"/>
              </a:ext>
            </a:extLst>
          </p:cNvPr>
          <p:cNvSpPr txBox="1"/>
          <p:nvPr/>
        </p:nvSpPr>
        <p:spPr>
          <a:xfrm>
            <a:off x="10979982" y="2708259"/>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5%</a:t>
            </a:r>
          </a:p>
        </p:txBody>
      </p:sp>
      <p:sp>
        <p:nvSpPr>
          <p:cNvPr id="106" name="pole tekstowe 105">
            <a:extLst>
              <a:ext uri="{FF2B5EF4-FFF2-40B4-BE49-F238E27FC236}">
                <a16:creationId xmlns:a16="http://schemas.microsoft.com/office/drawing/2014/main" id="{97061B0B-0FDB-4711-A460-18336A37DA93}"/>
              </a:ext>
            </a:extLst>
          </p:cNvPr>
          <p:cNvSpPr txBox="1"/>
          <p:nvPr/>
        </p:nvSpPr>
        <p:spPr>
          <a:xfrm>
            <a:off x="10379402" y="2904355"/>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6%</a:t>
            </a:r>
          </a:p>
        </p:txBody>
      </p:sp>
      <p:sp>
        <p:nvSpPr>
          <p:cNvPr id="107" name="pole tekstowe 106">
            <a:extLst>
              <a:ext uri="{FF2B5EF4-FFF2-40B4-BE49-F238E27FC236}">
                <a16:creationId xmlns:a16="http://schemas.microsoft.com/office/drawing/2014/main" id="{6AF1E0F9-7748-4445-A534-B0F20AA34DAC}"/>
              </a:ext>
            </a:extLst>
          </p:cNvPr>
          <p:cNvSpPr txBox="1"/>
          <p:nvPr/>
        </p:nvSpPr>
        <p:spPr>
          <a:xfrm>
            <a:off x="10979982" y="2904355"/>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5%</a:t>
            </a:r>
          </a:p>
        </p:txBody>
      </p:sp>
      <p:sp>
        <p:nvSpPr>
          <p:cNvPr id="108" name="pole tekstowe 107">
            <a:extLst>
              <a:ext uri="{FF2B5EF4-FFF2-40B4-BE49-F238E27FC236}">
                <a16:creationId xmlns:a16="http://schemas.microsoft.com/office/drawing/2014/main" id="{ACF0EBAA-9EEC-4304-9170-557005541864}"/>
              </a:ext>
            </a:extLst>
          </p:cNvPr>
          <p:cNvSpPr txBox="1"/>
          <p:nvPr/>
        </p:nvSpPr>
        <p:spPr>
          <a:xfrm>
            <a:off x="10379402" y="3116215"/>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9%</a:t>
            </a:r>
          </a:p>
        </p:txBody>
      </p:sp>
      <p:sp>
        <p:nvSpPr>
          <p:cNvPr id="109" name="pole tekstowe 108">
            <a:extLst>
              <a:ext uri="{FF2B5EF4-FFF2-40B4-BE49-F238E27FC236}">
                <a16:creationId xmlns:a16="http://schemas.microsoft.com/office/drawing/2014/main" id="{FDEAFCAC-5E33-4721-A9BA-E2F3FA9B8883}"/>
              </a:ext>
            </a:extLst>
          </p:cNvPr>
          <p:cNvSpPr txBox="1"/>
          <p:nvPr/>
        </p:nvSpPr>
        <p:spPr>
          <a:xfrm>
            <a:off x="10979982" y="3116215"/>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6%</a:t>
            </a:r>
          </a:p>
        </p:txBody>
      </p:sp>
      <p:sp>
        <p:nvSpPr>
          <p:cNvPr id="110" name="pole tekstowe 109">
            <a:extLst>
              <a:ext uri="{FF2B5EF4-FFF2-40B4-BE49-F238E27FC236}">
                <a16:creationId xmlns:a16="http://schemas.microsoft.com/office/drawing/2014/main" id="{96A7163B-CD25-4276-979F-49B496629EBF}"/>
              </a:ext>
            </a:extLst>
          </p:cNvPr>
          <p:cNvSpPr txBox="1"/>
          <p:nvPr/>
        </p:nvSpPr>
        <p:spPr>
          <a:xfrm>
            <a:off x="10379402" y="3355499"/>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9%</a:t>
            </a:r>
          </a:p>
        </p:txBody>
      </p:sp>
      <p:sp>
        <p:nvSpPr>
          <p:cNvPr id="111" name="pole tekstowe 110">
            <a:extLst>
              <a:ext uri="{FF2B5EF4-FFF2-40B4-BE49-F238E27FC236}">
                <a16:creationId xmlns:a16="http://schemas.microsoft.com/office/drawing/2014/main" id="{E8AD097E-B292-42C1-9BD1-0865113D35E0}"/>
              </a:ext>
            </a:extLst>
          </p:cNvPr>
          <p:cNvSpPr txBox="1"/>
          <p:nvPr/>
        </p:nvSpPr>
        <p:spPr>
          <a:xfrm>
            <a:off x="10979982" y="3355499"/>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3%</a:t>
            </a:r>
          </a:p>
        </p:txBody>
      </p:sp>
      <p:sp>
        <p:nvSpPr>
          <p:cNvPr id="112" name="pole tekstowe 111">
            <a:extLst>
              <a:ext uri="{FF2B5EF4-FFF2-40B4-BE49-F238E27FC236}">
                <a16:creationId xmlns:a16="http://schemas.microsoft.com/office/drawing/2014/main" id="{A299BF33-C10C-4F80-9058-C615C7C97486}"/>
              </a:ext>
            </a:extLst>
          </p:cNvPr>
          <p:cNvSpPr txBox="1"/>
          <p:nvPr/>
        </p:nvSpPr>
        <p:spPr>
          <a:xfrm>
            <a:off x="10379402" y="3558718"/>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0%</a:t>
            </a:r>
          </a:p>
        </p:txBody>
      </p:sp>
      <p:sp>
        <p:nvSpPr>
          <p:cNvPr id="113" name="pole tekstowe 112">
            <a:extLst>
              <a:ext uri="{FF2B5EF4-FFF2-40B4-BE49-F238E27FC236}">
                <a16:creationId xmlns:a16="http://schemas.microsoft.com/office/drawing/2014/main" id="{1088862F-832A-4D0F-9753-894984A83911}"/>
              </a:ext>
            </a:extLst>
          </p:cNvPr>
          <p:cNvSpPr txBox="1"/>
          <p:nvPr/>
        </p:nvSpPr>
        <p:spPr>
          <a:xfrm>
            <a:off x="10979982" y="3558718"/>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5%</a:t>
            </a:r>
          </a:p>
        </p:txBody>
      </p:sp>
      <p:sp>
        <p:nvSpPr>
          <p:cNvPr id="114" name="pole tekstowe 113">
            <a:extLst>
              <a:ext uri="{FF2B5EF4-FFF2-40B4-BE49-F238E27FC236}">
                <a16:creationId xmlns:a16="http://schemas.microsoft.com/office/drawing/2014/main" id="{7476C5DE-3CFC-4F52-B600-2F6423217637}"/>
              </a:ext>
            </a:extLst>
          </p:cNvPr>
          <p:cNvSpPr txBox="1"/>
          <p:nvPr/>
        </p:nvSpPr>
        <p:spPr>
          <a:xfrm>
            <a:off x="10379402" y="3768758"/>
            <a:ext cx="677333" cy="276999"/>
          </a:xfrm>
          <a:prstGeom prst="rect">
            <a:avLst/>
          </a:prstGeom>
          <a:noFill/>
        </p:spPr>
        <p:txBody>
          <a:bodyPr wrap="square" rtlCol="0">
            <a:spAutoFit/>
          </a:bodyPr>
          <a:lstStyle/>
          <a:p>
            <a:pPr algn="ctr"/>
            <a:r>
              <a:rPr lang="en-GB" sz="1200" b="1" dirty="0">
                <a:solidFill>
                  <a:schemeClr val="bg1">
                    <a:lumMod val="50000"/>
                  </a:schemeClr>
                </a:solidFill>
                <a:cs typeface="Arial" panose="020B0604020202020204" pitchFamily="34" charset="0"/>
              </a:rPr>
              <a:t>0%</a:t>
            </a:r>
          </a:p>
        </p:txBody>
      </p:sp>
      <p:sp>
        <p:nvSpPr>
          <p:cNvPr id="115" name="pole tekstowe 114">
            <a:extLst>
              <a:ext uri="{FF2B5EF4-FFF2-40B4-BE49-F238E27FC236}">
                <a16:creationId xmlns:a16="http://schemas.microsoft.com/office/drawing/2014/main" id="{9A74AE67-5C4C-4683-ACE6-174156A8E7A9}"/>
              </a:ext>
            </a:extLst>
          </p:cNvPr>
          <p:cNvSpPr txBox="1"/>
          <p:nvPr/>
        </p:nvSpPr>
        <p:spPr>
          <a:xfrm>
            <a:off x="10979982" y="3768758"/>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36%</a:t>
            </a:r>
          </a:p>
        </p:txBody>
      </p:sp>
      <p:sp>
        <p:nvSpPr>
          <p:cNvPr id="116" name="pole tekstowe 115">
            <a:extLst>
              <a:ext uri="{FF2B5EF4-FFF2-40B4-BE49-F238E27FC236}">
                <a16:creationId xmlns:a16="http://schemas.microsoft.com/office/drawing/2014/main" id="{D117B772-B634-45D8-BF41-3C36FBEEEF64}"/>
              </a:ext>
            </a:extLst>
          </p:cNvPr>
          <p:cNvSpPr txBox="1"/>
          <p:nvPr/>
        </p:nvSpPr>
        <p:spPr>
          <a:xfrm>
            <a:off x="10379402" y="3955050"/>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7%</a:t>
            </a:r>
          </a:p>
        </p:txBody>
      </p:sp>
      <p:sp>
        <p:nvSpPr>
          <p:cNvPr id="117" name="pole tekstowe 116">
            <a:extLst>
              <a:ext uri="{FF2B5EF4-FFF2-40B4-BE49-F238E27FC236}">
                <a16:creationId xmlns:a16="http://schemas.microsoft.com/office/drawing/2014/main" id="{BA790F72-24AD-4663-A5FF-2A2CFC758710}"/>
              </a:ext>
            </a:extLst>
          </p:cNvPr>
          <p:cNvSpPr txBox="1"/>
          <p:nvPr/>
        </p:nvSpPr>
        <p:spPr>
          <a:xfrm>
            <a:off x="10979982" y="3955050"/>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2%</a:t>
            </a:r>
          </a:p>
        </p:txBody>
      </p:sp>
      <p:sp>
        <p:nvSpPr>
          <p:cNvPr id="118" name="pole tekstowe 117">
            <a:extLst>
              <a:ext uri="{FF2B5EF4-FFF2-40B4-BE49-F238E27FC236}">
                <a16:creationId xmlns:a16="http://schemas.microsoft.com/office/drawing/2014/main" id="{E4381003-73ED-49E0-9A74-C62A674CD095}"/>
              </a:ext>
            </a:extLst>
          </p:cNvPr>
          <p:cNvSpPr txBox="1"/>
          <p:nvPr/>
        </p:nvSpPr>
        <p:spPr>
          <a:xfrm>
            <a:off x="10379402" y="4174212"/>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1%</a:t>
            </a:r>
          </a:p>
        </p:txBody>
      </p:sp>
      <p:sp>
        <p:nvSpPr>
          <p:cNvPr id="119" name="pole tekstowe 118">
            <a:extLst>
              <a:ext uri="{FF2B5EF4-FFF2-40B4-BE49-F238E27FC236}">
                <a16:creationId xmlns:a16="http://schemas.microsoft.com/office/drawing/2014/main" id="{6E08A18F-41F9-4F5C-B2F5-CF28E051516A}"/>
              </a:ext>
            </a:extLst>
          </p:cNvPr>
          <p:cNvSpPr txBox="1"/>
          <p:nvPr/>
        </p:nvSpPr>
        <p:spPr>
          <a:xfrm>
            <a:off x="10979982" y="4174212"/>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1%</a:t>
            </a:r>
          </a:p>
        </p:txBody>
      </p:sp>
      <p:sp>
        <p:nvSpPr>
          <p:cNvPr id="122" name="pole tekstowe 121">
            <a:extLst>
              <a:ext uri="{FF2B5EF4-FFF2-40B4-BE49-F238E27FC236}">
                <a16:creationId xmlns:a16="http://schemas.microsoft.com/office/drawing/2014/main" id="{45511D1A-4A3E-4810-8EB4-DA593BA5E23F}"/>
              </a:ext>
            </a:extLst>
          </p:cNvPr>
          <p:cNvSpPr txBox="1"/>
          <p:nvPr/>
        </p:nvSpPr>
        <p:spPr>
          <a:xfrm>
            <a:off x="855503" y="4812660"/>
            <a:ext cx="10406394" cy="1595835"/>
          </a:xfrm>
          <a:prstGeom prst="rect">
            <a:avLst/>
          </a:prstGeom>
          <a:noFill/>
        </p:spPr>
        <p:txBody>
          <a:bodyPr wrap="square" tIns="54000" bIns="90000" rtlCol="0" anchor="t">
            <a:noAutofit/>
          </a:bodyPr>
          <a:lstStyle/>
          <a:p>
            <a:pPr marL="171454" indent="-171454" algn="just">
              <a:spcAft>
                <a:spcPts val="600"/>
              </a:spcAft>
              <a:buClr>
                <a:srgbClr val="D71920"/>
              </a:buClr>
              <a:buFont typeface="Wingdings" panose="05000000000000000000" pitchFamily="2" charset="2"/>
              <a:buChar char="§"/>
            </a:pPr>
            <a:r>
              <a:rPr lang="en-GB" sz="1200" dirty="0">
                <a:cs typeface="Arial" panose="020B0604020202020204" pitchFamily="34" charset="0"/>
              </a:rPr>
              <a:t>The dynamics of the value of Polish exports after 2019 accelerated compared to the previous decade, despite the pandemic turmoil, which was strongly supported by price trends prevailing in Europe. The Poland’s exports to the GDP ratio is also systematically growing, as well as its share in global trade.  </a:t>
            </a:r>
          </a:p>
          <a:p>
            <a:pPr marL="171454" indent="-171454" algn="just">
              <a:spcAft>
                <a:spcPts val="600"/>
              </a:spcAft>
              <a:buClr>
                <a:srgbClr val="D71920"/>
              </a:buClr>
              <a:buFont typeface="Wingdings" panose="05000000000000000000" pitchFamily="2" charset="2"/>
              <a:buChar char="§"/>
            </a:pPr>
            <a:r>
              <a:rPr lang="en-GB" sz="1200" dirty="0">
                <a:cs typeface="Arial" panose="020B0604020202020204" pitchFamily="34" charset="0"/>
              </a:rPr>
              <a:t>Exports to the EU-27 countries remained the main driving force, though within the Community the geographical diversity was still relatively strong (regardless of the leading role of Germany). Sales outside the EU also maintained a strong growth rate - in particular, after the outbreak of war in Ukraine, Poland became the gateway to this country for EU support.</a:t>
            </a:r>
          </a:p>
          <a:p>
            <a:pPr marL="171454" indent="-171454" algn="just">
              <a:spcAft>
                <a:spcPts val="600"/>
              </a:spcAft>
              <a:buClr>
                <a:srgbClr val="D71920"/>
              </a:buClr>
              <a:buFont typeface="Wingdings" panose="05000000000000000000" pitchFamily="2" charset="2"/>
              <a:buChar char="§"/>
            </a:pPr>
            <a:r>
              <a:rPr lang="en-GB" sz="1200" dirty="0">
                <a:cs typeface="Arial" panose="020B0604020202020204" pitchFamily="34" charset="0"/>
              </a:rPr>
              <a:t>Polish exports also remain highly diversified in terms of products, with all key categories (except vehicles) growing faster in 2019-22 period than in the previous decade (the impact of price effects, the most visible in the categories of raw materials, and especially energy).</a:t>
            </a:r>
          </a:p>
        </p:txBody>
      </p:sp>
      <p:sp>
        <p:nvSpPr>
          <p:cNvPr id="123" name="Title 1">
            <a:extLst>
              <a:ext uri="{FF2B5EF4-FFF2-40B4-BE49-F238E27FC236}">
                <a16:creationId xmlns:a16="http://schemas.microsoft.com/office/drawing/2014/main" id="{4111EF61-75AB-4B48-A9C9-8CE8B0B55B32}"/>
              </a:ext>
            </a:extLst>
          </p:cNvPr>
          <p:cNvSpPr txBox="1">
            <a:spLocks/>
          </p:cNvSpPr>
          <p:nvPr/>
        </p:nvSpPr>
        <p:spPr>
          <a:xfrm>
            <a:off x="864739" y="6453951"/>
            <a:ext cx="7658646" cy="206457"/>
          </a:xfrm>
          <a:prstGeom prst="rect">
            <a:avLst/>
          </a:prstGeom>
        </p:spPr>
        <p:txBody>
          <a:bodyPr vert="horz" lIns="0" tIns="0" rIns="0" bIns="0" rtlCol="0" anchor="t" anchorCtr="0">
            <a:noAutofit/>
          </a:bodyPr>
          <a:lstStyle>
            <a:defPPr>
              <a:defRPr lang="en-US"/>
            </a:defPPr>
            <a:lvl1pPr defTabSz="966281">
              <a:spcBef>
                <a:spcPct val="0"/>
              </a:spcBef>
              <a:buNone/>
              <a:tabLst>
                <a:tab pos="291254" algn="l"/>
              </a:tabLst>
              <a:defRPr sz="900" b="0">
                <a:latin typeface="Arial" panose="020B0604020202020204" pitchFamily="34" charset="0"/>
                <a:ea typeface="+mj-ea"/>
                <a:cs typeface="Arial" panose="020B0604020202020204" pitchFamily="34" charset="0"/>
              </a:defRPr>
            </a:lvl1pPr>
          </a:lstStyle>
          <a:p>
            <a:r>
              <a:rPr lang="en-GB" dirty="0"/>
              <a:t>1) As of 2021 - the most up-to-date data available</a:t>
            </a:r>
          </a:p>
          <a:p>
            <a:r>
              <a:rPr lang="en-GB" dirty="0"/>
              <a:t>Source: Statistics Poland, International Trade Centre</a:t>
            </a:r>
          </a:p>
        </p:txBody>
      </p:sp>
      <p:sp>
        <p:nvSpPr>
          <p:cNvPr id="124" name="pole tekstowe 123">
            <a:extLst>
              <a:ext uri="{FF2B5EF4-FFF2-40B4-BE49-F238E27FC236}">
                <a16:creationId xmlns:a16="http://schemas.microsoft.com/office/drawing/2014/main" id="{B525DAA1-D2D5-436C-B63B-52872E343C4C}"/>
              </a:ext>
            </a:extLst>
          </p:cNvPr>
          <p:cNvSpPr txBox="1"/>
          <p:nvPr/>
        </p:nvSpPr>
        <p:spPr>
          <a:xfrm>
            <a:off x="294338" y="4248167"/>
            <a:ext cx="972150" cy="461665"/>
          </a:xfrm>
          <a:prstGeom prst="rect">
            <a:avLst/>
          </a:prstGeom>
          <a:noFill/>
        </p:spPr>
        <p:txBody>
          <a:bodyPr wrap="square" rtlCol="0">
            <a:spAutoFit/>
          </a:bodyPr>
          <a:lstStyle/>
          <a:p>
            <a:pPr algn="r"/>
            <a:r>
              <a:rPr lang="en-GB" sz="1200" i="1" dirty="0">
                <a:latin typeface="Arial" panose="020B0604020202020204" pitchFamily="34" charset="0"/>
                <a:cs typeface="Arial" panose="020B0604020202020204" pitchFamily="34" charset="0"/>
              </a:rPr>
              <a:t>% global trade</a:t>
            </a:r>
          </a:p>
        </p:txBody>
      </p:sp>
      <p:sp>
        <p:nvSpPr>
          <p:cNvPr id="125" name="Owal 124">
            <a:extLst>
              <a:ext uri="{FF2B5EF4-FFF2-40B4-BE49-F238E27FC236}">
                <a16:creationId xmlns:a16="http://schemas.microsoft.com/office/drawing/2014/main" id="{9B80EF3F-159D-4B64-9C1A-298628F074D1}"/>
              </a:ext>
            </a:extLst>
          </p:cNvPr>
          <p:cNvSpPr/>
          <p:nvPr/>
        </p:nvSpPr>
        <p:spPr>
          <a:xfrm>
            <a:off x="1397580" y="4306417"/>
            <a:ext cx="324000" cy="32400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GB" sz="1200" dirty="0">
                <a:solidFill>
                  <a:schemeClr val="tx1"/>
                </a:solidFill>
                <a:cs typeface="Arial" panose="020B0604020202020204" pitchFamily="34" charset="0"/>
              </a:rPr>
              <a:t>0,8</a:t>
            </a:r>
          </a:p>
        </p:txBody>
      </p:sp>
      <p:sp>
        <p:nvSpPr>
          <p:cNvPr id="126" name="Owal 125">
            <a:extLst>
              <a:ext uri="{FF2B5EF4-FFF2-40B4-BE49-F238E27FC236}">
                <a16:creationId xmlns:a16="http://schemas.microsoft.com/office/drawing/2014/main" id="{7B424E68-6303-4AD7-A068-AFDEDA27A26E}"/>
              </a:ext>
            </a:extLst>
          </p:cNvPr>
          <p:cNvSpPr/>
          <p:nvPr/>
        </p:nvSpPr>
        <p:spPr>
          <a:xfrm>
            <a:off x="1777437" y="4306417"/>
            <a:ext cx="324000" cy="32400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GB" sz="1200" dirty="0">
                <a:solidFill>
                  <a:schemeClr val="tx1"/>
                </a:solidFill>
                <a:cs typeface="Arial" panose="020B0604020202020204" pitchFamily="34" charset="0"/>
              </a:rPr>
              <a:t>1,0</a:t>
            </a:r>
          </a:p>
        </p:txBody>
      </p:sp>
      <p:sp>
        <p:nvSpPr>
          <p:cNvPr id="127" name="Owal 126">
            <a:extLst>
              <a:ext uri="{FF2B5EF4-FFF2-40B4-BE49-F238E27FC236}">
                <a16:creationId xmlns:a16="http://schemas.microsoft.com/office/drawing/2014/main" id="{AED4C32C-9ABF-4884-B7FA-80417EE956E4}"/>
              </a:ext>
            </a:extLst>
          </p:cNvPr>
          <p:cNvSpPr/>
          <p:nvPr/>
        </p:nvSpPr>
        <p:spPr>
          <a:xfrm>
            <a:off x="2157294" y="4306417"/>
            <a:ext cx="324000" cy="32400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GB" sz="1200" dirty="0">
                <a:solidFill>
                  <a:schemeClr val="tx1"/>
                </a:solidFill>
                <a:cs typeface="Arial" panose="020B0604020202020204" pitchFamily="34" charset="0"/>
              </a:rPr>
              <a:t>1,1</a:t>
            </a:r>
          </a:p>
        </p:txBody>
      </p:sp>
      <p:sp>
        <p:nvSpPr>
          <p:cNvPr id="128" name="Owal 127">
            <a:extLst>
              <a:ext uri="{FF2B5EF4-FFF2-40B4-BE49-F238E27FC236}">
                <a16:creationId xmlns:a16="http://schemas.microsoft.com/office/drawing/2014/main" id="{3315CED1-1FCE-4F03-9709-754174DD33B4}"/>
              </a:ext>
            </a:extLst>
          </p:cNvPr>
          <p:cNvSpPr/>
          <p:nvPr/>
        </p:nvSpPr>
        <p:spPr>
          <a:xfrm>
            <a:off x="2537151" y="4306417"/>
            <a:ext cx="324000" cy="32400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GB" sz="1200" dirty="0">
                <a:solidFill>
                  <a:schemeClr val="tx1"/>
                </a:solidFill>
                <a:cs typeface="Arial" panose="020B0604020202020204" pitchFamily="34" charset="0"/>
              </a:rPr>
              <a:t>1,1</a:t>
            </a:r>
          </a:p>
        </p:txBody>
      </p:sp>
      <p:sp>
        <p:nvSpPr>
          <p:cNvPr id="129" name="Owal 128">
            <a:extLst>
              <a:ext uri="{FF2B5EF4-FFF2-40B4-BE49-F238E27FC236}">
                <a16:creationId xmlns:a16="http://schemas.microsoft.com/office/drawing/2014/main" id="{D68388CE-F4AD-4C71-B532-A7B898F078FC}"/>
              </a:ext>
            </a:extLst>
          </p:cNvPr>
          <p:cNvSpPr/>
          <p:nvPr/>
        </p:nvSpPr>
        <p:spPr>
          <a:xfrm>
            <a:off x="2917008" y="4306417"/>
            <a:ext cx="324000" cy="32400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GB" sz="1200" dirty="0">
                <a:solidFill>
                  <a:schemeClr val="tx1"/>
                </a:solidFill>
                <a:cs typeface="Arial" panose="020B0604020202020204" pitchFamily="34" charset="0"/>
              </a:rPr>
              <a:t>1,3</a:t>
            </a:r>
          </a:p>
        </p:txBody>
      </p:sp>
      <p:sp>
        <p:nvSpPr>
          <p:cNvPr id="130" name="Owal 129">
            <a:extLst>
              <a:ext uri="{FF2B5EF4-FFF2-40B4-BE49-F238E27FC236}">
                <a16:creationId xmlns:a16="http://schemas.microsoft.com/office/drawing/2014/main" id="{1EB5108F-28AD-44ED-B6C3-A8359CCB92EA}"/>
              </a:ext>
            </a:extLst>
          </p:cNvPr>
          <p:cNvSpPr/>
          <p:nvPr/>
        </p:nvSpPr>
        <p:spPr>
          <a:xfrm>
            <a:off x="3296865" y="4306417"/>
            <a:ext cx="324000" cy="32400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GB" sz="1200" dirty="0">
                <a:solidFill>
                  <a:schemeClr val="tx1"/>
                </a:solidFill>
                <a:cs typeface="Arial" panose="020B0604020202020204" pitchFamily="34" charset="0"/>
              </a:rPr>
              <a:t>1,4</a:t>
            </a:r>
          </a:p>
        </p:txBody>
      </p:sp>
      <p:sp>
        <p:nvSpPr>
          <p:cNvPr id="131" name="Owal 130">
            <a:extLst>
              <a:ext uri="{FF2B5EF4-FFF2-40B4-BE49-F238E27FC236}">
                <a16:creationId xmlns:a16="http://schemas.microsoft.com/office/drawing/2014/main" id="{17BDA02B-26B7-4ED3-9954-A9F3BA422B0B}"/>
              </a:ext>
            </a:extLst>
          </p:cNvPr>
          <p:cNvSpPr/>
          <p:nvPr/>
        </p:nvSpPr>
        <p:spPr>
          <a:xfrm>
            <a:off x="3676721" y="4306417"/>
            <a:ext cx="324000" cy="32400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GB" sz="1200" dirty="0">
                <a:solidFill>
                  <a:schemeClr val="tx1"/>
                </a:solidFill>
                <a:cs typeface="Arial" panose="020B0604020202020204" pitchFamily="34" charset="0"/>
              </a:rPr>
              <a:t>1,5</a:t>
            </a:r>
            <a:r>
              <a:rPr lang="en-GB" sz="1200" baseline="30000" dirty="0">
                <a:solidFill>
                  <a:schemeClr val="tx1"/>
                </a:solidFill>
                <a:cs typeface="Arial" panose="020B0604020202020204" pitchFamily="34" charset="0"/>
              </a:rPr>
              <a:t>1</a:t>
            </a:r>
            <a:endParaRPr lang="en-GB" sz="1200" dirty="0">
              <a:solidFill>
                <a:schemeClr val="tx1"/>
              </a:solidFill>
              <a:cs typeface="Arial" panose="020B0604020202020204" pitchFamily="34" charset="0"/>
            </a:endParaRPr>
          </a:p>
        </p:txBody>
      </p:sp>
    </p:spTree>
    <p:extLst>
      <p:ext uri="{BB962C8B-B14F-4D97-AF65-F5344CB8AC3E}">
        <p14:creationId xmlns:p14="http://schemas.microsoft.com/office/powerpoint/2010/main" val="103541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i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51" name="Obraz 150"/>
          <p:cNvPicPr/>
          <p:nvPr/>
        </p:nvPicPr>
        <p:blipFill rotWithShape="1">
          <a:blip r:embed="rId7">
            <a:extLst>
              <a:ext uri="{28A0092B-C50C-407E-A947-70E740481C1C}">
                <a14:useLocalDpi xmlns:a14="http://schemas.microsoft.com/office/drawing/2010/main" val="0"/>
              </a:ext>
            </a:extLst>
          </a:blip>
          <a:srcRect l="62014" b="51403"/>
          <a:stretch/>
        </p:blipFill>
        <p:spPr bwMode="auto">
          <a:xfrm>
            <a:off x="11472814" y="663812"/>
            <a:ext cx="706057" cy="1157468"/>
          </a:xfrm>
          <a:prstGeom prst="rect">
            <a:avLst/>
          </a:prstGeom>
          <a:noFill/>
        </p:spPr>
      </p:pic>
      <p:sp>
        <p:nvSpPr>
          <p:cNvPr id="120" name="Tytuł 5">
            <a:extLst>
              <a:ext uri="{FF2B5EF4-FFF2-40B4-BE49-F238E27FC236}">
                <a16:creationId xmlns:a16="http://schemas.microsoft.com/office/drawing/2014/main" id="{7FBB928C-12E5-4639-BBE7-F4656A58C202}"/>
              </a:ext>
            </a:extLst>
          </p:cNvPr>
          <p:cNvSpPr>
            <a:spLocks noGrp="1"/>
          </p:cNvSpPr>
          <p:nvPr>
            <p:ph type="title"/>
          </p:nvPr>
        </p:nvSpPr>
        <p:spPr>
          <a:xfrm>
            <a:off x="490537" y="105267"/>
            <a:ext cx="11210925" cy="699495"/>
          </a:xfrm>
        </p:spPr>
        <p:txBody>
          <a:bodyPr vert="horz" wrap="square" lIns="0" tIns="0" rIns="0" bIns="0" rtlCol="0" anchor="t">
            <a:noAutofit/>
          </a:bodyPr>
          <a:lstStyle/>
          <a:p>
            <a:r>
              <a:rPr lang="en-GB" sz="2000" kern="0" dirty="0"/>
              <a:t>The portfolio of foreign direct investments in Poland grows systematically. The trend accelerated after 2015, and the outbreak of the pandemic slowed it down only temporarily.</a:t>
            </a:r>
            <a:br>
              <a:rPr lang="en-GB" sz="2000" kern="0" dirty="0"/>
            </a:br>
            <a:br>
              <a:rPr lang="en-GB" sz="2000" kern="0" dirty="0"/>
            </a:br>
            <a:endParaRPr lang="en-GB" sz="2000" kern="0" dirty="0"/>
          </a:p>
        </p:txBody>
      </p:sp>
      <p:cxnSp>
        <p:nvCxnSpPr>
          <p:cNvPr id="121" name="Łącznik prosty 120"/>
          <p:cNvCxnSpPr/>
          <p:nvPr/>
        </p:nvCxnSpPr>
        <p:spPr>
          <a:xfrm>
            <a:off x="0" y="711004"/>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27" name="Wykres 26">
            <a:extLst>
              <a:ext uri="{FF2B5EF4-FFF2-40B4-BE49-F238E27FC236}">
                <a16:creationId xmlns:a16="http://schemas.microsoft.com/office/drawing/2014/main" id="{5397F4D9-9AF1-4CF6-A3EE-13C3FC7C89BE}"/>
              </a:ext>
            </a:extLst>
          </p:cNvPr>
          <p:cNvGraphicFramePr/>
          <p:nvPr>
            <p:extLst>
              <p:ext uri="{D42A27DB-BD31-4B8C-83A1-F6EECF244321}">
                <p14:modId xmlns:p14="http://schemas.microsoft.com/office/powerpoint/2010/main" val="2635655508"/>
              </p:ext>
            </p:extLst>
          </p:nvPr>
        </p:nvGraphicFramePr>
        <p:xfrm>
          <a:off x="9191883" y="1628326"/>
          <a:ext cx="3052370" cy="2533778"/>
        </p:xfrm>
        <a:graphic>
          <a:graphicData uri="http://schemas.openxmlformats.org/drawingml/2006/chart">
            <c:chart xmlns:c="http://schemas.openxmlformats.org/drawingml/2006/chart" xmlns:r="http://schemas.openxmlformats.org/officeDocument/2006/relationships" r:id="rId8"/>
          </a:graphicData>
        </a:graphic>
      </p:graphicFrame>
      <p:sp>
        <p:nvSpPr>
          <p:cNvPr id="28" name="pole tekstowe 27">
            <a:extLst>
              <a:ext uri="{FF2B5EF4-FFF2-40B4-BE49-F238E27FC236}">
                <a16:creationId xmlns:a16="http://schemas.microsoft.com/office/drawing/2014/main" id="{2FEFACF6-0C75-40E8-A448-27C2A4FFDB8B}"/>
              </a:ext>
            </a:extLst>
          </p:cNvPr>
          <p:cNvSpPr txBox="1"/>
          <p:nvPr/>
        </p:nvSpPr>
        <p:spPr>
          <a:xfrm>
            <a:off x="864739" y="788118"/>
            <a:ext cx="4898103" cy="334835"/>
          </a:xfrm>
          <a:prstGeom prst="rect">
            <a:avLst/>
          </a:prstGeom>
          <a:noFill/>
        </p:spPr>
        <p:txBody>
          <a:bodyPr wrap="square" lIns="91360" tIns="89920" rIns="91360" bIns="89920" rtlCol="0" anchor="t">
            <a:noAutofit/>
          </a:bodyPr>
          <a:lstStyle/>
          <a:p>
            <a:r>
              <a:rPr lang="en-GB" sz="1400" b="1" dirty="0">
                <a:cs typeface="Arial" panose="020B0604020202020204" pitchFamily="34" charset="0"/>
              </a:rPr>
              <a:t>Foreign direct investment in Poland inward position </a:t>
            </a:r>
          </a:p>
        </p:txBody>
      </p:sp>
      <p:sp>
        <p:nvSpPr>
          <p:cNvPr id="29" name="pole tekstowe 28">
            <a:extLst>
              <a:ext uri="{FF2B5EF4-FFF2-40B4-BE49-F238E27FC236}">
                <a16:creationId xmlns:a16="http://schemas.microsoft.com/office/drawing/2014/main" id="{78C5A723-7C3F-4358-A693-A206F77A4AD0}"/>
              </a:ext>
            </a:extLst>
          </p:cNvPr>
          <p:cNvSpPr txBox="1"/>
          <p:nvPr/>
        </p:nvSpPr>
        <p:spPr>
          <a:xfrm>
            <a:off x="5324236" y="788117"/>
            <a:ext cx="5599354" cy="334835"/>
          </a:xfrm>
          <a:prstGeom prst="rect">
            <a:avLst/>
          </a:prstGeom>
          <a:noFill/>
        </p:spPr>
        <p:txBody>
          <a:bodyPr wrap="square" lIns="91360" tIns="89920" rIns="91360" bIns="89920" rtlCol="0" anchor="t">
            <a:noAutofit/>
          </a:bodyPr>
          <a:lstStyle/>
          <a:p>
            <a:r>
              <a:rPr lang="en-GB" sz="1400" b="1" dirty="0">
                <a:cs typeface="Arial" panose="020B0604020202020204" pitchFamily="34" charset="0"/>
              </a:rPr>
              <a:t>Geographical and product structure of FDIs</a:t>
            </a:r>
          </a:p>
        </p:txBody>
      </p:sp>
      <p:sp>
        <p:nvSpPr>
          <p:cNvPr id="33" name="pole tekstowe 32">
            <a:extLst>
              <a:ext uri="{FF2B5EF4-FFF2-40B4-BE49-F238E27FC236}">
                <a16:creationId xmlns:a16="http://schemas.microsoft.com/office/drawing/2014/main" id="{4F6E52D9-198D-4B14-B56E-15D11D3B68F7}"/>
              </a:ext>
            </a:extLst>
          </p:cNvPr>
          <p:cNvSpPr txBox="1"/>
          <p:nvPr/>
        </p:nvSpPr>
        <p:spPr>
          <a:xfrm>
            <a:off x="4075337" y="1238097"/>
            <a:ext cx="972150" cy="276999"/>
          </a:xfrm>
          <a:prstGeom prst="rect">
            <a:avLst/>
          </a:prstGeom>
          <a:noFill/>
        </p:spPr>
        <p:txBody>
          <a:bodyPr wrap="square" rtlCol="0">
            <a:spAutoFit/>
          </a:bodyPr>
          <a:lstStyle/>
          <a:p>
            <a:pPr algn="ctr"/>
            <a:r>
              <a:rPr lang="en-GB" sz="1200" i="1" dirty="0">
                <a:cs typeface="Arial" panose="020B0604020202020204" pitchFamily="34" charset="0"/>
              </a:rPr>
              <a:t>CAGR</a:t>
            </a:r>
          </a:p>
        </p:txBody>
      </p:sp>
      <p:sp>
        <p:nvSpPr>
          <p:cNvPr id="34" name="pole tekstowe 33">
            <a:extLst>
              <a:ext uri="{FF2B5EF4-FFF2-40B4-BE49-F238E27FC236}">
                <a16:creationId xmlns:a16="http://schemas.microsoft.com/office/drawing/2014/main" id="{D4D60DE6-B252-4C73-8155-5A856B72FDBD}"/>
              </a:ext>
            </a:extLst>
          </p:cNvPr>
          <p:cNvSpPr txBox="1"/>
          <p:nvPr/>
        </p:nvSpPr>
        <p:spPr>
          <a:xfrm>
            <a:off x="3866205" y="1515096"/>
            <a:ext cx="753710" cy="276999"/>
          </a:xfrm>
          <a:prstGeom prst="rect">
            <a:avLst/>
          </a:prstGeom>
          <a:noFill/>
        </p:spPr>
        <p:txBody>
          <a:bodyPr wrap="square" rtlCol="0">
            <a:spAutoFit/>
          </a:bodyPr>
          <a:lstStyle/>
          <a:p>
            <a:pPr algn="ctr"/>
            <a:r>
              <a:rPr lang="en-GB" sz="1200" i="1" dirty="0">
                <a:cs typeface="Arial" panose="020B0604020202020204" pitchFamily="34" charset="0"/>
              </a:rPr>
              <a:t>2010-15</a:t>
            </a:r>
          </a:p>
        </p:txBody>
      </p:sp>
      <p:sp>
        <p:nvSpPr>
          <p:cNvPr id="37" name="pole tekstowe 36">
            <a:extLst>
              <a:ext uri="{FF2B5EF4-FFF2-40B4-BE49-F238E27FC236}">
                <a16:creationId xmlns:a16="http://schemas.microsoft.com/office/drawing/2014/main" id="{60D94944-C125-4B98-B8F0-DEC618761DA3}"/>
              </a:ext>
            </a:extLst>
          </p:cNvPr>
          <p:cNvSpPr txBox="1"/>
          <p:nvPr/>
        </p:nvSpPr>
        <p:spPr>
          <a:xfrm>
            <a:off x="4502910" y="1515096"/>
            <a:ext cx="753710" cy="276999"/>
          </a:xfrm>
          <a:prstGeom prst="rect">
            <a:avLst/>
          </a:prstGeom>
          <a:noFill/>
        </p:spPr>
        <p:txBody>
          <a:bodyPr wrap="square" rtlCol="0">
            <a:spAutoFit/>
          </a:bodyPr>
          <a:lstStyle/>
          <a:p>
            <a:pPr algn="ctr"/>
            <a:r>
              <a:rPr lang="en-GB" sz="1200" i="1" dirty="0">
                <a:cs typeface="Arial" panose="020B0604020202020204" pitchFamily="34" charset="0"/>
              </a:rPr>
              <a:t>2015-21</a:t>
            </a:r>
          </a:p>
        </p:txBody>
      </p:sp>
      <p:sp>
        <p:nvSpPr>
          <p:cNvPr id="38" name="pole tekstowe 37">
            <a:extLst>
              <a:ext uri="{FF2B5EF4-FFF2-40B4-BE49-F238E27FC236}">
                <a16:creationId xmlns:a16="http://schemas.microsoft.com/office/drawing/2014/main" id="{8D643FA7-65D2-4564-BC55-25A3356F8882}"/>
              </a:ext>
            </a:extLst>
          </p:cNvPr>
          <p:cNvSpPr txBox="1"/>
          <p:nvPr/>
        </p:nvSpPr>
        <p:spPr>
          <a:xfrm>
            <a:off x="3904394" y="1927909"/>
            <a:ext cx="677333" cy="276999"/>
          </a:xfrm>
          <a:prstGeom prst="rect">
            <a:avLst/>
          </a:prstGeom>
          <a:noFill/>
        </p:spPr>
        <p:txBody>
          <a:bodyPr wrap="square" rtlCol="0">
            <a:spAutoFit/>
          </a:bodyPr>
          <a:lstStyle/>
          <a:p>
            <a:pPr algn="ctr"/>
            <a:r>
              <a:rPr lang="en-GB" sz="1200" b="1" dirty="0">
                <a:solidFill>
                  <a:srgbClr val="92D050"/>
                </a:solidFill>
                <a:latin typeface="Arial" panose="020B0604020202020204" pitchFamily="34" charset="0"/>
                <a:cs typeface="Arial" panose="020B0604020202020204" pitchFamily="34" charset="0"/>
              </a:rPr>
              <a:t>+1%</a:t>
            </a:r>
          </a:p>
        </p:txBody>
      </p:sp>
      <p:sp>
        <p:nvSpPr>
          <p:cNvPr id="40" name="pole tekstowe 39">
            <a:extLst>
              <a:ext uri="{FF2B5EF4-FFF2-40B4-BE49-F238E27FC236}">
                <a16:creationId xmlns:a16="http://schemas.microsoft.com/office/drawing/2014/main" id="{E575FD2D-A13F-4698-8748-906EF5FC6800}"/>
              </a:ext>
            </a:extLst>
          </p:cNvPr>
          <p:cNvSpPr txBox="1"/>
          <p:nvPr/>
        </p:nvSpPr>
        <p:spPr>
          <a:xfrm>
            <a:off x="4541099" y="1927909"/>
            <a:ext cx="677333" cy="276999"/>
          </a:xfrm>
          <a:prstGeom prst="rect">
            <a:avLst/>
          </a:prstGeom>
          <a:noFill/>
        </p:spPr>
        <p:txBody>
          <a:bodyPr wrap="square" rtlCol="0">
            <a:spAutoFit/>
          </a:bodyPr>
          <a:lstStyle/>
          <a:p>
            <a:pPr algn="ctr"/>
            <a:r>
              <a:rPr lang="en-GB" sz="1200" b="1" dirty="0">
                <a:solidFill>
                  <a:srgbClr val="00B050"/>
                </a:solidFill>
                <a:latin typeface="Arial" panose="020B0604020202020204" pitchFamily="34" charset="0"/>
                <a:cs typeface="Arial" panose="020B0604020202020204" pitchFamily="34" charset="0"/>
              </a:rPr>
              <a:t>+6%</a:t>
            </a:r>
          </a:p>
        </p:txBody>
      </p:sp>
      <p:graphicFrame>
        <p:nvGraphicFramePr>
          <p:cNvPr id="49" name="Wykres 48">
            <a:extLst>
              <a:ext uri="{FF2B5EF4-FFF2-40B4-BE49-F238E27FC236}">
                <a16:creationId xmlns:a16="http://schemas.microsoft.com/office/drawing/2014/main" id="{89B04215-F69E-4768-87D2-656078CD5E5A}"/>
              </a:ext>
            </a:extLst>
          </p:cNvPr>
          <p:cNvGraphicFramePr/>
          <p:nvPr>
            <p:extLst>
              <p:ext uri="{D42A27DB-BD31-4B8C-83A1-F6EECF244321}">
                <p14:modId xmlns:p14="http://schemas.microsoft.com/office/powerpoint/2010/main" val="1520867402"/>
              </p:ext>
            </p:extLst>
          </p:nvPr>
        </p:nvGraphicFramePr>
        <p:xfrm>
          <a:off x="5362629" y="1673061"/>
          <a:ext cx="3052370" cy="2533778"/>
        </p:xfrm>
        <a:graphic>
          <a:graphicData uri="http://schemas.openxmlformats.org/drawingml/2006/chart">
            <c:chart xmlns:c="http://schemas.openxmlformats.org/drawingml/2006/chart" xmlns:r="http://schemas.openxmlformats.org/officeDocument/2006/relationships" r:id="rId9"/>
          </a:graphicData>
        </a:graphic>
      </p:graphicFrame>
      <p:sp>
        <p:nvSpPr>
          <p:cNvPr id="50" name="pole tekstowe 49">
            <a:extLst>
              <a:ext uri="{FF2B5EF4-FFF2-40B4-BE49-F238E27FC236}">
                <a16:creationId xmlns:a16="http://schemas.microsoft.com/office/drawing/2014/main" id="{F538B547-2B9F-4211-B0F6-22637889E417}"/>
              </a:ext>
            </a:extLst>
          </p:cNvPr>
          <p:cNvSpPr txBox="1"/>
          <p:nvPr/>
        </p:nvSpPr>
        <p:spPr>
          <a:xfrm>
            <a:off x="5339625" y="1342823"/>
            <a:ext cx="2108298" cy="461665"/>
          </a:xfrm>
          <a:prstGeom prst="rect">
            <a:avLst/>
          </a:prstGeom>
          <a:noFill/>
        </p:spPr>
        <p:txBody>
          <a:bodyPr wrap="square" rtlCol="0">
            <a:spAutoFit/>
          </a:bodyPr>
          <a:lstStyle/>
          <a:p>
            <a:r>
              <a:rPr lang="en-GB" sz="1200" i="1" dirty="0">
                <a:cs typeface="Arial" panose="020B0604020202020204" pitchFamily="34" charset="0"/>
              </a:rPr>
              <a:t>Top 10 investors,</a:t>
            </a:r>
            <a:br>
              <a:rPr lang="en-GB" sz="1200" i="1" dirty="0">
                <a:cs typeface="Arial" panose="020B0604020202020204" pitchFamily="34" charset="0"/>
              </a:rPr>
            </a:br>
            <a:r>
              <a:rPr lang="en-GB" sz="1200" i="1" dirty="0">
                <a:cs typeface="Arial" panose="020B0604020202020204" pitchFamily="34" charset="0"/>
              </a:rPr>
              <a:t>2022</a:t>
            </a:r>
          </a:p>
        </p:txBody>
      </p:sp>
      <p:sp>
        <p:nvSpPr>
          <p:cNvPr id="51" name="pole tekstowe 50">
            <a:extLst>
              <a:ext uri="{FF2B5EF4-FFF2-40B4-BE49-F238E27FC236}">
                <a16:creationId xmlns:a16="http://schemas.microsoft.com/office/drawing/2014/main" id="{BD53B68E-78A5-4184-9ADE-960DAF5A7C15}"/>
              </a:ext>
            </a:extLst>
          </p:cNvPr>
          <p:cNvSpPr txBox="1"/>
          <p:nvPr/>
        </p:nvSpPr>
        <p:spPr>
          <a:xfrm>
            <a:off x="8095620" y="1342823"/>
            <a:ext cx="2832025" cy="461665"/>
          </a:xfrm>
          <a:prstGeom prst="rect">
            <a:avLst/>
          </a:prstGeom>
          <a:noFill/>
        </p:spPr>
        <p:txBody>
          <a:bodyPr wrap="square" rtlCol="0">
            <a:spAutoFit/>
          </a:bodyPr>
          <a:lstStyle/>
          <a:p>
            <a:r>
              <a:rPr lang="en-GB" sz="1200" i="1" dirty="0">
                <a:cs typeface="Arial" panose="020B0604020202020204" pitchFamily="34" charset="0"/>
              </a:rPr>
              <a:t>FDI inward position by economic activity, </a:t>
            </a:r>
            <a:br>
              <a:rPr lang="en-GB" sz="1200" i="1" dirty="0">
                <a:cs typeface="Arial" panose="020B0604020202020204" pitchFamily="34" charset="0"/>
              </a:rPr>
            </a:br>
            <a:r>
              <a:rPr lang="en-GB" sz="1200" i="1" dirty="0">
                <a:cs typeface="Arial" panose="020B0604020202020204" pitchFamily="34" charset="0"/>
              </a:rPr>
              <a:t>2022</a:t>
            </a:r>
          </a:p>
        </p:txBody>
      </p:sp>
      <p:sp>
        <p:nvSpPr>
          <p:cNvPr id="52" name="pole tekstowe 51">
            <a:extLst>
              <a:ext uri="{FF2B5EF4-FFF2-40B4-BE49-F238E27FC236}">
                <a16:creationId xmlns:a16="http://schemas.microsoft.com/office/drawing/2014/main" id="{B9127A41-3CDB-4908-92A8-19F6770C6E9D}"/>
              </a:ext>
            </a:extLst>
          </p:cNvPr>
          <p:cNvSpPr txBox="1"/>
          <p:nvPr/>
        </p:nvSpPr>
        <p:spPr>
          <a:xfrm>
            <a:off x="6804402" y="1433569"/>
            <a:ext cx="972150" cy="276999"/>
          </a:xfrm>
          <a:prstGeom prst="rect">
            <a:avLst/>
          </a:prstGeom>
          <a:noFill/>
        </p:spPr>
        <p:txBody>
          <a:bodyPr wrap="square" rtlCol="0">
            <a:spAutoFit/>
          </a:bodyPr>
          <a:lstStyle/>
          <a:p>
            <a:pPr algn="ctr"/>
            <a:r>
              <a:rPr lang="en-GB" sz="1200" i="1" dirty="0">
                <a:cs typeface="Arial" panose="020B0604020202020204" pitchFamily="34" charset="0"/>
              </a:rPr>
              <a:t>CAGR</a:t>
            </a:r>
          </a:p>
        </p:txBody>
      </p:sp>
      <p:sp>
        <p:nvSpPr>
          <p:cNvPr id="53" name="pole tekstowe 52">
            <a:extLst>
              <a:ext uri="{FF2B5EF4-FFF2-40B4-BE49-F238E27FC236}">
                <a16:creationId xmlns:a16="http://schemas.microsoft.com/office/drawing/2014/main" id="{73C8EE3F-261D-46A7-B409-19E36DDB2CA2}"/>
              </a:ext>
            </a:extLst>
          </p:cNvPr>
          <p:cNvSpPr txBox="1"/>
          <p:nvPr/>
        </p:nvSpPr>
        <p:spPr>
          <a:xfrm>
            <a:off x="6613332" y="1672068"/>
            <a:ext cx="753710" cy="276999"/>
          </a:xfrm>
          <a:prstGeom prst="rect">
            <a:avLst/>
          </a:prstGeom>
          <a:noFill/>
        </p:spPr>
        <p:txBody>
          <a:bodyPr wrap="square" rtlCol="0">
            <a:spAutoFit/>
          </a:bodyPr>
          <a:lstStyle/>
          <a:p>
            <a:pPr algn="ctr"/>
            <a:r>
              <a:rPr lang="en-GB" sz="1200" i="1" dirty="0">
                <a:cs typeface="Arial" panose="020B0604020202020204" pitchFamily="34" charset="0"/>
              </a:rPr>
              <a:t>’10-’15</a:t>
            </a:r>
          </a:p>
        </p:txBody>
      </p:sp>
      <p:sp>
        <p:nvSpPr>
          <p:cNvPr id="54" name="pole tekstowe 53">
            <a:extLst>
              <a:ext uri="{FF2B5EF4-FFF2-40B4-BE49-F238E27FC236}">
                <a16:creationId xmlns:a16="http://schemas.microsoft.com/office/drawing/2014/main" id="{CED83E27-F13F-4D3F-9CC6-0D2851C9560A}"/>
              </a:ext>
            </a:extLst>
          </p:cNvPr>
          <p:cNvSpPr txBox="1"/>
          <p:nvPr/>
        </p:nvSpPr>
        <p:spPr>
          <a:xfrm>
            <a:off x="7213912" y="1672068"/>
            <a:ext cx="753710" cy="276999"/>
          </a:xfrm>
          <a:prstGeom prst="rect">
            <a:avLst/>
          </a:prstGeom>
          <a:noFill/>
        </p:spPr>
        <p:txBody>
          <a:bodyPr wrap="square" rtlCol="0">
            <a:spAutoFit/>
          </a:bodyPr>
          <a:lstStyle/>
          <a:p>
            <a:pPr algn="ctr"/>
            <a:r>
              <a:rPr lang="en-GB" sz="1200" i="1" dirty="0">
                <a:cs typeface="Arial" panose="020B0604020202020204" pitchFamily="34" charset="0"/>
              </a:rPr>
              <a:t>’15-’21</a:t>
            </a:r>
          </a:p>
        </p:txBody>
      </p:sp>
      <p:sp>
        <p:nvSpPr>
          <p:cNvPr id="55" name="pole tekstowe 54">
            <a:extLst>
              <a:ext uri="{FF2B5EF4-FFF2-40B4-BE49-F238E27FC236}">
                <a16:creationId xmlns:a16="http://schemas.microsoft.com/office/drawing/2014/main" id="{B2E0068B-AB23-482F-AA05-2BC2563B55DB}"/>
              </a:ext>
            </a:extLst>
          </p:cNvPr>
          <p:cNvSpPr txBox="1"/>
          <p:nvPr/>
        </p:nvSpPr>
        <p:spPr>
          <a:xfrm>
            <a:off x="5339625" y="1101644"/>
            <a:ext cx="972150" cy="276999"/>
          </a:xfrm>
          <a:prstGeom prst="rect">
            <a:avLst/>
          </a:prstGeom>
          <a:noFill/>
        </p:spPr>
        <p:txBody>
          <a:bodyPr wrap="square" rtlCol="0">
            <a:spAutoFit/>
          </a:bodyPr>
          <a:lstStyle/>
          <a:p>
            <a:r>
              <a:rPr lang="en-GB" sz="1200" i="1" dirty="0">
                <a:cs typeface="Arial" panose="020B0604020202020204" pitchFamily="34" charset="0"/>
              </a:rPr>
              <a:t>bn euros</a:t>
            </a:r>
          </a:p>
        </p:txBody>
      </p:sp>
      <p:sp>
        <p:nvSpPr>
          <p:cNvPr id="56" name="pole tekstowe 55">
            <a:extLst>
              <a:ext uri="{FF2B5EF4-FFF2-40B4-BE49-F238E27FC236}">
                <a16:creationId xmlns:a16="http://schemas.microsoft.com/office/drawing/2014/main" id="{E02CDA28-EF09-4C62-BAFF-B36F43C174E4}"/>
              </a:ext>
            </a:extLst>
          </p:cNvPr>
          <p:cNvSpPr txBox="1"/>
          <p:nvPr/>
        </p:nvSpPr>
        <p:spPr>
          <a:xfrm>
            <a:off x="6651521" y="1939777"/>
            <a:ext cx="677333" cy="276999"/>
          </a:xfrm>
          <a:prstGeom prst="rect">
            <a:avLst/>
          </a:prstGeom>
          <a:noFill/>
        </p:spPr>
        <p:txBody>
          <a:bodyPr wrap="square" rtlCol="0">
            <a:spAutoFit/>
          </a:bodyPr>
          <a:lstStyle/>
          <a:p>
            <a:pPr algn="ctr"/>
            <a:r>
              <a:rPr lang="en-GB" sz="1200" b="1" dirty="0">
                <a:solidFill>
                  <a:srgbClr val="92D050"/>
                </a:solidFill>
                <a:cs typeface="Arial" panose="020B0604020202020204" pitchFamily="34" charset="0"/>
              </a:rPr>
              <a:t>+2%</a:t>
            </a:r>
          </a:p>
        </p:txBody>
      </p:sp>
      <p:sp>
        <p:nvSpPr>
          <p:cNvPr id="57" name="pole tekstowe 56">
            <a:extLst>
              <a:ext uri="{FF2B5EF4-FFF2-40B4-BE49-F238E27FC236}">
                <a16:creationId xmlns:a16="http://schemas.microsoft.com/office/drawing/2014/main" id="{DDB72436-2F19-46BC-863D-30AC36FA6718}"/>
              </a:ext>
            </a:extLst>
          </p:cNvPr>
          <p:cNvSpPr txBox="1"/>
          <p:nvPr/>
        </p:nvSpPr>
        <p:spPr>
          <a:xfrm>
            <a:off x="7252101" y="1939777"/>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7%</a:t>
            </a:r>
          </a:p>
        </p:txBody>
      </p:sp>
      <p:sp>
        <p:nvSpPr>
          <p:cNvPr id="58" name="pole tekstowe 57">
            <a:extLst>
              <a:ext uri="{FF2B5EF4-FFF2-40B4-BE49-F238E27FC236}">
                <a16:creationId xmlns:a16="http://schemas.microsoft.com/office/drawing/2014/main" id="{567889EA-94E5-4CB0-BCEB-2F6204BC921A}"/>
              </a:ext>
            </a:extLst>
          </p:cNvPr>
          <p:cNvSpPr txBox="1"/>
          <p:nvPr/>
        </p:nvSpPr>
        <p:spPr>
          <a:xfrm>
            <a:off x="6651521" y="2151854"/>
            <a:ext cx="677333" cy="276999"/>
          </a:xfrm>
          <a:prstGeom prst="rect">
            <a:avLst/>
          </a:prstGeom>
          <a:noFill/>
        </p:spPr>
        <p:txBody>
          <a:bodyPr wrap="square" rtlCol="0">
            <a:spAutoFit/>
          </a:bodyPr>
          <a:lstStyle/>
          <a:p>
            <a:pPr algn="ctr"/>
            <a:r>
              <a:rPr lang="en-GB" sz="1200" b="1" dirty="0">
                <a:solidFill>
                  <a:srgbClr val="92D050"/>
                </a:solidFill>
                <a:cs typeface="Arial" panose="020B0604020202020204" pitchFamily="34" charset="0"/>
              </a:rPr>
              <a:t>+4%</a:t>
            </a:r>
          </a:p>
        </p:txBody>
      </p:sp>
      <p:sp>
        <p:nvSpPr>
          <p:cNvPr id="59" name="pole tekstowe 58">
            <a:extLst>
              <a:ext uri="{FF2B5EF4-FFF2-40B4-BE49-F238E27FC236}">
                <a16:creationId xmlns:a16="http://schemas.microsoft.com/office/drawing/2014/main" id="{882E2311-BBDE-40DD-BB34-924FD6A7A986}"/>
              </a:ext>
            </a:extLst>
          </p:cNvPr>
          <p:cNvSpPr txBox="1"/>
          <p:nvPr/>
        </p:nvSpPr>
        <p:spPr>
          <a:xfrm>
            <a:off x="7252101" y="2151854"/>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8%</a:t>
            </a:r>
          </a:p>
        </p:txBody>
      </p:sp>
      <p:sp>
        <p:nvSpPr>
          <p:cNvPr id="60" name="pole tekstowe 59">
            <a:extLst>
              <a:ext uri="{FF2B5EF4-FFF2-40B4-BE49-F238E27FC236}">
                <a16:creationId xmlns:a16="http://schemas.microsoft.com/office/drawing/2014/main" id="{69B1628D-1E7B-4B63-B2C0-0F8CC0BF653D}"/>
              </a:ext>
            </a:extLst>
          </p:cNvPr>
          <p:cNvSpPr txBox="1"/>
          <p:nvPr/>
        </p:nvSpPr>
        <p:spPr>
          <a:xfrm>
            <a:off x="6651521" y="2363931"/>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1%</a:t>
            </a:r>
          </a:p>
        </p:txBody>
      </p:sp>
      <p:sp>
        <p:nvSpPr>
          <p:cNvPr id="61" name="pole tekstowe 60">
            <a:extLst>
              <a:ext uri="{FF2B5EF4-FFF2-40B4-BE49-F238E27FC236}">
                <a16:creationId xmlns:a16="http://schemas.microsoft.com/office/drawing/2014/main" id="{15E07D7A-2917-4C44-925D-B251094A1A11}"/>
              </a:ext>
            </a:extLst>
          </p:cNvPr>
          <p:cNvSpPr txBox="1"/>
          <p:nvPr/>
        </p:nvSpPr>
        <p:spPr>
          <a:xfrm>
            <a:off x="7252101" y="2363931"/>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5%</a:t>
            </a:r>
          </a:p>
        </p:txBody>
      </p:sp>
      <p:sp>
        <p:nvSpPr>
          <p:cNvPr id="62" name="pole tekstowe 61">
            <a:extLst>
              <a:ext uri="{FF2B5EF4-FFF2-40B4-BE49-F238E27FC236}">
                <a16:creationId xmlns:a16="http://schemas.microsoft.com/office/drawing/2014/main" id="{2A4133AA-8C38-4AA0-9FAC-CF2F552BB8C7}"/>
              </a:ext>
            </a:extLst>
          </p:cNvPr>
          <p:cNvSpPr txBox="1"/>
          <p:nvPr/>
        </p:nvSpPr>
        <p:spPr>
          <a:xfrm>
            <a:off x="6651521" y="2576008"/>
            <a:ext cx="677333" cy="276999"/>
          </a:xfrm>
          <a:prstGeom prst="rect">
            <a:avLst/>
          </a:prstGeom>
          <a:noFill/>
        </p:spPr>
        <p:txBody>
          <a:bodyPr wrap="square" rtlCol="0">
            <a:spAutoFit/>
          </a:bodyPr>
          <a:lstStyle/>
          <a:p>
            <a:pPr algn="ctr"/>
            <a:r>
              <a:rPr lang="en-GB" sz="1200" b="1" dirty="0">
                <a:solidFill>
                  <a:srgbClr val="DF7F7F"/>
                </a:solidFill>
                <a:cs typeface="Arial" panose="020B0604020202020204" pitchFamily="34" charset="0"/>
              </a:rPr>
              <a:t>-1%</a:t>
            </a:r>
          </a:p>
        </p:txBody>
      </p:sp>
      <p:sp>
        <p:nvSpPr>
          <p:cNvPr id="63" name="pole tekstowe 62">
            <a:extLst>
              <a:ext uri="{FF2B5EF4-FFF2-40B4-BE49-F238E27FC236}">
                <a16:creationId xmlns:a16="http://schemas.microsoft.com/office/drawing/2014/main" id="{00CFE3F9-7F94-412E-896C-99563D83D29A}"/>
              </a:ext>
            </a:extLst>
          </p:cNvPr>
          <p:cNvSpPr txBox="1"/>
          <p:nvPr/>
        </p:nvSpPr>
        <p:spPr>
          <a:xfrm>
            <a:off x="7252101" y="2576008"/>
            <a:ext cx="677333" cy="276999"/>
          </a:xfrm>
          <a:prstGeom prst="rect">
            <a:avLst/>
          </a:prstGeom>
          <a:noFill/>
        </p:spPr>
        <p:txBody>
          <a:bodyPr wrap="square" rtlCol="0">
            <a:spAutoFit/>
          </a:bodyPr>
          <a:lstStyle/>
          <a:p>
            <a:pPr algn="ctr"/>
            <a:r>
              <a:rPr lang="en-GB" sz="1200" b="1" dirty="0">
                <a:solidFill>
                  <a:srgbClr val="92D050"/>
                </a:solidFill>
                <a:cs typeface="Arial" panose="020B0604020202020204" pitchFamily="34" charset="0"/>
              </a:rPr>
              <a:t>+2%</a:t>
            </a:r>
          </a:p>
        </p:txBody>
      </p:sp>
      <p:sp>
        <p:nvSpPr>
          <p:cNvPr id="64" name="pole tekstowe 63">
            <a:extLst>
              <a:ext uri="{FF2B5EF4-FFF2-40B4-BE49-F238E27FC236}">
                <a16:creationId xmlns:a16="http://schemas.microsoft.com/office/drawing/2014/main" id="{A43A2518-5668-4B34-B4C6-B2B67653D670}"/>
              </a:ext>
            </a:extLst>
          </p:cNvPr>
          <p:cNvSpPr txBox="1"/>
          <p:nvPr/>
        </p:nvSpPr>
        <p:spPr>
          <a:xfrm>
            <a:off x="6651521" y="2788085"/>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1%</a:t>
            </a:r>
          </a:p>
        </p:txBody>
      </p:sp>
      <p:sp>
        <p:nvSpPr>
          <p:cNvPr id="65" name="pole tekstowe 64">
            <a:extLst>
              <a:ext uri="{FF2B5EF4-FFF2-40B4-BE49-F238E27FC236}">
                <a16:creationId xmlns:a16="http://schemas.microsoft.com/office/drawing/2014/main" id="{396AD905-075E-44B5-A504-0C7B57E8DBA7}"/>
              </a:ext>
            </a:extLst>
          </p:cNvPr>
          <p:cNvSpPr txBox="1"/>
          <p:nvPr/>
        </p:nvSpPr>
        <p:spPr>
          <a:xfrm>
            <a:off x="7252101" y="2788085"/>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2%</a:t>
            </a:r>
          </a:p>
        </p:txBody>
      </p:sp>
      <p:sp>
        <p:nvSpPr>
          <p:cNvPr id="66" name="pole tekstowe 65">
            <a:extLst>
              <a:ext uri="{FF2B5EF4-FFF2-40B4-BE49-F238E27FC236}">
                <a16:creationId xmlns:a16="http://schemas.microsoft.com/office/drawing/2014/main" id="{A9BF30C0-2F94-4B40-A03F-4012760BBE18}"/>
              </a:ext>
            </a:extLst>
          </p:cNvPr>
          <p:cNvSpPr txBox="1"/>
          <p:nvPr/>
        </p:nvSpPr>
        <p:spPr>
          <a:xfrm>
            <a:off x="6651521" y="3000162"/>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4%</a:t>
            </a:r>
          </a:p>
        </p:txBody>
      </p:sp>
      <p:sp>
        <p:nvSpPr>
          <p:cNvPr id="67" name="pole tekstowe 66">
            <a:extLst>
              <a:ext uri="{FF2B5EF4-FFF2-40B4-BE49-F238E27FC236}">
                <a16:creationId xmlns:a16="http://schemas.microsoft.com/office/drawing/2014/main" id="{76463237-B282-42C4-A92C-67B753B4B94B}"/>
              </a:ext>
            </a:extLst>
          </p:cNvPr>
          <p:cNvSpPr txBox="1"/>
          <p:nvPr/>
        </p:nvSpPr>
        <p:spPr>
          <a:xfrm>
            <a:off x="7252101" y="3000162"/>
            <a:ext cx="677333" cy="276999"/>
          </a:xfrm>
          <a:prstGeom prst="rect">
            <a:avLst/>
          </a:prstGeom>
          <a:noFill/>
        </p:spPr>
        <p:txBody>
          <a:bodyPr wrap="square" rtlCol="0">
            <a:spAutoFit/>
          </a:bodyPr>
          <a:lstStyle/>
          <a:p>
            <a:pPr algn="ctr"/>
            <a:r>
              <a:rPr lang="en-GB" sz="1200" b="1" dirty="0">
                <a:solidFill>
                  <a:srgbClr val="92D050"/>
                </a:solidFill>
                <a:cs typeface="Arial" panose="020B0604020202020204" pitchFamily="34" charset="0"/>
              </a:rPr>
              <a:t>+2%</a:t>
            </a:r>
          </a:p>
        </p:txBody>
      </p:sp>
      <p:sp>
        <p:nvSpPr>
          <p:cNvPr id="68" name="pole tekstowe 67">
            <a:extLst>
              <a:ext uri="{FF2B5EF4-FFF2-40B4-BE49-F238E27FC236}">
                <a16:creationId xmlns:a16="http://schemas.microsoft.com/office/drawing/2014/main" id="{A0AB9F9D-5B7A-4453-9AFB-79CA9652FACB}"/>
              </a:ext>
            </a:extLst>
          </p:cNvPr>
          <p:cNvSpPr txBox="1"/>
          <p:nvPr/>
        </p:nvSpPr>
        <p:spPr>
          <a:xfrm>
            <a:off x="6651521" y="3212239"/>
            <a:ext cx="677333" cy="276999"/>
          </a:xfrm>
          <a:prstGeom prst="rect">
            <a:avLst/>
          </a:prstGeom>
          <a:noFill/>
        </p:spPr>
        <p:txBody>
          <a:bodyPr wrap="square" rtlCol="0">
            <a:spAutoFit/>
          </a:bodyPr>
          <a:lstStyle/>
          <a:p>
            <a:pPr algn="ctr"/>
            <a:r>
              <a:rPr lang="en-GB" sz="1200" b="1" dirty="0">
                <a:solidFill>
                  <a:srgbClr val="92D050"/>
                </a:solidFill>
                <a:cs typeface="Arial" panose="020B0604020202020204" pitchFamily="34" charset="0"/>
              </a:rPr>
              <a:t>+4%</a:t>
            </a:r>
          </a:p>
        </p:txBody>
      </p:sp>
      <p:sp>
        <p:nvSpPr>
          <p:cNvPr id="69" name="pole tekstowe 68">
            <a:extLst>
              <a:ext uri="{FF2B5EF4-FFF2-40B4-BE49-F238E27FC236}">
                <a16:creationId xmlns:a16="http://schemas.microsoft.com/office/drawing/2014/main" id="{29727CC9-EDD4-48C9-B15C-468F6A47BBA3}"/>
              </a:ext>
            </a:extLst>
          </p:cNvPr>
          <p:cNvSpPr txBox="1"/>
          <p:nvPr/>
        </p:nvSpPr>
        <p:spPr>
          <a:xfrm>
            <a:off x="7252101" y="3212239"/>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7%</a:t>
            </a:r>
          </a:p>
        </p:txBody>
      </p:sp>
      <p:sp>
        <p:nvSpPr>
          <p:cNvPr id="70" name="pole tekstowe 69">
            <a:extLst>
              <a:ext uri="{FF2B5EF4-FFF2-40B4-BE49-F238E27FC236}">
                <a16:creationId xmlns:a16="http://schemas.microsoft.com/office/drawing/2014/main" id="{8DFF687D-CE80-4CFA-93A4-4BF62BF08E2E}"/>
              </a:ext>
            </a:extLst>
          </p:cNvPr>
          <p:cNvSpPr txBox="1"/>
          <p:nvPr/>
        </p:nvSpPr>
        <p:spPr>
          <a:xfrm>
            <a:off x="6651521" y="3424316"/>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7%</a:t>
            </a:r>
          </a:p>
        </p:txBody>
      </p:sp>
      <p:sp>
        <p:nvSpPr>
          <p:cNvPr id="71" name="pole tekstowe 70">
            <a:extLst>
              <a:ext uri="{FF2B5EF4-FFF2-40B4-BE49-F238E27FC236}">
                <a16:creationId xmlns:a16="http://schemas.microsoft.com/office/drawing/2014/main" id="{1CD78DD3-404A-4A3A-80A7-FBEF65DB2839}"/>
              </a:ext>
            </a:extLst>
          </p:cNvPr>
          <p:cNvSpPr txBox="1"/>
          <p:nvPr/>
        </p:nvSpPr>
        <p:spPr>
          <a:xfrm>
            <a:off x="7252101" y="3424316"/>
            <a:ext cx="677333" cy="276999"/>
          </a:xfrm>
          <a:prstGeom prst="rect">
            <a:avLst/>
          </a:prstGeom>
          <a:noFill/>
        </p:spPr>
        <p:txBody>
          <a:bodyPr wrap="square" rtlCol="0">
            <a:spAutoFit/>
          </a:bodyPr>
          <a:lstStyle/>
          <a:p>
            <a:pPr algn="ctr"/>
            <a:r>
              <a:rPr lang="en-GB" sz="1200" b="1" dirty="0">
                <a:solidFill>
                  <a:srgbClr val="DF7F7F"/>
                </a:solidFill>
                <a:cs typeface="Arial" panose="020B0604020202020204" pitchFamily="34" charset="0"/>
              </a:rPr>
              <a:t>-1%</a:t>
            </a:r>
          </a:p>
        </p:txBody>
      </p:sp>
      <p:sp>
        <p:nvSpPr>
          <p:cNvPr id="72" name="pole tekstowe 71">
            <a:extLst>
              <a:ext uri="{FF2B5EF4-FFF2-40B4-BE49-F238E27FC236}">
                <a16:creationId xmlns:a16="http://schemas.microsoft.com/office/drawing/2014/main" id="{DE93E5E3-868A-41A9-B5BD-20DD52A73845}"/>
              </a:ext>
            </a:extLst>
          </p:cNvPr>
          <p:cNvSpPr txBox="1"/>
          <p:nvPr/>
        </p:nvSpPr>
        <p:spPr>
          <a:xfrm>
            <a:off x="6651521" y="3636393"/>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7%</a:t>
            </a:r>
          </a:p>
        </p:txBody>
      </p:sp>
      <p:sp>
        <p:nvSpPr>
          <p:cNvPr id="73" name="pole tekstowe 72">
            <a:extLst>
              <a:ext uri="{FF2B5EF4-FFF2-40B4-BE49-F238E27FC236}">
                <a16:creationId xmlns:a16="http://schemas.microsoft.com/office/drawing/2014/main" id="{D1F7FBC2-1AF4-401C-8463-C396056B9156}"/>
              </a:ext>
            </a:extLst>
          </p:cNvPr>
          <p:cNvSpPr txBox="1"/>
          <p:nvPr/>
        </p:nvSpPr>
        <p:spPr>
          <a:xfrm>
            <a:off x="7252101" y="3636393"/>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7%</a:t>
            </a:r>
          </a:p>
        </p:txBody>
      </p:sp>
      <p:sp>
        <p:nvSpPr>
          <p:cNvPr id="74" name="pole tekstowe 73">
            <a:extLst>
              <a:ext uri="{FF2B5EF4-FFF2-40B4-BE49-F238E27FC236}">
                <a16:creationId xmlns:a16="http://schemas.microsoft.com/office/drawing/2014/main" id="{9BB37063-81DB-4B72-AEF5-9584A34CC664}"/>
              </a:ext>
            </a:extLst>
          </p:cNvPr>
          <p:cNvSpPr txBox="1"/>
          <p:nvPr/>
        </p:nvSpPr>
        <p:spPr>
          <a:xfrm>
            <a:off x="6651521" y="3848468"/>
            <a:ext cx="677333" cy="276999"/>
          </a:xfrm>
          <a:prstGeom prst="rect">
            <a:avLst/>
          </a:prstGeom>
          <a:noFill/>
        </p:spPr>
        <p:txBody>
          <a:bodyPr wrap="square" rtlCol="0">
            <a:spAutoFit/>
          </a:bodyPr>
          <a:lstStyle/>
          <a:p>
            <a:pPr algn="ctr"/>
            <a:r>
              <a:rPr lang="en-GB" sz="1200" b="1" dirty="0">
                <a:solidFill>
                  <a:srgbClr val="C00000"/>
                </a:solidFill>
                <a:cs typeface="Arial" panose="020B0604020202020204" pitchFamily="34" charset="0"/>
              </a:rPr>
              <a:t>-7%</a:t>
            </a:r>
          </a:p>
        </p:txBody>
      </p:sp>
      <p:sp>
        <p:nvSpPr>
          <p:cNvPr id="75" name="pole tekstowe 74">
            <a:extLst>
              <a:ext uri="{FF2B5EF4-FFF2-40B4-BE49-F238E27FC236}">
                <a16:creationId xmlns:a16="http://schemas.microsoft.com/office/drawing/2014/main" id="{03DA6C89-3E0C-43DC-8DA1-514DA8306AD0}"/>
              </a:ext>
            </a:extLst>
          </p:cNvPr>
          <p:cNvSpPr txBox="1"/>
          <p:nvPr/>
        </p:nvSpPr>
        <p:spPr>
          <a:xfrm>
            <a:off x="7252101" y="3848468"/>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7%</a:t>
            </a:r>
          </a:p>
        </p:txBody>
      </p:sp>
      <p:pic>
        <p:nvPicPr>
          <p:cNvPr id="78" name="Obraz 77">
            <a:extLst>
              <a:ext uri="{FF2B5EF4-FFF2-40B4-BE49-F238E27FC236}">
                <a16:creationId xmlns:a16="http://schemas.microsoft.com/office/drawing/2014/main" id="{C353B96A-F70D-412D-832F-2582075E4E08}"/>
              </a:ext>
            </a:extLst>
          </p:cNvPr>
          <p:cNvPicPr>
            <a:picLocks/>
          </p:cNvPicPr>
          <p:nvPr/>
        </p:nvPicPr>
        <p:blipFill>
          <a:blip r:embed="rId10">
            <a:extLst>
              <a:ext uri="{28A0092B-C50C-407E-A947-70E740481C1C}">
                <a14:useLocalDpi xmlns:a14="http://schemas.microsoft.com/office/drawing/2010/main" val="0"/>
              </a:ext>
            </a:extLst>
          </a:blip>
          <a:stretch>
            <a:fillRect/>
          </a:stretch>
        </p:blipFill>
        <p:spPr>
          <a:xfrm>
            <a:off x="5443610" y="1990248"/>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79" name="Obraz 78">
            <a:extLst>
              <a:ext uri="{FF2B5EF4-FFF2-40B4-BE49-F238E27FC236}">
                <a16:creationId xmlns:a16="http://schemas.microsoft.com/office/drawing/2014/main" id="{4CBE85CB-8D5B-4EDE-872F-D1682E4E4E4C}"/>
              </a:ext>
            </a:extLst>
          </p:cNvPr>
          <p:cNvPicPr>
            <a:picLocks/>
          </p:cNvPicPr>
          <p:nvPr/>
        </p:nvPicPr>
        <p:blipFill>
          <a:blip r:embed="rId11">
            <a:extLst>
              <a:ext uri="{28A0092B-C50C-407E-A947-70E740481C1C}">
                <a14:useLocalDpi xmlns:a14="http://schemas.microsoft.com/office/drawing/2010/main" val="0"/>
              </a:ext>
            </a:extLst>
          </a:blip>
          <a:stretch>
            <a:fillRect/>
          </a:stretch>
        </p:blipFill>
        <p:spPr>
          <a:xfrm>
            <a:off x="5443610" y="2203263"/>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83" name="Obraz 82">
            <a:extLst>
              <a:ext uri="{FF2B5EF4-FFF2-40B4-BE49-F238E27FC236}">
                <a16:creationId xmlns:a16="http://schemas.microsoft.com/office/drawing/2014/main" id="{42A3AE83-C843-410B-A89E-1A4CB03E0FBD}"/>
              </a:ext>
            </a:extLst>
          </p:cNvPr>
          <p:cNvPicPr>
            <a:picLocks/>
          </p:cNvPicPr>
          <p:nvPr/>
        </p:nvPicPr>
        <p:blipFill>
          <a:blip r:embed="rId12">
            <a:extLst>
              <a:ext uri="{28A0092B-C50C-407E-A947-70E740481C1C}">
                <a14:useLocalDpi xmlns:a14="http://schemas.microsoft.com/office/drawing/2010/main" val="0"/>
              </a:ext>
            </a:extLst>
          </a:blip>
          <a:stretch>
            <a:fillRect/>
          </a:stretch>
        </p:blipFill>
        <p:spPr>
          <a:xfrm>
            <a:off x="5443610" y="3481353"/>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85" name="Obraz 84">
            <a:extLst>
              <a:ext uri="{FF2B5EF4-FFF2-40B4-BE49-F238E27FC236}">
                <a16:creationId xmlns:a16="http://schemas.microsoft.com/office/drawing/2014/main" id="{D0FF533B-797D-4B02-8420-CB582C174457}"/>
              </a:ext>
            </a:extLst>
          </p:cNvPr>
          <p:cNvPicPr>
            <a:picLocks/>
          </p:cNvPicPr>
          <p:nvPr/>
        </p:nvPicPr>
        <p:blipFill>
          <a:blip r:embed="rId13">
            <a:extLst>
              <a:ext uri="{28A0092B-C50C-407E-A947-70E740481C1C}">
                <a14:useLocalDpi xmlns:a14="http://schemas.microsoft.com/office/drawing/2010/main" val="0"/>
              </a:ext>
            </a:extLst>
          </a:blip>
          <a:stretch>
            <a:fillRect/>
          </a:stretch>
        </p:blipFill>
        <p:spPr>
          <a:xfrm>
            <a:off x="5443610" y="2629293"/>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sp>
        <p:nvSpPr>
          <p:cNvPr id="87" name="pole tekstowe 86">
            <a:extLst>
              <a:ext uri="{FF2B5EF4-FFF2-40B4-BE49-F238E27FC236}">
                <a16:creationId xmlns:a16="http://schemas.microsoft.com/office/drawing/2014/main" id="{0E042AB4-9122-4747-8063-A311093F4066}"/>
              </a:ext>
            </a:extLst>
          </p:cNvPr>
          <p:cNvSpPr txBox="1"/>
          <p:nvPr/>
        </p:nvSpPr>
        <p:spPr>
          <a:xfrm>
            <a:off x="8098194" y="2138698"/>
            <a:ext cx="1656497" cy="276999"/>
          </a:xfrm>
          <a:prstGeom prst="rect">
            <a:avLst/>
          </a:prstGeom>
          <a:noFill/>
        </p:spPr>
        <p:txBody>
          <a:bodyPr wrap="square" rtlCol="0">
            <a:spAutoFit/>
          </a:bodyPr>
          <a:lstStyle/>
          <a:p>
            <a:r>
              <a:rPr lang="en-GB" sz="1200" dirty="0">
                <a:cs typeface="Arial" panose="020B0604020202020204" pitchFamily="34" charset="0"/>
              </a:rPr>
              <a:t>Trade</a:t>
            </a:r>
            <a:r>
              <a:rPr lang="en-GB" sz="1200" baseline="30000" dirty="0">
                <a:cs typeface="Arial" panose="020B0604020202020204" pitchFamily="34" charset="0"/>
              </a:rPr>
              <a:t>1</a:t>
            </a:r>
            <a:endParaRPr lang="en-GB" sz="1200" dirty="0">
              <a:cs typeface="Arial" panose="020B0604020202020204" pitchFamily="34" charset="0"/>
            </a:endParaRPr>
          </a:p>
        </p:txBody>
      </p:sp>
      <p:sp>
        <p:nvSpPr>
          <p:cNvPr id="88" name="pole tekstowe 87">
            <a:extLst>
              <a:ext uri="{FF2B5EF4-FFF2-40B4-BE49-F238E27FC236}">
                <a16:creationId xmlns:a16="http://schemas.microsoft.com/office/drawing/2014/main" id="{9F55B4E6-5310-445C-83EF-2EB79F8CFE29}"/>
              </a:ext>
            </a:extLst>
          </p:cNvPr>
          <p:cNvSpPr txBox="1"/>
          <p:nvPr/>
        </p:nvSpPr>
        <p:spPr>
          <a:xfrm>
            <a:off x="8098193" y="1926459"/>
            <a:ext cx="1866215" cy="276999"/>
          </a:xfrm>
          <a:prstGeom prst="rect">
            <a:avLst/>
          </a:prstGeom>
          <a:noFill/>
        </p:spPr>
        <p:txBody>
          <a:bodyPr wrap="square" rtlCol="0">
            <a:spAutoFit/>
          </a:bodyPr>
          <a:lstStyle/>
          <a:p>
            <a:r>
              <a:rPr lang="en-GB" sz="1200" dirty="0">
                <a:cs typeface="Arial" panose="020B0604020202020204" pitchFamily="34" charset="0"/>
              </a:rPr>
              <a:t>Manufacturing</a:t>
            </a:r>
          </a:p>
        </p:txBody>
      </p:sp>
      <p:sp>
        <p:nvSpPr>
          <p:cNvPr id="89" name="pole tekstowe 88">
            <a:extLst>
              <a:ext uri="{FF2B5EF4-FFF2-40B4-BE49-F238E27FC236}">
                <a16:creationId xmlns:a16="http://schemas.microsoft.com/office/drawing/2014/main" id="{54CAE440-17D3-443D-A8BF-43041341FA3A}"/>
              </a:ext>
            </a:extLst>
          </p:cNvPr>
          <p:cNvSpPr txBox="1"/>
          <p:nvPr/>
        </p:nvSpPr>
        <p:spPr>
          <a:xfrm>
            <a:off x="8098194" y="2350937"/>
            <a:ext cx="1656497" cy="276999"/>
          </a:xfrm>
          <a:prstGeom prst="rect">
            <a:avLst/>
          </a:prstGeom>
          <a:noFill/>
        </p:spPr>
        <p:txBody>
          <a:bodyPr wrap="square" rtlCol="0">
            <a:spAutoFit/>
          </a:bodyPr>
          <a:lstStyle/>
          <a:p>
            <a:r>
              <a:rPr lang="en-GB" sz="1200" dirty="0">
                <a:cs typeface="Arial" panose="020B0604020202020204" pitchFamily="34" charset="0"/>
              </a:rPr>
              <a:t>Financial activities</a:t>
            </a:r>
            <a:r>
              <a:rPr lang="en-GB" sz="1200" baseline="30000" dirty="0">
                <a:cs typeface="Arial" panose="020B0604020202020204" pitchFamily="34" charset="0"/>
              </a:rPr>
              <a:t>2</a:t>
            </a:r>
            <a:endParaRPr lang="en-GB" sz="1200" dirty="0">
              <a:cs typeface="Arial" panose="020B0604020202020204" pitchFamily="34" charset="0"/>
            </a:endParaRPr>
          </a:p>
        </p:txBody>
      </p:sp>
      <p:sp>
        <p:nvSpPr>
          <p:cNvPr id="90" name="pole tekstowe 89">
            <a:extLst>
              <a:ext uri="{FF2B5EF4-FFF2-40B4-BE49-F238E27FC236}">
                <a16:creationId xmlns:a16="http://schemas.microsoft.com/office/drawing/2014/main" id="{540C5C62-83EB-4E9E-B5C5-EE15012EDE31}"/>
              </a:ext>
            </a:extLst>
          </p:cNvPr>
          <p:cNvSpPr txBox="1"/>
          <p:nvPr/>
        </p:nvSpPr>
        <p:spPr>
          <a:xfrm>
            <a:off x="8098194" y="2563176"/>
            <a:ext cx="1656497" cy="276999"/>
          </a:xfrm>
          <a:prstGeom prst="rect">
            <a:avLst/>
          </a:prstGeom>
          <a:noFill/>
        </p:spPr>
        <p:txBody>
          <a:bodyPr wrap="square" rtlCol="0">
            <a:spAutoFit/>
          </a:bodyPr>
          <a:lstStyle/>
          <a:p>
            <a:r>
              <a:rPr lang="en-GB" sz="1200" dirty="0">
                <a:cs typeface="Arial" panose="020B0604020202020204" pitchFamily="34" charset="0"/>
              </a:rPr>
              <a:t>Real estate activities</a:t>
            </a:r>
          </a:p>
        </p:txBody>
      </p:sp>
      <p:sp>
        <p:nvSpPr>
          <p:cNvPr id="91" name="pole tekstowe 90">
            <a:extLst>
              <a:ext uri="{FF2B5EF4-FFF2-40B4-BE49-F238E27FC236}">
                <a16:creationId xmlns:a16="http://schemas.microsoft.com/office/drawing/2014/main" id="{8D87E5E5-80AF-4325-B742-F8E8EE1E6276}"/>
              </a:ext>
            </a:extLst>
          </p:cNvPr>
          <p:cNvSpPr txBox="1"/>
          <p:nvPr/>
        </p:nvSpPr>
        <p:spPr>
          <a:xfrm>
            <a:off x="8098194" y="2775415"/>
            <a:ext cx="1656497" cy="276999"/>
          </a:xfrm>
          <a:prstGeom prst="rect">
            <a:avLst/>
          </a:prstGeom>
          <a:noFill/>
        </p:spPr>
        <p:txBody>
          <a:bodyPr wrap="square" rtlCol="0">
            <a:spAutoFit/>
          </a:bodyPr>
          <a:lstStyle/>
          <a:p>
            <a:r>
              <a:rPr lang="en-GB" sz="1200" dirty="0">
                <a:cs typeface="Arial" panose="020B0604020202020204" pitchFamily="34" charset="0"/>
              </a:rPr>
              <a:t>Professional activities</a:t>
            </a:r>
            <a:r>
              <a:rPr lang="en-GB" sz="1200" baseline="30000" dirty="0">
                <a:cs typeface="Arial" panose="020B0604020202020204" pitchFamily="34" charset="0"/>
              </a:rPr>
              <a:t>3</a:t>
            </a:r>
            <a:endParaRPr lang="en-GB" sz="1200" dirty="0">
              <a:cs typeface="Arial" panose="020B0604020202020204" pitchFamily="34" charset="0"/>
            </a:endParaRPr>
          </a:p>
        </p:txBody>
      </p:sp>
      <p:sp>
        <p:nvSpPr>
          <p:cNvPr id="92" name="pole tekstowe 91">
            <a:extLst>
              <a:ext uri="{FF2B5EF4-FFF2-40B4-BE49-F238E27FC236}">
                <a16:creationId xmlns:a16="http://schemas.microsoft.com/office/drawing/2014/main" id="{F1527EE4-A0DB-4503-9F9B-4A969F5DC958}"/>
              </a:ext>
            </a:extLst>
          </p:cNvPr>
          <p:cNvSpPr txBox="1"/>
          <p:nvPr/>
        </p:nvSpPr>
        <p:spPr>
          <a:xfrm>
            <a:off x="8098194" y="2987654"/>
            <a:ext cx="1656497" cy="276999"/>
          </a:xfrm>
          <a:prstGeom prst="rect">
            <a:avLst/>
          </a:prstGeom>
          <a:noFill/>
        </p:spPr>
        <p:txBody>
          <a:bodyPr wrap="square" rtlCol="0">
            <a:spAutoFit/>
          </a:bodyPr>
          <a:lstStyle/>
          <a:p>
            <a:r>
              <a:rPr lang="en-GB" sz="1200" dirty="0">
                <a:cs typeface="Arial" panose="020B0604020202020204" pitchFamily="34" charset="0"/>
              </a:rPr>
              <a:t>ICT activities</a:t>
            </a:r>
          </a:p>
        </p:txBody>
      </p:sp>
      <p:sp>
        <p:nvSpPr>
          <p:cNvPr id="93" name="pole tekstowe 92">
            <a:extLst>
              <a:ext uri="{FF2B5EF4-FFF2-40B4-BE49-F238E27FC236}">
                <a16:creationId xmlns:a16="http://schemas.microsoft.com/office/drawing/2014/main" id="{B4C12777-F178-4809-AE05-2E5B9F65B560}"/>
              </a:ext>
            </a:extLst>
          </p:cNvPr>
          <p:cNvSpPr txBox="1"/>
          <p:nvPr/>
        </p:nvSpPr>
        <p:spPr>
          <a:xfrm>
            <a:off x="8098194" y="3199893"/>
            <a:ext cx="1656497" cy="276999"/>
          </a:xfrm>
          <a:prstGeom prst="rect">
            <a:avLst/>
          </a:prstGeom>
          <a:noFill/>
        </p:spPr>
        <p:txBody>
          <a:bodyPr wrap="square" rtlCol="0">
            <a:spAutoFit/>
          </a:bodyPr>
          <a:lstStyle/>
          <a:p>
            <a:r>
              <a:rPr lang="en-GB" sz="1200" dirty="0">
                <a:cs typeface="Arial" panose="020B0604020202020204" pitchFamily="34" charset="0"/>
              </a:rPr>
              <a:t>Construction</a:t>
            </a:r>
          </a:p>
        </p:txBody>
      </p:sp>
      <p:sp>
        <p:nvSpPr>
          <p:cNvPr id="94" name="pole tekstowe 93">
            <a:extLst>
              <a:ext uri="{FF2B5EF4-FFF2-40B4-BE49-F238E27FC236}">
                <a16:creationId xmlns:a16="http://schemas.microsoft.com/office/drawing/2014/main" id="{25116E65-53FC-42F7-83A8-A382BF8EE967}"/>
              </a:ext>
            </a:extLst>
          </p:cNvPr>
          <p:cNvSpPr txBox="1"/>
          <p:nvPr/>
        </p:nvSpPr>
        <p:spPr>
          <a:xfrm>
            <a:off x="8098194" y="3412132"/>
            <a:ext cx="1656497" cy="276999"/>
          </a:xfrm>
          <a:prstGeom prst="rect">
            <a:avLst/>
          </a:prstGeom>
          <a:noFill/>
        </p:spPr>
        <p:txBody>
          <a:bodyPr wrap="square" rtlCol="0">
            <a:spAutoFit/>
          </a:bodyPr>
          <a:lstStyle/>
          <a:p>
            <a:r>
              <a:rPr lang="en-GB" sz="1200" dirty="0">
                <a:cs typeface="Arial" panose="020B0604020202020204" pitchFamily="34" charset="0"/>
              </a:rPr>
              <a:t>Electricity, gas supply</a:t>
            </a:r>
          </a:p>
        </p:txBody>
      </p:sp>
      <p:sp>
        <p:nvSpPr>
          <p:cNvPr id="95" name="pole tekstowe 94">
            <a:extLst>
              <a:ext uri="{FF2B5EF4-FFF2-40B4-BE49-F238E27FC236}">
                <a16:creationId xmlns:a16="http://schemas.microsoft.com/office/drawing/2014/main" id="{A07DAF33-5186-4EBF-B112-62523451DF50}"/>
              </a:ext>
            </a:extLst>
          </p:cNvPr>
          <p:cNvSpPr txBox="1"/>
          <p:nvPr/>
        </p:nvSpPr>
        <p:spPr>
          <a:xfrm>
            <a:off x="8098194" y="3836610"/>
            <a:ext cx="1656497" cy="276999"/>
          </a:xfrm>
          <a:prstGeom prst="rect">
            <a:avLst/>
          </a:prstGeom>
          <a:noFill/>
        </p:spPr>
        <p:txBody>
          <a:bodyPr wrap="square" rtlCol="0">
            <a:spAutoFit/>
          </a:bodyPr>
          <a:lstStyle/>
          <a:p>
            <a:r>
              <a:rPr lang="en-GB" sz="1200" dirty="0">
                <a:cs typeface="Arial" panose="020B0604020202020204" pitchFamily="34" charset="0"/>
              </a:rPr>
              <a:t>Other</a:t>
            </a:r>
          </a:p>
        </p:txBody>
      </p:sp>
      <p:sp>
        <p:nvSpPr>
          <p:cNvPr id="96" name="pole tekstowe 95">
            <a:extLst>
              <a:ext uri="{FF2B5EF4-FFF2-40B4-BE49-F238E27FC236}">
                <a16:creationId xmlns:a16="http://schemas.microsoft.com/office/drawing/2014/main" id="{C3A3DA06-C90C-472A-8B16-28C9B0A3BB4C}"/>
              </a:ext>
            </a:extLst>
          </p:cNvPr>
          <p:cNvSpPr txBox="1"/>
          <p:nvPr/>
        </p:nvSpPr>
        <p:spPr>
          <a:xfrm>
            <a:off x="8098194" y="3624371"/>
            <a:ext cx="1656497" cy="276999"/>
          </a:xfrm>
          <a:prstGeom prst="rect">
            <a:avLst/>
          </a:prstGeom>
          <a:noFill/>
        </p:spPr>
        <p:txBody>
          <a:bodyPr wrap="square" rtlCol="0">
            <a:spAutoFit/>
          </a:bodyPr>
          <a:lstStyle/>
          <a:p>
            <a:r>
              <a:rPr lang="en-GB" sz="1200" dirty="0">
                <a:cs typeface="Arial" panose="020B0604020202020204" pitchFamily="34" charset="0"/>
              </a:rPr>
              <a:t>Transportation, storage</a:t>
            </a:r>
          </a:p>
        </p:txBody>
      </p:sp>
      <p:sp>
        <p:nvSpPr>
          <p:cNvPr id="97" name="pole tekstowe 96">
            <a:extLst>
              <a:ext uri="{FF2B5EF4-FFF2-40B4-BE49-F238E27FC236}">
                <a16:creationId xmlns:a16="http://schemas.microsoft.com/office/drawing/2014/main" id="{641B4013-AC52-48A9-8992-BB4ECA6FE6B9}"/>
              </a:ext>
            </a:extLst>
          </p:cNvPr>
          <p:cNvSpPr txBox="1"/>
          <p:nvPr/>
        </p:nvSpPr>
        <p:spPr>
          <a:xfrm>
            <a:off x="10532283" y="1433569"/>
            <a:ext cx="972150" cy="276999"/>
          </a:xfrm>
          <a:prstGeom prst="rect">
            <a:avLst/>
          </a:prstGeom>
          <a:noFill/>
        </p:spPr>
        <p:txBody>
          <a:bodyPr wrap="square" rtlCol="0">
            <a:spAutoFit/>
          </a:bodyPr>
          <a:lstStyle/>
          <a:p>
            <a:pPr algn="ctr"/>
            <a:r>
              <a:rPr lang="en-GB" sz="1200" i="1" dirty="0">
                <a:cs typeface="Arial" panose="020B0604020202020204" pitchFamily="34" charset="0"/>
              </a:rPr>
              <a:t>CAGR</a:t>
            </a:r>
          </a:p>
        </p:txBody>
      </p:sp>
      <p:sp>
        <p:nvSpPr>
          <p:cNvPr id="98" name="pole tekstowe 97">
            <a:extLst>
              <a:ext uri="{FF2B5EF4-FFF2-40B4-BE49-F238E27FC236}">
                <a16:creationId xmlns:a16="http://schemas.microsoft.com/office/drawing/2014/main" id="{667B4DDD-E6A1-4351-A449-014B3F0B7243}"/>
              </a:ext>
            </a:extLst>
          </p:cNvPr>
          <p:cNvSpPr txBox="1"/>
          <p:nvPr/>
        </p:nvSpPr>
        <p:spPr>
          <a:xfrm>
            <a:off x="10341213" y="1672068"/>
            <a:ext cx="753710" cy="276999"/>
          </a:xfrm>
          <a:prstGeom prst="rect">
            <a:avLst/>
          </a:prstGeom>
          <a:noFill/>
        </p:spPr>
        <p:txBody>
          <a:bodyPr wrap="square" rtlCol="0">
            <a:spAutoFit/>
          </a:bodyPr>
          <a:lstStyle/>
          <a:p>
            <a:pPr algn="ctr"/>
            <a:r>
              <a:rPr lang="en-GB" sz="1200" i="1" dirty="0">
                <a:cs typeface="Arial" panose="020B0604020202020204" pitchFamily="34" charset="0"/>
              </a:rPr>
              <a:t>’10-’15</a:t>
            </a:r>
          </a:p>
        </p:txBody>
      </p:sp>
      <p:sp>
        <p:nvSpPr>
          <p:cNvPr id="99" name="pole tekstowe 98">
            <a:extLst>
              <a:ext uri="{FF2B5EF4-FFF2-40B4-BE49-F238E27FC236}">
                <a16:creationId xmlns:a16="http://schemas.microsoft.com/office/drawing/2014/main" id="{9D287938-30A9-4B2F-A6D5-FE68CE3062CA}"/>
              </a:ext>
            </a:extLst>
          </p:cNvPr>
          <p:cNvSpPr txBox="1"/>
          <p:nvPr/>
        </p:nvSpPr>
        <p:spPr>
          <a:xfrm>
            <a:off x="10941793" y="1672068"/>
            <a:ext cx="753710" cy="276999"/>
          </a:xfrm>
          <a:prstGeom prst="rect">
            <a:avLst/>
          </a:prstGeom>
          <a:noFill/>
        </p:spPr>
        <p:txBody>
          <a:bodyPr wrap="square" rtlCol="0">
            <a:spAutoFit/>
          </a:bodyPr>
          <a:lstStyle/>
          <a:p>
            <a:pPr algn="ctr"/>
            <a:r>
              <a:rPr lang="en-GB" sz="1200" i="1" dirty="0">
                <a:cs typeface="Arial" panose="020B0604020202020204" pitchFamily="34" charset="0"/>
              </a:rPr>
              <a:t>’15-’21</a:t>
            </a:r>
          </a:p>
        </p:txBody>
      </p:sp>
      <p:sp>
        <p:nvSpPr>
          <p:cNvPr id="100" name="pole tekstowe 99">
            <a:extLst>
              <a:ext uri="{FF2B5EF4-FFF2-40B4-BE49-F238E27FC236}">
                <a16:creationId xmlns:a16="http://schemas.microsoft.com/office/drawing/2014/main" id="{40703CF1-4938-4331-B811-28BF89199981}"/>
              </a:ext>
            </a:extLst>
          </p:cNvPr>
          <p:cNvSpPr txBox="1"/>
          <p:nvPr/>
        </p:nvSpPr>
        <p:spPr>
          <a:xfrm>
            <a:off x="10379402" y="1939777"/>
            <a:ext cx="677333" cy="276999"/>
          </a:xfrm>
          <a:prstGeom prst="rect">
            <a:avLst/>
          </a:prstGeom>
          <a:noFill/>
        </p:spPr>
        <p:txBody>
          <a:bodyPr wrap="square" rtlCol="0">
            <a:spAutoFit/>
          </a:bodyPr>
          <a:lstStyle/>
          <a:p>
            <a:pPr algn="ctr"/>
            <a:r>
              <a:rPr lang="en-GB" sz="1200" b="1" dirty="0">
                <a:solidFill>
                  <a:srgbClr val="92D050"/>
                </a:solidFill>
                <a:cs typeface="Arial" panose="020B0604020202020204" pitchFamily="34" charset="0"/>
              </a:rPr>
              <a:t>+2%</a:t>
            </a:r>
          </a:p>
        </p:txBody>
      </p:sp>
      <p:sp>
        <p:nvSpPr>
          <p:cNvPr id="101" name="pole tekstowe 100">
            <a:extLst>
              <a:ext uri="{FF2B5EF4-FFF2-40B4-BE49-F238E27FC236}">
                <a16:creationId xmlns:a16="http://schemas.microsoft.com/office/drawing/2014/main" id="{A42D5FDC-8859-44DE-B4D9-CB2DEB872E31}"/>
              </a:ext>
            </a:extLst>
          </p:cNvPr>
          <p:cNvSpPr txBox="1"/>
          <p:nvPr/>
        </p:nvSpPr>
        <p:spPr>
          <a:xfrm>
            <a:off x="10979982" y="1939777"/>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5%</a:t>
            </a:r>
          </a:p>
        </p:txBody>
      </p:sp>
      <p:sp>
        <p:nvSpPr>
          <p:cNvPr id="102" name="pole tekstowe 101">
            <a:extLst>
              <a:ext uri="{FF2B5EF4-FFF2-40B4-BE49-F238E27FC236}">
                <a16:creationId xmlns:a16="http://schemas.microsoft.com/office/drawing/2014/main" id="{5D490177-F1D0-4D6D-B3AF-D035E079D29B}"/>
              </a:ext>
            </a:extLst>
          </p:cNvPr>
          <p:cNvSpPr txBox="1"/>
          <p:nvPr/>
        </p:nvSpPr>
        <p:spPr>
          <a:xfrm>
            <a:off x="10379402" y="2168648"/>
            <a:ext cx="677333" cy="276999"/>
          </a:xfrm>
          <a:prstGeom prst="rect">
            <a:avLst/>
          </a:prstGeom>
          <a:noFill/>
        </p:spPr>
        <p:txBody>
          <a:bodyPr wrap="square" rtlCol="0">
            <a:spAutoFit/>
          </a:bodyPr>
          <a:lstStyle/>
          <a:p>
            <a:pPr algn="ctr"/>
            <a:r>
              <a:rPr lang="en-GB" sz="1200" b="1" dirty="0">
                <a:solidFill>
                  <a:srgbClr val="92D050"/>
                </a:solidFill>
                <a:cs typeface="Arial" panose="020B0604020202020204" pitchFamily="34" charset="0"/>
              </a:rPr>
              <a:t>+1%</a:t>
            </a:r>
          </a:p>
        </p:txBody>
      </p:sp>
      <p:sp>
        <p:nvSpPr>
          <p:cNvPr id="103" name="pole tekstowe 102">
            <a:extLst>
              <a:ext uri="{FF2B5EF4-FFF2-40B4-BE49-F238E27FC236}">
                <a16:creationId xmlns:a16="http://schemas.microsoft.com/office/drawing/2014/main" id="{ED3CA2D0-5F21-449E-A2A6-02EF9618D8AD}"/>
              </a:ext>
            </a:extLst>
          </p:cNvPr>
          <p:cNvSpPr txBox="1"/>
          <p:nvPr/>
        </p:nvSpPr>
        <p:spPr>
          <a:xfrm>
            <a:off x="10979982" y="2168648"/>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5%</a:t>
            </a:r>
          </a:p>
        </p:txBody>
      </p:sp>
      <p:sp>
        <p:nvSpPr>
          <p:cNvPr id="104" name="pole tekstowe 103">
            <a:extLst>
              <a:ext uri="{FF2B5EF4-FFF2-40B4-BE49-F238E27FC236}">
                <a16:creationId xmlns:a16="http://schemas.microsoft.com/office/drawing/2014/main" id="{70E73F95-15B6-4F4F-9A3F-1E662F5676DD}"/>
              </a:ext>
            </a:extLst>
          </p:cNvPr>
          <p:cNvSpPr txBox="1"/>
          <p:nvPr/>
        </p:nvSpPr>
        <p:spPr>
          <a:xfrm>
            <a:off x="10379402" y="2388229"/>
            <a:ext cx="677333" cy="276999"/>
          </a:xfrm>
          <a:prstGeom prst="rect">
            <a:avLst/>
          </a:prstGeom>
          <a:noFill/>
        </p:spPr>
        <p:txBody>
          <a:bodyPr wrap="square" rtlCol="0">
            <a:spAutoFit/>
          </a:bodyPr>
          <a:lstStyle/>
          <a:p>
            <a:pPr algn="ctr"/>
            <a:r>
              <a:rPr lang="en-GB" sz="1200" b="1" dirty="0">
                <a:solidFill>
                  <a:srgbClr val="DF7F7F"/>
                </a:solidFill>
                <a:cs typeface="Arial" panose="020B0604020202020204" pitchFamily="34" charset="0"/>
              </a:rPr>
              <a:t>-4%</a:t>
            </a:r>
          </a:p>
        </p:txBody>
      </p:sp>
      <p:sp>
        <p:nvSpPr>
          <p:cNvPr id="105" name="pole tekstowe 104">
            <a:extLst>
              <a:ext uri="{FF2B5EF4-FFF2-40B4-BE49-F238E27FC236}">
                <a16:creationId xmlns:a16="http://schemas.microsoft.com/office/drawing/2014/main" id="{EB3F8EFB-03F9-45A5-8A63-77EF06191358}"/>
              </a:ext>
            </a:extLst>
          </p:cNvPr>
          <p:cNvSpPr txBox="1"/>
          <p:nvPr/>
        </p:nvSpPr>
        <p:spPr>
          <a:xfrm>
            <a:off x="10979982" y="2388229"/>
            <a:ext cx="677333" cy="276999"/>
          </a:xfrm>
          <a:prstGeom prst="rect">
            <a:avLst/>
          </a:prstGeom>
          <a:noFill/>
        </p:spPr>
        <p:txBody>
          <a:bodyPr wrap="square" rtlCol="0">
            <a:spAutoFit/>
          </a:bodyPr>
          <a:lstStyle/>
          <a:p>
            <a:pPr algn="ctr"/>
            <a:r>
              <a:rPr lang="en-GB" sz="1200" b="1" dirty="0">
                <a:solidFill>
                  <a:srgbClr val="92D050"/>
                </a:solidFill>
                <a:cs typeface="Arial" panose="020B0604020202020204" pitchFamily="34" charset="0"/>
              </a:rPr>
              <a:t>+2%</a:t>
            </a:r>
          </a:p>
        </p:txBody>
      </p:sp>
      <p:sp>
        <p:nvSpPr>
          <p:cNvPr id="106" name="pole tekstowe 105">
            <a:extLst>
              <a:ext uri="{FF2B5EF4-FFF2-40B4-BE49-F238E27FC236}">
                <a16:creationId xmlns:a16="http://schemas.microsoft.com/office/drawing/2014/main" id="{97061B0B-0FDB-4711-A460-18336A37DA93}"/>
              </a:ext>
            </a:extLst>
          </p:cNvPr>
          <p:cNvSpPr txBox="1"/>
          <p:nvPr/>
        </p:nvSpPr>
        <p:spPr>
          <a:xfrm>
            <a:off x="10379402" y="2584325"/>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6%</a:t>
            </a:r>
          </a:p>
        </p:txBody>
      </p:sp>
      <p:sp>
        <p:nvSpPr>
          <p:cNvPr id="107" name="pole tekstowe 106">
            <a:extLst>
              <a:ext uri="{FF2B5EF4-FFF2-40B4-BE49-F238E27FC236}">
                <a16:creationId xmlns:a16="http://schemas.microsoft.com/office/drawing/2014/main" id="{6AF1E0F9-7748-4445-A534-B0F20AA34DAC}"/>
              </a:ext>
            </a:extLst>
          </p:cNvPr>
          <p:cNvSpPr txBox="1"/>
          <p:nvPr/>
        </p:nvSpPr>
        <p:spPr>
          <a:xfrm>
            <a:off x="10979982" y="2584325"/>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0%</a:t>
            </a:r>
          </a:p>
        </p:txBody>
      </p:sp>
      <p:sp>
        <p:nvSpPr>
          <p:cNvPr id="108" name="pole tekstowe 107">
            <a:extLst>
              <a:ext uri="{FF2B5EF4-FFF2-40B4-BE49-F238E27FC236}">
                <a16:creationId xmlns:a16="http://schemas.microsoft.com/office/drawing/2014/main" id="{ACF0EBAA-9EEC-4304-9170-557005541864}"/>
              </a:ext>
            </a:extLst>
          </p:cNvPr>
          <p:cNvSpPr txBox="1"/>
          <p:nvPr/>
        </p:nvSpPr>
        <p:spPr>
          <a:xfrm>
            <a:off x="10379402" y="2796185"/>
            <a:ext cx="677333" cy="276999"/>
          </a:xfrm>
          <a:prstGeom prst="rect">
            <a:avLst/>
          </a:prstGeom>
          <a:noFill/>
        </p:spPr>
        <p:txBody>
          <a:bodyPr wrap="square" rtlCol="0">
            <a:spAutoFit/>
          </a:bodyPr>
          <a:lstStyle/>
          <a:p>
            <a:pPr algn="ctr"/>
            <a:r>
              <a:rPr lang="en-GB" sz="1200" b="1" dirty="0">
                <a:solidFill>
                  <a:srgbClr val="92D050"/>
                </a:solidFill>
                <a:cs typeface="Arial" panose="020B0604020202020204" pitchFamily="34" charset="0"/>
              </a:rPr>
              <a:t>+4%</a:t>
            </a:r>
          </a:p>
        </p:txBody>
      </p:sp>
      <p:sp>
        <p:nvSpPr>
          <p:cNvPr id="109" name="pole tekstowe 108">
            <a:extLst>
              <a:ext uri="{FF2B5EF4-FFF2-40B4-BE49-F238E27FC236}">
                <a16:creationId xmlns:a16="http://schemas.microsoft.com/office/drawing/2014/main" id="{FDEAFCAC-5E33-4721-A9BA-E2F3FA9B8883}"/>
              </a:ext>
            </a:extLst>
          </p:cNvPr>
          <p:cNvSpPr txBox="1"/>
          <p:nvPr/>
        </p:nvSpPr>
        <p:spPr>
          <a:xfrm>
            <a:off x="10979982" y="2796185"/>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0%</a:t>
            </a:r>
          </a:p>
        </p:txBody>
      </p:sp>
      <p:sp>
        <p:nvSpPr>
          <p:cNvPr id="110" name="pole tekstowe 109">
            <a:extLst>
              <a:ext uri="{FF2B5EF4-FFF2-40B4-BE49-F238E27FC236}">
                <a16:creationId xmlns:a16="http://schemas.microsoft.com/office/drawing/2014/main" id="{96A7163B-CD25-4276-979F-49B496629EBF}"/>
              </a:ext>
            </a:extLst>
          </p:cNvPr>
          <p:cNvSpPr txBox="1"/>
          <p:nvPr/>
        </p:nvSpPr>
        <p:spPr>
          <a:xfrm>
            <a:off x="10379402" y="3035469"/>
            <a:ext cx="677333" cy="276999"/>
          </a:xfrm>
          <a:prstGeom prst="rect">
            <a:avLst/>
          </a:prstGeom>
          <a:noFill/>
        </p:spPr>
        <p:txBody>
          <a:bodyPr wrap="square" rtlCol="0">
            <a:spAutoFit/>
          </a:bodyPr>
          <a:lstStyle/>
          <a:p>
            <a:pPr algn="ctr"/>
            <a:r>
              <a:rPr lang="en-GB" sz="1200" b="1" dirty="0">
                <a:solidFill>
                  <a:srgbClr val="92D050"/>
                </a:solidFill>
                <a:cs typeface="Arial" panose="020B0604020202020204" pitchFamily="34" charset="0"/>
              </a:rPr>
              <a:t>+4%</a:t>
            </a:r>
          </a:p>
        </p:txBody>
      </p:sp>
      <p:sp>
        <p:nvSpPr>
          <p:cNvPr id="111" name="pole tekstowe 110">
            <a:extLst>
              <a:ext uri="{FF2B5EF4-FFF2-40B4-BE49-F238E27FC236}">
                <a16:creationId xmlns:a16="http://schemas.microsoft.com/office/drawing/2014/main" id="{E8AD097E-B292-42C1-9BD1-0865113D35E0}"/>
              </a:ext>
            </a:extLst>
          </p:cNvPr>
          <p:cNvSpPr txBox="1"/>
          <p:nvPr/>
        </p:nvSpPr>
        <p:spPr>
          <a:xfrm>
            <a:off x="10979982" y="3035469"/>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8%</a:t>
            </a:r>
          </a:p>
        </p:txBody>
      </p:sp>
      <p:sp>
        <p:nvSpPr>
          <p:cNvPr id="112" name="pole tekstowe 111">
            <a:extLst>
              <a:ext uri="{FF2B5EF4-FFF2-40B4-BE49-F238E27FC236}">
                <a16:creationId xmlns:a16="http://schemas.microsoft.com/office/drawing/2014/main" id="{A299BF33-C10C-4F80-9058-C615C7C97486}"/>
              </a:ext>
            </a:extLst>
          </p:cNvPr>
          <p:cNvSpPr txBox="1"/>
          <p:nvPr/>
        </p:nvSpPr>
        <p:spPr>
          <a:xfrm>
            <a:off x="10379402" y="3238688"/>
            <a:ext cx="677333" cy="276999"/>
          </a:xfrm>
          <a:prstGeom prst="rect">
            <a:avLst/>
          </a:prstGeom>
          <a:noFill/>
        </p:spPr>
        <p:txBody>
          <a:bodyPr wrap="square" rtlCol="0">
            <a:spAutoFit/>
          </a:bodyPr>
          <a:lstStyle/>
          <a:p>
            <a:pPr algn="ctr"/>
            <a:r>
              <a:rPr lang="en-GB" sz="1200" b="1" dirty="0">
                <a:solidFill>
                  <a:srgbClr val="92D050"/>
                </a:solidFill>
                <a:cs typeface="Arial" panose="020B0604020202020204" pitchFamily="34" charset="0"/>
              </a:rPr>
              <a:t>+3%</a:t>
            </a:r>
          </a:p>
        </p:txBody>
      </p:sp>
      <p:sp>
        <p:nvSpPr>
          <p:cNvPr id="113" name="pole tekstowe 112">
            <a:extLst>
              <a:ext uri="{FF2B5EF4-FFF2-40B4-BE49-F238E27FC236}">
                <a16:creationId xmlns:a16="http://schemas.microsoft.com/office/drawing/2014/main" id="{1088862F-832A-4D0F-9753-894984A83911}"/>
              </a:ext>
            </a:extLst>
          </p:cNvPr>
          <p:cNvSpPr txBox="1"/>
          <p:nvPr/>
        </p:nvSpPr>
        <p:spPr>
          <a:xfrm>
            <a:off x="10979982" y="3238688"/>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6%</a:t>
            </a:r>
          </a:p>
        </p:txBody>
      </p:sp>
      <p:sp>
        <p:nvSpPr>
          <p:cNvPr id="114" name="pole tekstowe 113">
            <a:extLst>
              <a:ext uri="{FF2B5EF4-FFF2-40B4-BE49-F238E27FC236}">
                <a16:creationId xmlns:a16="http://schemas.microsoft.com/office/drawing/2014/main" id="{7476C5DE-3CFC-4F52-B600-2F6423217637}"/>
              </a:ext>
            </a:extLst>
          </p:cNvPr>
          <p:cNvSpPr txBox="1"/>
          <p:nvPr/>
        </p:nvSpPr>
        <p:spPr>
          <a:xfrm>
            <a:off x="10379402" y="3448728"/>
            <a:ext cx="677333" cy="276999"/>
          </a:xfrm>
          <a:prstGeom prst="rect">
            <a:avLst/>
          </a:prstGeom>
          <a:noFill/>
        </p:spPr>
        <p:txBody>
          <a:bodyPr wrap="square" rtlCol="0">
            <a:spAutoFit/>
          </a:bodyPr>
          <a:lstStyle/>
          <a:p>
            <a:pPr algn="ctr"/>
            <a:r>
              <a:rPr lang="en-GB" sz="1200" b="1" dirty="0">
                <a:solidFill>
                  <a:srgbClr val="92D050"/>
                </a:solidFill>
                <a:cs typeface="Arial" panose="020B0604020202020204" pitchFamily="34" charset="0"/>
              </a:rPr>
              <a:t>+3%</a:t>
            </a:r>
          </a:p>
        </p:txBody>
      </p:sp>
      <p:sp>
        <p:nvSpPr>
          <p:cNvPr id="115" name="pole tekstowe 114">
            <a:extLst>
              <a:ext uri="{FF2B5EF4-FFF2-40B4-BE49-F238E27FC236}">
                <a16:creationId xmlns:a16="http://schemas.microsoft.com/office/drawing/2014/main" id="{9A74AE67-5C4C-4683-ACE6-174156A8E7A9}"/>
              </a:ext>
            </a:extLst>
          </p:cNvPr>
          <p:cNvSpPr txBox="1"/>
          <p:nvPr/>
        </p:nvSpPr>
        <p:spPr>
          <a:xfrm>
            <a:off x="10979982" y="3448728"/>
            <a:ext cx="677333" cy="276999"/>
          </a:xfrm>
          <a:prstGeom prst="rect">
            <a:avLst/>
          </a:prstGeom>
          <a:noFill/>
        </p:spPr>
        <p:txBody>
          <a:bodyPr wrap="square" rtlCol="0">
            <a:spAutoFit/>
          </a:bodyPr>
          <a:lstStyle/>
          <a:p>
            <a:pPr algn="ctr"/>
            <a:r>
              <a:rPr lang="en-GB" sz="1200" b="1" dirty="0">
                <a:solidFill>
                  <a:srgbClr val="92D050"/>
                </a:solidFill>
                <a:cs typeface="Arial" panose="020B0604020202020204" pitchFamily="34" charset="0"/>
              </a:rPr>
              <a:t>+3%</a:t>
            </a:r>
          </a:p>
        </p:txBody>
      </p:sp>
      <p:sp>
        <p:nvSpPr>
          <p:cNvPr id="116" name="pole tekstowe 115">
            <a:extLst>
              <a:ext uri="{FF2B5EF4-FFF2-40B4-BE49-F238E27FC236}">
                <a16:creationId xmlns:a16="http://schemas.microsoft.com/office/drawing/2014/main" id="{D117B772-B634-45D8-BF41-3C36FBEEEF64}"/>
              </a:ext>
            </a:extLst>
          </p:cNvPr>
          <p:cNvSpPr txBox="1"/>
          <p:nvPr/>
        </p:nvSpPr>
        <p:spPr>
          <a:xfrm>
            <a:off x="10379402" y="3635020"/>
            <a:ext cx="677333" cy="276999"/>
          </a:xfrm>
          <a:prstGeom prst="rect">
            <a:avLst/>
          </a:prstGeom>
          <a:noFill/>
        </p:spPr>
        <p:txBody>
          <a:bodyPr wrap="square" rtlCol="0">
            <a:spAutoFit/>
          </a:bodyPr>
          <a:lstStyle/>
          <a:p>
            <a:pPr algn="ctr"/>
            <a:r>
              <a:rPr lang="en-GB" sz="1200" b="1" dirty="0">
                <a:solidFill>
                  <a:srgbClr val="92D050"/>
                </a:solidFill>
                <a:cs typeface="Arial" panose="020B0604020202020204" pitchFamily="34" charset="0"/>
              </a:rPr>
              <a:t>+2%</a:t>
            </a:r>
          </a:p>
        </p:txBody>
      </p:sp>
      <p:sp>
        <p:nvSpPr>
          <p:cNvPr id="117" name="pole tekstowe 116">
            <a:extLst>
              <a:ext uri="{FF2B5EF4-FFF2-40B4-BE49-F238E27FC236}">
                <a16:creationId xmlns:a16="http://schemas.microsoft.com/office/drawing/2014/main" id="{BA790F72-24AD-4663-A5FF-2A2CFC758710}"/>
              </a:ext>
            </a:extLst>
          </p:cNvPr>
          <p:cNvSpPr txBox="1"/>
          <p:nvPr/>
        </p:nvSpPr>
        <p:spPr>
          <a:xfrm>
            <a:off x="10979982" y="3635020"/>
            <a:ext cx="677333" cy="276999"/>
          </a:xfrm>
          <a:prstGeom prst="rect">
            <a:avLst/>
          </a:prstGeom>
          <a:noFill/>
        </p:spPr>
        <p:txBody>
          <a:bodyPr wrap="square" rtlCol="0">
            <a:spAutoFit/>
          </a:bodyPr>
          <a:lstStyle/>
          <a:p>
            <a:pPr algn="ctr"/>
            <a:r>
              <a:rPr lang="en-GB" sz="1200" b="1" dirty="0">
                <a:solidFill>
                  <a:srgbClr val="00B050"/>
                </a:solidFill>
                <a:cs typeface="Arial" panose="020B0604020202020204" pitchFamily="34" charset="0"/>
              </a:rPr>
              <a:t>+8%</a:t>
            </a:r>
          </a:p>
        </p:txBody>
      </p:sp>
      <p:sp>
        <p:nvSpPr>
          <p:cNvPr id="118" name="pole tekstowe 117">
            <a:extLst>
              <a:ext uri="{FF2B5EF4-FFF2-40B4-BE49-F238E27FC236}">
                <a16:creationId xmlns:a16="http://schemas.microsoft.com/office/drawing/2014/main" id="{E4381003-73ED-49E0-9A74-C62A674CD095}"/>
              </a:ext>
            </a:extLst>
          </p:cNvPr>
          <p:cNvSpPr txBox="1"/>
          <p:nvPr/>
        </p:nvSpPr>
        <p:spPr>
          <a:xfrm>
            <a:off x="10379402" y="3854182"/>
            <a:ext cx="677333" cy="276999"/>
          </a:xfrm>
          <a:prstGeom prst="rect">
            <a:avLst/>
          </a:prstGeom>
          <a:noFill/>
        </p:spPr>
        <p:txBody>
          <a:bodyPr wrap="square" rtlCol="0">
            <a:spAutoFit/>
          </a:bodyPr>
          <a:lstStyle/>
          <a:p>
            <a:pPr algn="ctr"/>
            <a:r>
              <a:rPr lang="en-GB" sz="1200" b="1" dirty="0">
                <a:solidFill>
                  <a:srgbClr val="92D050"/>
                </a:solidFill>
                <a:cs typeface="Arial" panose="020B0604020202020204" pitchFamily="34" charset="0"/>
              </a:rPr>
              <a:t>+4%</a:t>
            </a:r>
          </a:p>
        </p:txBody>
      </p:sp>
      <p:sp>
        <p:nvSpPr>
          <p:cNvPr id="119" name="pole tekstowe 118">
            <a:extLst>
              <a:ext uri="{FF2B5EF4-FFF2-40B4-BE49-F238E27FC236}">
                <a16:creationId xmlns:a16="http://schemas.microsoft.com/office/drawing/2014/main" id="{6E08A18F-41F9-4F5C-B2F5-CF28E051516A}"/>
              </a:ext>
            </a:extLst>
          </p:cNvPr>
          <p:cNvSpPr txBox="1"/>
          <p:nvPr/>
        </p:nvSpPr>
        <p:spPr>
          <a:xfrm>
            <a:off x="10979982" y="3854182"/>
            <a:ext cx="677333" cy="276999"/>
          </a:xfrm>
          <a:prstGeom prst="rect">
            <a:avLst/>
          </a:prstGeom>
          <a:noFill/>
        </p:spPr>
        <p:txBody>
          <a:bodyPr wrap="square" rtlCol="0">
            <a:spAutoFit/>
          </a:bodyPr>
          <a:lstStyle/>
          <a:p>
            <a:pPr algn="ctr"/>
            <a:r>
              <a:rPr lang="en-GB" sz="1200" b="1" dirty="0">
                <a:solidFill>
                  <a:srgbClr val="548235"/>
                </a:solidFill>
                <a:cs typeface="Arial" panose="020B0604020202020204" pitchFamily="34" charset="0"/>
              </a:rPr>
              <a:t>+11%</a:t>
            </a:r>
          </a:p>
        </p:txBody>
      </p:sp>
      <p:sp>
        <p:nvSpPr>
          <p:cNvPr id="122" name="pole tekstowe 121">
            <a:extLst>
              <a:ext uri="{FF2B5EF4-FFF2-40B4-BE49-F238E27FC236}">
                <a16:creationId xmlns:a16="http://schemas.microsoft.com/office/drawing/2014/main" id="{45511D1A-4A3E-4810-8EB4-DA593BA5E23F}"/>
              </a:ext>
            </a:extLst>
          </p:cNvPr>
          <p:cNvSpPr txBox="1"/>
          <p:nvPr/>
        </p:nvSpPr>
        <p:spPr>
          <a:xfrm>
            <a:off x="855503" y="4422838"/>
            <a:ext cx="10406394" cy="1595835"/>
          </a:xfrm>
          <a:prstGeom prst="rect">
            <a:avLst/>
          </a:prstGeom>
          <a:noFill/>
        </p:spPr>
        <p:txBody>
          <a:bodyPr wrap="square" tIns="54000" bIns="90000" rtlCol="0" anchor="t">
            <a:noAutofit/>
          </a:bodyPr>
          <a:lstStyle/>
          <a:p>
            <a:pPr marL="171454" indent="-171454" algn="just">
              <a:spcAft>
                <a:spcPts val="600"/>
              </a:spcAft>
              <a:buClr>
                <a:srgbClr val="D71920"/>
              </a:buClr>
              <a:buFont typeface="Wingdings" panose="05000000000000000000" pitchFamily="2" charset="2"/>
              <a:buChar char="§"/>
            </a:pPr>
            <a:r>
              <a:rPr lang="en-GB" sz="1200" dirty="0">
                <a:cs typeface="Arial" panose="020B0604020202020204" pitchFamily="34" charset="0"/>
              </a:rPr>
              <a:t>After a period of stagnation in the first half of the previous decade, after 2015 the value of the FDI portfolio in Poland returned to a fairly solid growth path. In 2021, our country accounted for 29% of the entire FDI portfolio in the EU countries of the CEE </a:t>
            </a:r>
            <a:r>
              <a:rPr lang="en-GB" sz="1200" baseline="30000" dirty="0">
                <a:cs typeface="Arial" panose="020B0604020202020204" pitchFamily="34" charset="0"/>
              </a:rPr>
              <a:t>4</a:t>
            </a:r>
            <a:r>
              <a:rPr lang="en-GB" sz="1200" dirty="0">
                <a:cs typeface="Arial" panose="020B0604020202020204" pitchFamily="34" charset="0"/>
              </a:rPr>
              <a:t>, and starting from 2015, Poland attracted 39% of the entire inflow of these investments to the region. </a:t>
            </a:r>
          </a:p>
          <a:p>
            <a:pPr marL="171454" indent="-171454" algn="just">
              <a:spcAft>
                <a:spcPts val="600"/>
              </a:spcAft>
              <a:buClr>
                <a:srgbClr val="D71920"/>
              </a:buClr>
              <a:buFont typeface="Wingdings" panose="05000000000000000000" pitchFamily="2" charset="2"/>
              <a:buChar char="§"/>
            </a:pPr>
            <a:r>
              <a:rPr lang="en-GB" sz="1200" dirty="0">
                <a:cs typeface="Arial" panose="020B0604020202020204" pitchFamily="34" charset="0"/>
              </a:rPr>
              <a:t>In the 2015-21 period, the value of investments from countries playing a key role in the entire FDI portfolio (Netherlands, Germany, Luxembourg) showed high dynamics, but it also grew rapidly in the case of some smaller players (Austria, Belgium, Switzerland) as well as international companies based in Cyprus.</a:t>
            </a:r>
          </a:p>
          <a:p>
            <a:pPr marL="171454" indent="-171454" algn="just">
              <a:spcAft>
                <a:spcPts val="600"/>
              </a:spcAft>
              <a:buClr>
                <a:srgbClr val="D71920"/>
              </a:buClr>
              <a:buFont typeface="Wingdings" panose="05000000000000000000" pitchFamily="2" charset="2"/>
              <a:buChar char="§"/>
            </a:pPr>
            <a:r>
              <a:rPr lang="en-GB" sz="1200" dirty="0">
                <a:cs typeface="Arial" panose="020B0604020202020204" pitchFamily="34" charset="0"/>
              </a:rPr>
              <a:t>The largest share of the FDI portfolio in Poland still belongs to the highly developed and pro-export manufacturing. However, in the years 2015-21, strong dynamics were reported in modern, dynamically developing branches of the economy (ICT - especially in the area of ​​IT services - and professional, scientific and technical activities) as well as in real estate activities, transport and logistics, and in a group of branches (most of all service activities) that have played a minor role in the portfolio so far. </a:t>
            </a:r>
          </a:p>
          <a:p>
            <a:pPr marL="171454" indent="-171454" algn="just">
              <a:spcAft>
                <a:spcPts val="600"/>
              </a:spcAft>
              <a:buClr>
                <a:srgbClr val="D71920"/>
              </a:buClr>
              <a:buFont typeface="Wingdings" panose="05000000000000000000" pitchFamily="2" charset="2"/>
              <a:buChar char="§"/>
            </a:pPr>
            <a:endParaRPr lang="en-GB" sz="1200" dirty="0">
              <a:cs typeface="Arial" panose="020B0604020202020204" pitchFamily="34" charset="0"/>
            </a:endParaRPr>
          </a:p>
        </p:txBody>
      </p:sp>
      <p:sp>
        <p:nvSpPr>
          <p:cNvPr id="123" name="Title 1">
            <a:extLst>
              <a:ext uri="{FF2B5EF4-FFF2-40B4-BE49-F238E27FC236}">
                <a16:creationId xmlns:a16="http://schemas.microsoft.com/office/drawing/2014/main" id="{4111EF61-75AB-4B48-A9C9-8CE8B0B55B32}"/>
              </a:ext>
            </a:extLst>
          </p:cNvPr>
          <p:cNvSpPr txBox="1">
            <a:spLocks/>
          </p:cNvSpPr>
          <p:nvPr/>
        </p:nvSpPr>
        <p:spPr>
          <a:xfrm>
            <a:off x="864738" y="6377749"/>
            <a:ext cx="10636651" cy="206457"/>
          </a:xfrm>
          <a:prstGeom prst="rect">
            <a:avLst/>
          </a:prstGeom>
        </p:spPr>
        <p:txBody>
          <a:bodyPr vert="horz" lIns="0" tIns="0" rIns="0" bIns="0" rtlCol="0" anchor="t" anchorCtr="0">
            <a:noAutofit/>
          </a:bodyPr>
          <a:lstStyle>
            <a:defPPr>
              <a:defRPr lang="en-US"/>
            </a:defPPr>
            <a:lvl1pPr defTabSz="966281">
              <a:spcBef>
                <a:spcPct val="0"/>
              </a:spcBef>
              <a:buNone/>
              <a:tabLst>
                <a:tab pos="291254" algn="l"/>
              </a:tabLst>
              <a:defRPr sz="900" b="0">
                <a:latin typeface="Arial" panose="020B0604020202020204" pitchFamily="34" charset="0"/>
                <a:ea typeface="+mj-ea"/>
                <a:cs typeface="Arial" panose="020B0604020202020204" pitchFamily="34" charset="0"/>
              </a:defRPr>
            </a:lvl1pPr>
          </a:lstStyle>
          <a:p>
            <a:r>
              <a:rPr lang="en-GB" dirty="0"/>
              <a:t>1) Both wholesale and retail     2) Including insurance activities    3) Including scientific and technical activities     4) Taking into account Poland, Czechia, Slovakia, Lithuania, Latvia, Estonia, Hungary, Romania, Bulgaria, Slovenia, Croatia</a:t>
            </a:r>
            <a:br>
              <a:rPr lang="en-GB" dirty="0"/>
            </a:br>
            <a:r>
              <a:rPr lang="en-GB" dirty="0"/>
              <a:t>Source: NBP, UNCTAD</a:t>
            </a:r>
          </a:p>
        </p:txBody>
      </p:sp>
      <p:graphicFrame>
        <p:nvGraphicFramePr>
          <p:cNvPr id="132" name="Wykres 131">
            <a:extLst>
              <a:ext uri="{FF2B5EF4-FFF2-40B4-BE49-F238E27FC236}">
                <a16:creationId xmlns:a16="http://schemas.microsoft.com/office/drawing/2014/main" id="{17B266DC-15C8-4F87-BCBB-D8F5D51C8923}"/>
              </a:ext>
            </a:extLst>
          </p:cNvPr>
          <p:cNvGraphicFramePr/>
          <p:nvPr>
            <p:extLst>
              <p:ext uri="{D42A27DB-BD31-4B8C-83A1-F6EECF244321}">
                <p14:modId xmlns:p14="http://schemas.microsoft.com/office/powerpoint/2010/main" val="935265856"/>
              </p:ext>
            </p:extLst>
          </p:nvPr>
        </p:nvGraphicFramePr>
        <p:xfrm>
          <a:off x="886034" y="1515096"/>
          <a:ext cx="3169141" cy="2864016"/>
        </p:xfrm>
        <a:graphic>
          <a:graphicData uri="http://schemas.openxmlformats.org/drawingml/2006/chart">
            <c:chart xmlns:c="http://schemas.openxmlformats.org/drawingml/2006/chart" xmlns:r="http://schemas.openxmlformats.org/officeDocument/2006/relationships" r:id="rId14"/>
          </a:graphicData>
        </a:graphic>
      </p:graphicFrame>
      <p:sp>
        <p:nvSpPr>
          <p:cNvPr id="133" name="pole tekstowe 132">
            <a:extLst>
              <a:ext uri="{FF2B5EF4-FFF2-40B4-BE49-F238E27FC236}">
                <a16:creationId xmlns:a16="http://schemas.microsoft.com/office/drawing/2014/main" id="{692CC700-2190-4455-A6CC-F3593EDE7B12}"/>
              </a:ext>
            </a:extLst>
          </p:cNvPr>
          <p:cNvSpPr txBox="1"/>
          <p:nvPr/>
        </p:nvSpPr>
        <p:spPr>
          <a:xfrm>
            <a:off x="874364" y="1101644"/>
            <a:ext cx="972150" cy="276999"/>
          </a:xfrm>
          <a:prstGeom prst="rect">
            <a:avLst/>
          </a:prstGeom>
          <a:noFill/>
        </p:spPr>
        <p:txBody>
          <a:bodyPr wrap="square" rtlCol="0">
            <a:spAutoFit/>
          </a:bodyPr>
          <a:lstStyle/>
          <a:p>
            <a:r>
              <a:rPr lang="en-GB" sz="1200" i="1" dirty="0">
                <a:cs typeface="Arial" panose="020B0604020202020204" pitchFamily="34" charset="0"/>
              </a:rPr>
              <a:t>bn euros</a:t>
            </a:r>
          </a:p>
        </p:txBody>
      </p:sp>
      <p:pic>
        <p:nvPicPr>
          <p:cNvPr id="3" name="Obraz 2">
            <a:extLst>
              <a:ext uri="{FF2B5EF4-FFF2-40B4-BE49-F238E27FC236}">
                <a16:creationId xmlns:a16="http://schemas.microsoft.com/office/drawing/2014/main" id="{5945AE9B-7450-42FF-B70B-309A40FA3678}"/>
              </a:ext>
            </a:extLst>
          </p:cNvPr>
          <p:cNvPicPr>
            <a:picLocks/>
          </p:cNvPicPr>
          <p:nvPr/>
        </p:nvPicPr>
        <p:blipFill>
          <a:blip r:embed="rId15"/>
          <a:stretch>
            <a:fillRect/>
          </a:stretch>
        </p:blipFill>
        <p:spPr>
          <a:xfrm>
            <a:off x="5443610" y="3268338"/>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7" name="Obraz 6">
            <a:extLst>
              <a:ext uri="{FF2B5EF4-FFF2-40B4-BE49-F238E27FC236}">
                <a16:creationId xmlns:a16="http://schemas.microsoft.com/office/drawing/2014/main" id="{D1860632-20E4-4889-975E-DA37D640B05F}"/>
              </a:ext>
            </a:extLst>
          </p:cNvPr>
          <p:cNvPicPr>
            <a:picLocks/>
          </p:cNvPicPr>
          <p:nvPr/>
        </p:nvPicPr>
        <p:blipFill>
          <a:blip r:embed="rId16"/>
          <a:stretch>
            <a:fillRect/>
          </a:stretch>
        </p:blipFill>
        <p:spPr>
          <a:xfrm>
            <a:off x="5443610" y="3694368"/>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10" name="Obraz 9" descr="Obraz zawierający tekst, zrzut ekranu&#10;&#10;Opis wygenerowany automatycznie">
            <a:extLst>
              <a:ext uri="{FF2B5EF4-FFF2-40B4-BE49-F238E27FC236}">
                <a16:creationId xmlns:a16="http://schemas.microsoft.com/office/drawing/2014/main" id="{2CAAF2AC-FDB8-4C91-A9E0-B577A5246340}"/>
              </a:ext>
            </a:extLst>
          </p:cNvPr>
          <p:cNvPicPr>
            <a:picLocks/>
          </p:cNvPicPr>
          <p:nvPr/>
        </p:nvPicPr>
        <p:blipFill>
          <a:blip r:embed="rId17"/>
          <a:stretch>
            <a:fillRect/>
          </a:stretch>
        </p:blipFill>
        <p:spPr>
          <a:xfrm>
            <a:off x="5443610" y="3055323"/>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12" name="Obraz 11">
            <a:extLst>
              <a:ext uri="{FF2B5EF4-FFF2-40B4-BE49-F238E27FC236}">
                <a16:creationId xmlns:a16="http://schemas.microsoft.com/office/drawing/2014/main" id="{3FA32B30-0649-46F0-B51A-B2C2FA0A2221}"/>
              </a:ext>
            </a:extLst>
          </p:cNvPr>
          <p:cNvPicPr>
            <a:picLocks/>
          </p:cNvPicPr>
          <p:nvPr/>
        </p:nvPicPr>
        <p:blipFill>
          <a:blip r:embed="rId18"/>
          <a:stretch>
            <a:fillRect/>
          </a:stretch>
        </p:blipFill>
        <p:spPr>
          <a:xfrm>
            <a:off x="5443610" y="2416278"/>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15" name="Obraz 14">
            <a:extLst>
              <a:ext uri="{FF2B5EF4-FFF2-40B4-BE49-F238E27FC236}">
                <a16:creationId xmlns:a16="http://schemas.microsoft.com/office/drawing/2014/main" id="{A3E4F392-2E2E-469C-86A8-65A0D8644404}"/>
              </a:ext>
            </a:extLst>
          </p:cNvPr>
          <p:cNvPicPr>
            <a:picLocks/>
          </p:cNvPicPr>
          <p:nvPr/>
        </p:nvPicPr>
        <p:blipFill>
          <a:blip r:embed="rId19"/>
          <a:stretch>
            <a:fillRect/>
          </a:stretch>
        </p:blipFill>
        <p:spPr>
          <a:xfrm>
            <a:off x="5443610" y="3907385"/>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pic>
        <p:nvPicPr>
          <p:cNvPr id="17" name="Obraz 16">
            <a:extLst>
              <a:ext uri="{FF2B5EF4-FFF2-40B4-BE49-F238E27FC236}">
                <a16:creationId xmlns:a16="http://schemas.microsoft.com/office/drawing/2014/main" id="{044EFE5F-CAA0-4E83-A523-FDDFFDECA188}"/>
              </a:ext>
            </a:extLst>
          </p:cNvPr>
          <p:cNvPicPr>
            <a:picLocks/>
          </p:cNvPicPr>
          <p:nvPr/>
        </p:nvPicPr>
        <p:blipFill>
          <a:blip r:embed="rId20"/>
          <a:stretch>
            <a:fillRect/>
          </a:stretch>
        </p:blipFill>
        <p:spPr>
          <a:xfrm>
            <a:off x="5443610" y="2842308"/>
            <a:ext cx="252000" cy="180000"/>
          </a:xfrm>
          <a:prstGeom prst="rect">
            <a:avLst/>
          </a:prstGeom>
          <a:solidFill>
            <a:schemeClr val="bg1">
              <a:lumMod val="95000"/>
            </a:schemeClr>
          </a:solidFill>
          <a:ln w="3175">
            <a:solidFill>
              <a:schemeClr val="tx1">
                <a:lumMod val="95000"/>
                <a:lumOff val="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28998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i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51" name="Obraz 150"/>
          <p:cNvPicPr/>
          <p:nvPr/>
        </p:nvPicPr>
        <p:blipFill rotWithShape="1">
          <a:blip r:embed="rId7">
            <a:extLst>
              <a:ext uri="{28A0092B-C50C-407E-A947-70E740481C1C}">
                <a14:useLocalDpi xmlns:a14="http://schemas.microsoft.com/office/drawing/2010/main" val="0"/>
              </a:ext>
            </a:extLst>
          </a:blip>
          <a:srcRect l="62014" b="51403"/>
          <a:stretch/>
        </p:blipFill>
        <p:spPr bwMode="auto">
          <a:xfrm>
            <a:off x="11415505" y="56460"/>
            <a:ext cx="706057" cy="1157468"/>
          </a:xfrm>
          <a:prstGeom prst="rect">
            <a:avLst/>
          </a:prstGeom>
          <a:noFill/>
        </p:spPr>
      </p:pic>
      <p:cxnSp>
        <p:nvCxnSpPr>
          <p:cNvPr id="121" name="Łącznik prosty 120"/>
          <p:cNvCxnSpPr/>
          <p:nvPr/>
        </p:nvCxnSpPr>
        <p:spPr>
          <a:xfrm>
            <a:off x="-112115" y="1314532"/>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sp>
        <p:nvSpPr>
          <p:cNvPr id="3" name="Tytuł 2">
            <a:extLst>
              <a:ext uri="{FF2B5EF4-FFF2-40B4-BE49-F238E27FC236}">
                <a16:creationId xmlns:a16="http://schemas.microsoft.com/office/drawing/2014/main" id="{D9D23C93-8D07-4506-BB5D-B821843577D5}"/>
              </a:ext>
            </a:extLst>
          </p:cNvPr>
          <p:cNvSpPr>
            <a:spLocks noGrp="1"/>
          </p:cNvSpPr>
          <p:nvPr>
            <p:ph type="title"/>
          </p:nvPr>
        </p:nvSpPr>
        <p:spPr/>
        <p:txBody>
          <a:bodyPr/>
          <a:lstStyle/>
          <a:p>
            <a:r>
              <a:rPr lang="en-GB" dirty="0"/>
              <a:t>Challenges that lie ahead</a:t>
            </a:r>
          </a:p>
        </p:txBody>
      </p:sp>
      <p:graphicFrame>
        <p:nvGraphicFramePr>
          <p:cNvPr id="4" name="Tabela 4">
            <a:extLst>
              <a:ext uri="{FF2B5EF4-FFF2-40B4-BE49-F238E27FC236}">
                <a16:creationId xmlns:a16="http://schemas.microsoft.com/office/drawing/2014/main" id="{C76F83A6-2610-4B30-AE73-1C576967A4B4}"/>
              </a:ext>
            </a:extLst>
          </p:cNvPr>
          <p:cNvGraphicFramePr>
            <a:graphicFrameLocks noGrp="1"/>
          </p:cNvGraphicFramePr>
          <p:nvPr>
            <p:extLst>
              <p:ext uri="{D42A27DB-BD31-4B8C-83A1-F6EECF244321}">
                <p14:modId xmlns:p14="http://schemas.microsoft.com/office/powerpoint/2010/main" val="1767756817"/>
              </p:ext>
            </p:extLst>
          </p:nvPr>
        </p:nvGraphicFramePr>
        <p:xfrm>
          <a:off x="85757" y="1415137"/>
          <a:ext cx="12020486" cy="4846768"/>
        </p:xfrm>
        <a:graphic>
          <a:graphicData uri="http://schemas.openxmlformats.org/drawingml/2006/table">
            <a:tbl>
              <a:tblPr firstRow="1" bandRow="1">
                <a:tableStyleId>{5C22544A-7EE6-4342-B048-85BDC9FD1C3A}</a:tableStyleId>
              </a:tblPr>
              <a:tblGrid>
                <a:gridCol w="1220486">
                  <a:extLst>
                    <a:ext uri="{9D8B030D-6E8A-4147-A177-3AD203B41FA5}">
                      <a16:colId xmlns:a16="http://schemas.microsoft.com/office/drawing/2014/main" val="3480262499"/>
                    </a:ext>
                  </a:extLst>
                </a:gridCol>
                <a:gridCol w="2160000">
                  <a:extLst>
                    <a:ext uri="{9D8B030D-6E8A-4147-A177-3AD203B41FA5}">
                      <a16:colId xmlns:a16="http://schemas.microsoft.com/office/drawing/2014/main" val="3008762408"/>
                    </a:ext>
                  </a:extLst>
                </a:gridCol>
                <a:gridCol w="2160000">
                  <a:extLst>
                    <a:ext uri="{9D8B030D-6E8A-4147-A177-3AD203B41FA5}">
                      <a16:colId xmlns:a16="http://schemas.microsoft.com/office/drawing/2014/main" val="2541798600"/>
                    </a:ext>
                  </a:extLst>
                </a:gridCol>
                <a:gridCol w="2160000">
                  <a:extLst>
                    <a:ext uri="{9D8B030D-6E8A-4147-A177-3AD203B41FA5}">
                      <a16:colId xmlns:a16="http://schemas.microsoft.com/office/drawing/2014/main" val="1825390595"/>
                    </a:ext>
                  </a:extLst>
                </a:gridCol>
                <a:gridCol w="2160000">
                  <a:extLst>
                    <a:ext uri="{9D8B030D-6E8A-4147-A177-3AD203B41FA5}">
                      <a16:colId xmlns:a16="http://schemas.microsoft.com/office/drawing/2014/main" val="4289963119"/>
                    </a:ext>
                  </a:extLst>
                </a:gridCol>
                <a:gridCol w="2160000">
                  <a:extLst>
                    <a:ext uri="{9D8B030D-6E8A-4147-A177-3AD203B41FA5}">
                      <a16:colId xmlns:a16="http://schemas.microsoft.com/office/drawing/2014/main" val="321676009"/>
                    </a:ext>
                  </a:extLst>
                </a:gridCol>
              </a:tblGrid>
              <a:tr h="1035991">
                <a:tc>
                  <a:txBody>
                    <a:bodyPr/>
                    <a:lstStyle/>
                    <a:p>
                      <a:pPr algn="ctr"/>
                      <a:r>
                        <a:rPr lang="en-GB" b="1" noProof="0">
                          <a:solidFill>
                            <a:schemeClr val="bg1"/>
                          </a:solidFill>
                        </a:rPr>
                        <a:t>Challenge</a:t>
                      </a:r>
                    </a:p>
                  </a:txBody>
                  <a:tcPr anchor="ctr">
                    <a:solidFill>
                      <a:srgbClr val="C00000"/>
                    </a:solidFill>
                  </a:tcPr>
                </a:tc>
                <a:tc>
                  <a:txBody>
                    <a:bodyPr/>
                    <a:lstStyle/>
                    <a:p>
                      <a:pPr algn="ctr"/>
                      <a:r>
                        <a:rPr lang="en-GB" b="1" noProof="0">
                          <a:solidFill>
                            <a:schemeClr val="tx1"/>
                          </a:solidFill>
                        </a:rPr>
                        <a:t>Demographic decline</a:t>
                      </a:r>
                    </a:p>
                  </a:txBody>
                  <a:tcPr anchor="ctr">
                    <a:solidFill>
                      <a:schemeClr val="accent6">
                        <a:lumMod val="20000"/>
                        <a:lumOff val="80000"/>
                      </a:schemeClr>
                    </a:solidFill>
                  </a:tcPr>
                </a:tc>
                <a:tc>
                  <a:txBody>
                    <a:bodyPr/>
                    <a:lstStyle/>
                    <a:p>
                      <a:pPr algn="ctr"/>
                      <a:r>
                        <a:rPr lang="en-GB" b="1" noProof="0">
                          <a:solidFill>
                            <a:schemeClr val="tx1"/>
                          </a:solidFill>
                        </a:rPr>
                        <a:t>Negative NIIP</a:t>
                      </a:r>
                    </a:p>
                  </a:txBody>
                  <a:tcPr anchor="ctr">
                    <a:solidFill>
                      <a:schemeClr val="accent6">
                        <a:lumMod val="20000"/>
                        <a:lumOff val="80000"/>
                      </a:schemeClr>
                    </a:solidFill>
                  </a:tcPr>
                </a:tc>
                <a:tc>
                  <a:txBody>
                    <a:bodyPr/>
                    <a:lstStyle/>
                    <a:p>
                      <a:pPr algn="ctr"/>
                      <a:r>
                        <a:rPr lang="en-GB" b="1" noProof="0">
                          <a:solidFill>
                            <a:schemeClr val="tx1"/>
                          </a:solidFill>
                        </a:rPr>
                        <a:t>Energy transition</a:t>
                      </a:r>
                    </a:p>
                  </a:txBody>
                  <a:tcPr anchor="ctr">
                    <a:solidFill>
                      <a:schemeClr val="accent6">
                        <a:lumMod val="20000"/>
                        <a:lumOff val="80000"/>
                      </a:schemeClr>
                    </a:solidFill>
                  </a:tcPr>
                </a:tc>
                <a:tc>
                  <a:txBody>
                    <a:bodyPr/>
                    <a:lstStyle/>
                    <a:p>
                      <a:pPr algn="ctr"/>
                      <a:r>
                        <a:rPr lang="en-GB" b="1" noProof="0">
                          <a:solidFill>
                            <a:schemeClr val="tx1"/>
                          </a:solidFill>
                        </a:rPr>
                        <a:t>Underdeveloped financial markets</a:t>
                      </a:r>
                    </a:p>
                  </a:txBody>
                  <a:tcPr anchor="ctr">
                    <a:solidFill>
                      <a:schemeClr val="accent6">
                        <a:lumMod val="20000"/>
                        <a:lumOff val="80000"/>
                      </a:schemeClr>
                    </a:solidFill>
                  </a:tcPr>
                </a:tc>
                <a:tc>
                  <a:txBody>
                    <a:bodyPr/>
                    <a:lstStyle/>
                    <a:p>
                      <a:pPr algn="ctr"/>
                      <a:r>
                        <a:rPr lang="en-GB" b="1" noProof="0">
                          <a:solidFill>
                            <a:schemeClr val="tx1"/>
                          </a:solidFill>
                        </a:rPr>
                        <a:t>Justice system</a:t>
                      </a:r>
                    </a:p>
                  </a:txBody>
                  <a:tcPr anchor="ctr">
                    <a:solidFill>
                      <a:schemeClr val="accent6">
                        <a:lumMod val="20000"/>
                        <a:lumOff val="80000"/>
                      </a:schemeClr>
                    </a:solidFill>
                  </a:tcPr>
                </a:tc>
                <a:extLst>
                  <a:ext uri="{0D108BD9-81ED-4DB2-BD59-A6C34878D82A}">
                    <a16:rowId xmlns:a16="http://schemas.microsoft.com/office/drawing/2014/main" val="1369043992"/>
                  </a:ext>
                </a:extLst>
              </a:tr>
              <a:tr h="2899770">
                <a:tc>
                  <a:txBody>
                    <a:bodyPr/>
                    <a:lstStyle/>
                    <a:p>
                      <a:pPr algn="ctr"/>
                      <a:r>
                        <a:rPr lang="en-GB" b="1" noProof="0">
                          <a:solidFill>
                            <a:schemeClr val="bg1"/>
                          </a:solidFill>
                        </a:rPr>
                        <a:t>Illustration</a:t>
                      </a:r>
                    </a:p>
                  </a:txBody>
                  <a:tcPr anchor="ctr">
                    <a:solidFill>
                      <a:srgbClr val="C00000"/>
                    </a:solidFill>
                  </a:tcPr>
                </a:tc>
                <a:tc>
                  <a:txBody>
                    <a:bodyPr/>
                    <a:lstStyle/>
                    <a:p>
                      <a:endParaRPr lang="en-GB" b="0" noProof="0">
                        <a:solidFill>
                          <a:schemeClr val="tx1"/>
                        </a:solidFill>
                      </a:endParaRPr>
                    </a:p>
                  </a:txBody>
                  <a:tcPr>
                    <a:solidFill>
                      <a:schemeClr val="bg1"/>
                    </a:solidFill>
                  </a:tcPr>
                </a:tc>
                <a:tc>
                  <a:txBody>
                    <a:bodyPr/>
                    <a:lstStyle/>
                    <a:p>
                      <a:endParaRPr lang="en-GB" b="0" noProof="0">
                        <a:solidFill>
                          <a:schemeClr val="tx1"/>
                        </a:solidFill>
                      </a:endParaRPr>
                    </a:p>
                  </a:txBody>
                  <a:tcPr>
                    <a:solidFill>
                      <a:schemeClr val="bg1"/>
                    </a:solidFill>
                  </a:tcPr>
                </a:tc>
                <a:tc>
                  <a:txBody>
                    <a:bodyPr/>
                    <a:lstStyle/>
                    <a:p>
                      <a:endParaRPr lang="en-GB" b="0" noProof="0">
                        <a:solidFill>
                          <a:schemeClr val="tx1"/>
                        </a:solidFill>
                      </a:endParaRPr>
                    </a:p>
                  </a:txBody>
                  <a:tcPr>
                    <a:solidFill>
                      <a:schemeClr val="bg1"/>
                    </a:solidFill>
                  </a:tcPr>
                </a:tc>
                <a:tc>
                  <a:txBody>
                    <a:bodyPr/>
                    <a:lstStyle/>
                    <a:p>
                      <a:endParaRPr lang="en-GB" b="0" noProof="0">
                        <a:solidFill>
                          <a:schemeClr val="tx1"/>
                        </a:solidFill>
                      </a:endParaRPr>
                    </a:p>
                  </a:txBody>
                  <a:tcPr>
                    <a:solidFill>
                      <a:schemeClr val="bg1"/>
                    </a:solidFill>
                  </a:tcPr>
                </a:tc>
                <a:tc>
                  <a:txBody>
                    <a:bodyPr/>
                    <a:lstStyle/>
                    <a:p>
                      <a:endParaRPr lang="en-GB" b="0" noProof="0">
                        <a:solidFill>
                          <a:schemeClr val="tx1"/>
                        </a:solidFill>
                      </a:endParaRPr>
                    </a:p>
                  </a:txBody>
                  <a:tcPr>
                    <a:solidFill>
                      <a:schemeClr val="bg1"/>
                    </a:solidFill>
                  </a:tcPr>
                </a:tc>
                <a:extLst>
                  <a:ext uri="{0D108BD9-81ED-4DB2-BD59-A6C34878D82A}">
                    <a16:rowId xmlns:a16="http://schemas.microsoft.com/office/drawing/2014/main" val="857957946"/>
                  </a:ext>
                </a:extLst>
              </a:tr>
              <a:tr h="911007">
                <a:tc>
                  <a:txBody>
                    <a:bodyPr/>
                    <a:lstStyle/>
                    <a:p>
                      <a:pPr algn="ctr"/>
                      <a:r>
                        <a:rPr lang="en-GB" b="1" noProof="0">
                          <a:solidFill>
                            <a:schemeClr val="bg1"/>
                          </a:solidFill>
                        </a:rPr>
                        <a:t>Silver lining</a:t>
                      </a:r>
                    </a:p>
                  </a:txBody>
                  <a:tcPr anchor="ctr">
                    <a:solidFill>
                      <a:srgbClr val="C00000"/>
                    </a:solidFill>
                  </a:tcPr>
                </a:tc>
                <a:tc>
                  <a:txBody>
                    <a:bodyPr/>
                    <a:lstStyle/>
                    <a:p>
                      <a:pPr algn="ctr"/>
                      <a:r>
                        <a:rPr lang="en-GB" b="1" noProof="0">
                          <a:solidFill>
                            <a:schemeClr val="tx1"/>
                          </a:solidFill>
                        </a:rPr>
                        <a:t>Immigration</a:t>
                      </a:r>
                    </a:p>
                  </a:txBody>
                  <a:tcPr anchor="ctr">
                    <a:solidFill>
                      <a:schemeClr val="bg1">
                        <a:lumMod val="95000"/>
                      </a:schemeClr>
                    </a:solidFill>
                  </a:tcPr>
                </a:tc>
                <a:tc>
                  <a:txBody>
                    <a:bodyPr/>
                    <a:lstStyle/>
                    <a:p>
                      <a:pPr algn="ctr"/>
                      <a:r>
                        <a:rPr lang="en-GB" b="1" noProof="0">
                          <a:solidFill>
                            <a:schemeClr val="tx1"/>
                          </a:solidFill>
                        </a:rPr>
                        <a:t>Steady improvement</a:t>
                      </a:r>
                    </a:p>
                  </a:txBody>
                  <a:tcPr anchor="ctr">
                    <a:solidFill>
                      <a:schemeClr val="bg1">
                        <a:lumMod val="95000"/>
                      </a:schemeClr>
                    </a:solidFill>
                  </a:tcPr>
                </a:tc>
                <a:tc>
                  <a:txBody>
                    <a:bodyPr/>
                    <a:lstStyle/>
                    <a:p>
                      <a:pPr algn="ctr"/>
                      <a:r>
                        <a:rPr lang="en-GB" b="1" noProof="0">
                          <a:solidFill>
                            <a:schemeClr val="tx1"/>
                          </a:solidFill>
                        </a:rPr>
                        <a:t>The EU mandates it</a:t>
                      </a:r>
                    </a:p>
                  </a:txBody>
                  <a:tcPr anchor="ctr">
                    <a:solidFill>
                      <a:schemeClr val="bg1">
                        <a:lumMod val="95000"/>
                      </a:schemeClr>
                    </a:solidFill>
                  </a:tcPr>
                </a:tc>
                <a:tc>
                  <a:txBody>
                    <a:bodyPr/>
                    <a:lstStyle/>
                    <a:p>
                      <a:pPr algn="ctr"/>
                      <a:r>
                        <a:rPr lang="en-GB" b="1" noProof="0">
                          <a:solidFill>
                            <a:schemeClr val="tx1"/>
                          </a:solidFill>
                        </a:rPr>
                        <a:t>Treat it as an opportunity</a:t>
                      </a:r>
                    </a:p>
                  </a:txBody>
                  <a:tcPr anchor="ctr">
                    <a:solidFill>
                      <a:schemeClr val="bg1">
                        <a:lumMod val="95000"/>
                      </a:schemeClr>
                    </a:solidFill>
                  </a:tcPr>
                </a:tc>
                <a:tc>
                  <a:txBody>
                    <a:bodyPr/>
                    <a:lstStyle/>
                    <a:p>
                      <a:pPr algn="ctr"/>
                      <a:r>
                        <a:rPr lang="en-GB" b="1" noProof="0" dirty="0">
                          <a:solidFill>
                            <a:schemeClr val="tx1"/>
                          </a:solidFill>
                        </a:rPr>
                        <a:t>Many laggards, Poland can lead</a:t>
                      </a:r>
                    </a:p>
                  </a:txBody>
                  <a:tcPr anchor="ctr">
                    <a:solidFill>
                      <a:schemeClr val="bg1">
                        <a:lumMod val="95000"/>
                      </a:schemeClr>
                    </a:solidFill>
                  </a:tcPr>
                </a:tc>
                <a:extLst>
                  <a:ext uri="{0D108BD9-81ED-4DB2-BD59-A6C34878D82A}">
                    <a16:rowId xmlns:a16="http://schemas.microsoft.com/office/drawing/2014/main" val="3577749709"/>
                  </a:ext>
                </a:extLst>
              </a:tr>
            </a:tbl>
          </a:graphicData>
        </a:graphic>
      </p:graphicFrame>
      <p:graphicFrame>
        <p:nvGraphicFramePr>
          <p:cNvPr id="11" name="Wykres 10">
            <a:extLst>
              <a:ext uri="{FF2B5EF4-FFF2-40B4-BE49-F238E27FC236}">
                <a16:creationId xmlns:a16="http://schemas.microsoft.com/office/drawing/2014/main" id="{BB843BCC-5378-4824-A53C-C1FAFD84F191}"/>
              </a:ext>
            </a:extLst>
          </p:cNvPr>
          <p:cNvGraphicFramePr>
            <a:graphicFrameLocks/>
          </p:cNvGraphicFramePr>
          <p:nvPr>
            <p:extLst>
              <p:ext uri="{D42A27DB-BD31-4B8C-83A1-F6EECF244321}">
                <p14:modId xmlns:p14="http://schemas.microsoft.com/office/powerpoint/2010/main" val="4008539924"/>
              </p:ext>
            </p:extLst>
          </p:nvPr>
        </p:nvGraphicFramePr>
        <p:xfrm>
          <a:off x="7749525" y="2460800"/>
          <a:ext cx="2209723" cy="284933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Wykres 11">
            <a:extLst>
              <a:ext uri="{FF2B5EF4-FFF2-40B4-BE49-F238E27FC236}">
                <a16:creationId xmlns:a16="http://schemas.microsoft.com/office/drawing/2014/main" id="{B89DDC9C-FFAE-4F1E-94AB-803A2AE008E8}"/>
              </a:ext>
            </a:extLst>
          </p:cNvPr>
          <p:cNvGraphicFramePr>
            <a:graphicFrameLocks/>
          </p:cNvGraphicFramePr>
          <p:nvPr>
            <p:extLst>
              <p:ext uri="{D42A27DB-BD31-4B8C-83A1-F6EECF244321}">
                <p14:modId xmlns:p14="http://schemas.microsoft.com/office/powerpoint/2010/main" val="2657201068"/>
              </p:ext>
            </p:extLst>
          </p:nvPr>
        </p:nvGraphicFramePr>
        <p:xfrm>
          <a:off x="1381776" y="2460800"/>
          <a:ext cx="2077520" cy="284933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Wykres 13">
            <a:extLst>
              <a:ext uri="{FF2B5EF4-FFF2-40B4-BE49-F238E27FC236}">
                <a16:creationId xmlns:a16="http://schemas.microsoft.com/office/drawing/2014/main" id="{12D71D05-4C9E-42FD-BC92-DC4B1924A240}"/>
              </a:ext>
            </a:extLst>
          </p:cNvPr>
          <p:cNvGraphicFramePr>
            <a:graphicFrameLocks/>
          </p:cNvGraphicFramePr>
          <p:nvPr>
            <p:extLst>
              <p:ext uri="{D42A27DB-BD31-4B8C-83A1-F6EECF244321}">
                <p14:modId xmlns:p14="http://schemas.microsoft.com/office/powerpoint/2010/main" val="3891797459"/>
              </p:ext>
            </p:extLst>
          </p:nvPr>
        </p:nvGraphicFramePr>
        <p:xfrm>
          <a:off x="3459296" y="2460799"/>
          <a:ext cx="2143234" cy="284932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5" name="Wykres 14">
            <a:extLst>
              <a:ext uri="{FF2B5EF4-FFF2-40B4-BE49-F238E27FC236}">
                <a16:creationId xmlns:a16="http://schemas.microsoft.com/office/drawing/2014/main" id="{227B516D-B30F-4416-822E-AC0D8A3E4E6A}"/>
              </a:ext>
            </a:extLst>
          </p:cNvPr>
          <p:cNvGraphicFramePr>
            <a:graphicFrameLocks/>
          </p:cNvGraphicFramePr>
          <p:nvPr>
            <p:extLst>
              <p:ext uri="{D42A27DB-BD31-4B8C-83A1-F6EECF244321}">
                <p14:modId xmlns:p14="http://schemas.microsoft.com/office/powerpoint/2010/main" val="3215071976"/>
              </p:ext>
            </p:extLst>
          </p:nvPr>
        </p:nvGraphicFramePr>
        <p:xfrm>
          <a:off x="5793686" y="2496434"/>
          <a:ext cx="1955839" cy="2813693"/>
        </p:xfrm>
        <a:graphic>
          <a:graphicData uri="http://schemas.openxmlformats.org/drawingml/2006/chart">
            <c:chart xmlns:c="http://schemas.openxmlformats.org/drawingml/2006/chart" xmlns:r="http://schemas.openxmlformats.org/officeDocument/2006/relationships" r:id="rId11"/>
          </a:graphicData>
        </a:graphic>
      </p:graphicFrame>
      <p:pic>
        <p:nvPicPr>
          <p:cNvPr id="6" name="Obraz 5">
            <a:extLst>
              <a:ext uri="{FF2B5EF4-FFF2-40B4-BE49-F238E27FC236}">
                <a16:creationId xmlns:a16="http://schemas.microsoft.com/office/drawing/2014/main" id="{A884A7E1-253E-4F68-A4ED-D9A7D16E930D}"/>
              </a:ext>
            </a:extLst>
          </p:cNvPr>
          <p:cNvPicPr>
            <a:picLocks noChangeAspect="1"/>
          </p:cNvPicPr>
          <p:nvPr/>
        </p:nvPicPr>
        <p:blipFill>
          <a:blip r:embed="rId12"/>
          <a:stretch>
            <a:fillRect/>
          </a:stretch>
        </p:blipFill>
        <p:spPr>
          <a:xfrm>
            <a:off x="10030042" y="3018621"/>
            <a:ext cx="2098545" cy="1429052"/>
          </a:xfrm>
          <a:prstGeom prst="rect">
            <a:avLst/>
          </a:prstGeom>
        </p:spPr>
      </p:pic>
      <p:sp>
        <p:nvSpPr>
          <p:cNvPr id="7" name="pole tekstowe 6">
            <a:extLst>
              <a:ext uri="{FF2B5EF4-FFF2-40B4-BE49-F238E27FC236}">
                <a16:creationId xmlns:a16="http://schemas.microsoft.com/office/drawing/2014/main" id="{3527772C-F1CD-4EBE-AF8E-744967D7C9FB}"/>
              </a:ext>
            </a:extLst>
          </p:cNvPr>
          <p:cNvSpPr txBox="1"/>
          <p:nvPr/>
        </p:nvSpPr>
        <p:spPr>
          <a:xfrm>
            <a:off x="10030042" y="2538924"/>
            <a:ext cx="2076201" cy="2263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200" dirty="0">
                <a:solidFill>
                  <a:sysClr val="windowText" lastClr="000000"/>
                </a:solidFill>
              </a:rPr>
              <a:t>Deployment of ICT systems</a:t>
            </a:r>
          </a:p>
        </p:txBody>
      </p:sp>
      <p:sp>
        <p:nvSpPr>
          <p:cNvPr id="17" name="Title 1">
            <a:extLst>
              <a:ext uri="{FF2B5EF4-FFF2-40B4-BE49-F238E27FC236}">
                <a16:creationId xmlns:a16="http://schemas.microsoft.com/office/drawing/2014/main" id="{2AE5AE87-39FA-4BF2-B544-08AC1CE71A3B}"/>
              </a:ext>
            </a:extLst>
          </p:cNvPr>
          <p:cNvSpPr txBox="1">
            <a:spLocks/>
          </p:cNvSpPr>
          <p:nvPr/>
        </p:nvSpPr>
        <p:spPr>
          <a:xfrm>
            <a:off x="853722" y="6557178"/>
            <a:ext cx="7658646" cy="206457"/>
          </a:xfrm>
          <a:prstGeom prst="rect">
            <a:avLst/>
          </a:prstGeom>
        </p:spPr>
        <p:txBody>
          <a:bodyPr vert="horz" lIns="0" tIns="0" rIns="0" bIns="0" rtlCol="0" anchor="t" anchorCtr="0">
            <a:noAutofit/>
          </a:bodyPr>
          <a:lstStyle>
            <a:defPPr>
              <a:defRPr lang="en-US"/>
            </a:defPPr>
            <a:lvl1pPr defTabSz="966281">
              <a:spcBef>
                <a:spcPct val="0"/>
              </a:spcBef>
              <a:buNone/>
              <a:tabLst>
                <a:tab pos="291254" algn="l"/>
              </a:tabLst>
              <a:defRPr sz="900" b="0">
                <a:latin typeface="Arial" panose="020B0604020202020204" pitchFamily="34" charset="0"/>
                <a:ea typeface="+mj-ea"/>
                <a:cs typeface="Arial" panose="020B0604020202020204" pitchFamily="34" charset="0"/>
              </a:defRPr>
            </a:lvl1pPr>
          </a:lstStyle>
          <a:p>
            <a:r>
              <a:rPr lang="en-GB" dirty="0"/>
              <a:t>Source: UN Population Projections, NBP, Eurostat, </a:t>
            </a:r>
            <a:r>
              <a:rPr lang="en-GB" dirty="0" err="1"/>
              <a:t>Macrobond</a:t>
            </a:r>
            <a:r>
              <a:rPr lang="en-GB" dirty="0"/>
              <a:t>, </a:t>
            </a:r>
            <a:r>
              <a:rPr lang="en-GB" dirty="0" err="1"/>
              <a:t>Stooq</a:t>
            </a:r>
            <a:r>
              <a:rPr lang="en-GB" dirty="0"/>
              <a:t>, COE</a:t>
            </a:r>
          </a:p>
        </p:txBody>
      </p:sp>
    </p:spTree>
    <p:extLst>
      <p:ext uri="{BB962C8B-B14F-4D97-AF65-F5344CB8AC3E}">
        <p14:creationId xmlns:p14="http://schemas.microsoft.com/office/powerpoint/2010/main" val="106858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i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51" name="Obraz 150"/>
          <p:cNvPicPr/>
          <p:nvPr/>
        </p:nvPicPr>
        <p:blipFill rotWithShape="1">
          <a:blip r:embed="rId7">
            <a:extLst>
              <a:ext uri="{28A0092B-C50C-407E-A947-70E740481C1C}">
                <a14:useLocalDpi xmlns:a14="http://schemas.microsoft.com/office/drawing/2010/main" val="0"/>
              </a:ext>
            </a:extLst>
          </a:blip>
          <a:srcRect l="62014" b="51403"/>
          <a:stretch/>
        </p:blipFill>
        <p:spPr bwMode="auto">
          <a:xfrm>
            <a:off x="11415505" y="56460"/>
            <a:ext cx="706057" cy="1157468"/>
          </a:xfrm>
          <a:prstGeom prst="rect">
            <a:avLst/>
          </a:prstGeom>
          <a:noFill/>
        </p:spPr>
      </p:pic>
      <p:cxnSp>
        <p:nvCxnSpPr>
          <p:cNvPr id="121" name="Łącznik prosty 120"/>
          <p:cNvCxnSpPr/>
          <p:nvPr/>
        </p:nvCxnSpPr>
        <p:spPr>
          <a:xfrm>
            <a:off x="-112115" y="1314532"/>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sp>
        <p:nvSpPr>
          <p:cNvPr id="3" name="Tytuł 2">
            <a:extLst>
              <a:ext uri="{FF2B5EF4-FFF2-40B4-BE49-F238E27FC236}">
                <a16:creationId xmlns:a16="http://schemas.microsoft.com/office/drawing/2014/main" id="{D9D23C93-8D07-4506-BB5D-B821843577D5}"/>
              </a:ext>
            </a:extLst>
          </p:cNvPr>
          <p:cNvSpPr>
            <a:spLocks noGrp="1"/>
          </p:cNvSpPr>
          <p:nvPr>
            <p:ph type="title"/>
          </p:nvPr>
        </p:nvSpPr>
        <p:spPr/>
        <p:txBody>
          <a:bodyPr/>
          <a:lstStyle/>
          <a:p>
            <a:r>
              <a:rPr lang="en-GB"/>
              <a:t>Outlook for 2023-24: let’s remain optimistic</a:t>
            </a:r>
          </a:p>
        </p:txBody>
      </p:sp>
      <p:sp>
        <p:nvSpPr>
          <p:cNvPr id="12" name="Title 1">
            <a:extLst>
              <a:ext uri="{FF2B5EF4-FFF2-40B4-BE49-F238E27FC236}">
                <a16:creationId xmlns:a16="http://schemas.microsoft.com/office/drawing/2014/main" id="{CEB0A1AB-B718-4C66-8264-EA3061692B6A}"/>
              </a:ext>
            </a:extLst>
          </p:cNvPr>
          <p:cNvSpPr txBox="1">
            <a:spLocks/>
          </p:cNvSpPr>
          <p:nvPr/>
        </p:nvSpPr>
        <p:spPr>
          <a:xfrm>
            <a:off x="853722" y="6557178"/>
            <a:ext cx="7658646" cy="206457"/>
          </a:xfrm>
          <a:prstGeom prst="rect">
            <a:avLst/>
          </a:prstGeom>
        </p:spPr>
        <p:txBody>
          <a:bodyPr vert="horz" lIns="0" tIns="0" rIns="0" bIns="0" rtlCol="0" anchor="t" anchorCtr="0">
            <a:noAutofit/>
          </a:bodyPr>
          <a:lstStyle>
            <a:defPPr>
              <a:defRPr lang="en-US"/>
            </a:defPPr>
            <a:lvl1pPr defTabSz="966281">
              <a:spcBef>
                <a:spcPct val="0"/>
              </a:spcBef>
              <a:buNone/>
              <a:tabLst>
                <a:tab pos="291254" algn="l"/>
              </a:tabLst>
              <a:defRPr sz="900" b="0">
                <a:latin typeface="Arial" panose="020B0604020202020204" pitchFamily="34" charset="0"/>
                <a:ea typeface="+mj-ea"/>
                <a:cs typeface="Arial" panose="020B0604020202020204" pitchFamily="34" charset="0"/>
              </a:defRPr>
            </a:lvl1pPr>
          </a:lstStyle>
          <a:p>
            <a:r>
              <a:rPr lang="en-GB"/>
              <a:t>Source: GUS, NBP, Refinitiv Pekao Research</a:t>
            </a:r>
          </a:p>
        </p:txBody>
      </p:sp>
      <p:graphicFrame>
        <p:nvGraphicFramePr>
          <p:cNvPr id="10" name="Tabela 9">
            <a:extLst>
              <a:ext uri="{FF2B5EF4-FFF2-40B4-BE49-F238E27FC236}">
                <a16:creationId xmlns:a16="http://schemas.microsoft.com/office/drawing/2014/main" id="{6EE44A82-333E-4350-8B4A-FD9E0BCDC095}"/>
              </a:ext>
            </a:extLst>
          </p:cNvPr>
          <p:cNvGraphicFramePr>
            <a:graphicFrameLocks noGrp="1"/>
          </p:cNvGraphicFramePr>
          <p:nvPr>
            <p:extLst>
              <p:ext uri="{D42A27DB-BD31-4B8C-83A1-F6EECF244321}">
                <p14:modId xmlns:p14="http://schemas.microsoft.com/office/powerpoint/2010/main" val="1195935859"/>
              </p:ext>
            </p:extLst>
          </p:nvPr>
        </p:nvGraphicFramePr>
        <p:xfrm>
          <a:off x="628650" y="1456441"/>
          <a:ext cx="10906047" cy="4859280"/>
        </p:xfrm>
        <a:graphic>
          <a:graphicData uri="http://schemas.openxmlformats.org/drawingml/2006/table">
            <a:tbl>
              <a:tblPr firstRow="1" bandRow="1">
                <a:tableStyleId>{5C22544A-7EE6-4342-B048-85BDC9FD1C3A}</a:tableStyleId>
              </a:tblPr>
              <a:tblGrid>
                <a:gridCol w="2294626">
                  <a:extLst>
                    <a:ext uri="{9D8B030D-6E8A-4147-A177-3AD203B41FA5}">
                      <a16:colId xmlns:a16="http://schemas.microsoft.com/office/drawing/2014/main" val="2356797002"/>
                    </a:ext>
                  </a:extLst>
                </a:gridCol>
                <a:gridCol w="3744000">
                  <a:extLst>
                    <a:ext uri="{9D8B030D-6E8A-4147-A177-3AD203B41FA5}">
                      <a16:colId xmlns:a16="http://schemas.microsoft.com/office/drawing/2014/main" val="2194255180"/>
                    </a:ext>
                  </a:extLst>
                </a:gridCol>
                <a:gridCol w="403421">
                  <a:extLst>
                    <a:ext uri="{9D8B030D-6E8A-4147-A177-3AD203B41FA5}">
                      <a16:colId xmlns:a16="http://schemas.microsoft.com/office/drawing/2014/main" val="1791350268"/>
                    </a:ext>
                  </a:extLst>
                </a:gridCol>
                <a:gridCol w="1116000">
                  <a:extLst>
                    <a:ext uri="{9D8B030D-6E8A-4147-A177-3AD203B41FA5}">
                      <a16:colId xmlns:a16="http://schemas.microsoft.com/office/drawing/2014/main" val="1444134521"/>
                    </a:ext>
                  </a:extLst>
                </a:gridCol>
                <a:gridCol w="1116000">
                  <a:extLst>
                    <a:ext uri="{9D8B030D-6E8A-4147-A177-3AD203B41FA5}">
                      <a16:colId xmlns:a16="http://schemas.microsoft.com/office/drawing/2014/main" val="1963943284"/>
                    </a:ext>
                  </a:extLst>
                </a:gridCol>
                <a:gridCol w="1116000">
                  <a:extLst>
                    <a:ext uri="{9D8B030D-6E8A-4147-A177-3AD203B41FA5}">
                      <a16:colId xmlns:a16="http://schemas.microsoft.com/office/drawing/2014/main" val="1826117433"/>
                    </a:ext>
                  </a:extLst>
                </a:gridCol>
                <a:gridCol w="1116000">
                  <a:extLst>
                    <a:ext uri="{9D8B030D-6E8A-4147-A177-3AD203B41FA5}">
                      <a16:colId xmlns:a16="http://schemas.microsoft.com/office/drawing/2014/main" val="962809624"/>
                    </a:ext>
                  </a:extLst>
                </a:gridCol>
              </a:tblGrid>
              <a:tr h="404685">
                <a:tc>
                  <a:txBody>
                    <a:bodyPr/>
                    <a:lstStyle/>
                    <a:p>
                      <a:pPr algn="ctr"/>
                      <a:r>
                        <a:rPr lang="en-GB" sz="1200" b="1" noProof="0">
                          <a:solidFill>
                            <a:srgbClr val="C00000"/>
                          </a:solidFill>
                        </a:rPr>
                        <a:t>Area</a:t>
                      </a:r>
                    </a:p>
                  </a:txBody>
                  <a:tcPr anchor="ctr">
                    <a:lnL w="12700" cmpd="sng">
                      <a:noFill/>
                    </a:lnL>
                    <a:lnR w="12700" cmpd="sng">
                      <a:noFill/>
                    </a:lnR>
                    <a:lnT w="12700" cmpd="sng">
                      <a:no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200" b="1" noProof="0">
                          <a:solidFill>
                            <a:srgbClr val="C00000"/>
                          </a:solidFill>
                        </a:rPr>
                        <a:t>indicator</a:t>
                      </a:r>
                    </a:p>
                  </a:txBody>
                  <a:tcPr anchor="ctr">
                    <a:lnL w="12700" cmpd="sng">
                      <a:noFill/>
                    </a:lnL>
                    <a:lnR w="12700" cmpd="sng">
                      <a:noFill/>
                    </a:lnR>
                    <a:lnB w="19050" cap="flat" cmpd="sng" algn="ctr">
                      <a:solidFill>
                        <a:srgbClr val="C00000"/>
                      </a:solidFill>
                      <a:prstDash val="solid"/>
                      <a:round/>
                      <a:headEnd type="none" w="med" len="med"/>
                      <a:tailEnd type="none" w="med" len="med"/>
                    </a:lnB>
                    <a:noFill/>
                  </a:tcPr>
                </a:tc>
                <a:tc>
                  <a:txBody>
                    <a:bodyPr/>
                    <a:lstStyle/>
                    <a:p>
                      <a:pPr algn="ctr"/>
                      <a:endParaRPr lang="en-GB" sz="1200" b="0" noProof="0">
                        <a:solidFill>
                          <a:srgbClr val="37373A"/>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200" b="0" noProof="0">
                          <a:solidFill>
                            <a:schemeClr val="tx1">
                              <a:lumMod val="75000"/>
                              <a:lumOff val="25000"/>
                            </a:schemeClr>
                          </a:solidFill>
                        </a:rPr>
                        <a:t>2021</a:t>
                      </a:r>
                    </a:p>
                  </a:txBody>
                  <a:tcPr anchor="ctr">
                    <a:lnL w="12700" cmpd="sng">
                      <a:noFill/>
                    </a:lnL>
                    <a:lnR w="3175" cap="flat" cmpd="sng" algn="ctr">
                      <a:noFill/>
                      <a:prstDash val="solid"/>
                      <a:round/>
                      <a:headEnd type="none" w="med" len="med"/>
                      <a:tailEnd type="none" w="med" len="med"/>
                    </a:lnR>
                    <a:lnB w="19050" cap="flat" cmpd="sng" algn="ctr">
                      <a:solidFill>
                        <a:schemeClr val="bg1">
                          <a:lumMod val="65000"/>
                        </a:schemeClr>
                      </a:solidFill>
                      <a:prstDash val="solid"/>
                      <a:round/>
                      <a:headEnd type="none" w="med" len="med"/>
                      <a:tailEnd type="none" w="med" len="med"/>
                    </a:lnB>
                    <a:noFill/>
                  </a:tcPr>
                </a:tc>
                <a:tc>
                  <a:txBody>
                    <a:bodyPr/>
                    <a:lstStyle/>
                    <a:p>
                      <a:pPr algn="ctr"/>
                      <a:r>
                        <a:rPr lang="en-GB" sz="1200" b="0" noProof="0">
                          <a:solidFill>
                            <a:schemeClr val="tx1">
                              <a:lumMod val="75000"/>
                              <a:lumOff val="25000"/>
                            </a:schemeClr>
                          </a:solidFill>
                        </a:rPr>
                        <a:t>2022</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B w="19050" cap="flat" cmpd="sng" algn="ctr">
                      <a:solidFill>
                        <a:schemeClr val="bg1">
                          <a:lumMod val="65000"/>
                        </a:schemeClr>
                      </a:solidFill>
                      <a:prstDash val="solid"/>
                      <a:round/>
                      <a:headEnd type="none" w="med" len="med"/>
                      <a:tailEnd type="none" w="med" len="med"/>
                    </a:lnB>
                    <a:noFill/>
                  </a:tcPr>
                </a:tc>
                <a:tc>
                  <a:txBody>
                    <a:bodyPr/>
                    <a:lstStyle/>
                    <a:p>
                      <a:pPr algn="ctr"/>
                      <a:r>
                        <a:rPr lang="en-GB" sz="1200" noProof="0">
                          <a:solidFill>
                            <a:schemeClr val="tx1">
                              <a:lumMod val="75000"/>
                              <a:lumOff val="25000"/>
                            </a:schemeClr>
                          </a:solidFill>
                        </a:rPr>
                        <a:t>2023</a:t>
                      </a:r>
                      <a:endParaRPr lang="en-GB" sz="1200" b="1" noProof="0">
                        <a:solidFill>
                          <a:schemeClr val="tx1">
                            <a:lumMod val="75000"/>
                            <a:lumOff val="25000"/>
                          </a:schemeClr>
                        </a:solidFill>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B w="19050"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latinLnBrk="0" hangingPunct="1"/>
                      <a:r>
                        <a:rPr lang="en-GB" sz="1200" b="1" kern="1200" noProof="0">
                          <a:solidFill>
                            <a:schemeClr val="tx1">
                              <a:lumMod val="75000"/>
                              <a:lumOff val="25000"/>
                            </a:schemeClr>
                          </a:solidFill>
                          <a:latin typeface="+mn-lt"/>
                          <a:ea typeface="+mn-ea"/>
                          <a:cs typeface="+mn-cs"/>
                        </a:rPr>
                        <a:t>2024</a:t>
                      </a:r>
                    </a:p>
                  </a:txBody>
                  <a:tcPr anchor="ctr">
                    <a:lnL w="3175" cap="flat" cmpd="sng" algn="ctr">
                      <a:noFill/>
                      <a:prstDash val="solid"/>
                      <a:round/>
                      <a:headEnd type="none" w="med" len="med"/>
                      <a:tailEnd type="none" w="med" len="med"/>
                    </a:lnL>
                    <a:lnB w="190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219027415"/>
                  </a:ext>
                </a:extLst>
              </a:tr>
              <a:tr h="296973">
                <a:tc rowSpan="3">
                  <a:txBody>
                    <a:bodyPr/>
                    <a:lstStyle/>
                    <a:p>
                      <a:pPr algn="ctr"/>
                      <a:r>
                        <a:rPr lang="en-GB" sz="1200" b="1" noProof="0">
                          <a:solidFill>
                            <a:schemeClr val="bg1"/>
                          </a:solidFill>
                        </a:rPr>
                        <a:t>Economic growth</a:t>
                      </a:r>
                    </a:p>
                  </a:txBody>
                  <a:tcPr anchor="ctr">
                    <a:lnL w="12700" cmpd="sng">
                      <a:noFill/>
                    </a:lnL>
                    <a:lnR w="12700" cmpd="sng">
                      <a:noFill/>
                    </a:lnR>
                    <a:lnT w="19050" cap="flat" cmpd="sng" algn="ctr">
                      <a:solidFill>
                        <a:srgbClr val="C0000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l"/>
                      <a:r>
                        <a:rPr lang="en-GB" sz="1200" b="1" noProof="0">
                          <a:solidFill>
                            <a:schemeClr val="tx1">
                              <a:lumMod val="75000"/>
                            </a:schemeClr>
                          </a:solidFill>
                        </a:rPr>
                        <a:t>GDP (% yoy)</a:t>
                      </a:r>
                    </a:p>
                  </a:txBody>
                  <a:tcPr anchor="ctr">
                    <a:lnL w="12700" cmpd="sng">
                      <a:noFill/>
                    </a:lnL>
                    <a:lnR w="12700" cmpd="sng">
                      <a:noFill/>
                    </a:lnR>
                    <a:lnT w="19050" cap="flat" cmpd="sng" algn="ctr">
                      <a:solidFill>
                        <a:srgbClr val="C00000"/>
                      </a:solidFill>
                      <a:prstDash val="solid"/>
                      <a:round/>
                      <a:headEnd type="none" w="med" len="med"/>
                      <a:tailEnd type="none" w="med" len="med"/>
                    </a:lnT>
                    <a:lnB w="3175" cap="flat" cmpd="sng" algn="ctr">
                      <a:solidFill>
                        <a:srgbClr val="C00000"/>
                      </a:solidFill>
                      <a:prstDash val="solid"/>
                      <a:round/>
                      <a:headEnd type="none" w="med" len="med"/>
                      <a:tailEnd type="none" w="med" len="med"/>
                    </a:lnB>
                    <a:solidFill>
                      <a:srgbClr val="FFEFEF">
                        <a:alpha val="40000"/>
                      </a:srgbClr>
                    </a:solidFill>
                  </a:tcPr>
                </a:tc>
                <a:tc>
                  <a:txBody>
                    <a:bodyPr/>
                    <a:lstStyle/>
                    <a:p>
                      <a:pPr algn="ctr"/>
                      <a:endParaRPr lang="en-GB" sz="1200" b="0" noProof="0">
                        <a:solidFill>
                          <a:schemeClr val="tx1">
                            <a:lumMod val="75000"/>
                          </a:schemeClr>
                        </a:solidFill>
                      </a:endParaRPr>
                    </a:p>
                  </a:txBody>
                  <a:tcPr anchor="ctr">
                    <a:lnL w="12700" cmpd="sng">
                      <a:noFill/>
                    </a:lnL>
                    <a:lnR w="12700" cmpd="sng">
                      <a:noFill/>
                    </a:lnR>
                    <a:lnT w="38100" cmpd="sng">
                      <a:noFill/>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noProof="0">
                          <a:solidFill>
                            <a:schemeClr val="tx1">
                              <a:lumMod val="75000"/>
                            </a:schemeClr>
                          </a:solidFill>
                        </a:rPr>
                        <a:t>6,8</a:t>
                      </a:r>
                    </a:p>
                  </a:txBody>
                  <a:tcPr anchor="ctr">
                    <a:lnL w="12700" cmpd="sng">
                      <a:noFill/>
                    </a:lnL>
                    <a:lnR w="3175"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0" noProof="0">
                          <a:solidFill>
                            <a:schemeClr val="tx1">
                              <a:lumMod val="75000"/>
                            </a:schemeClr>
                          </a:solidFill>
                        </a:rPr>
                        <a:t>4,9</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1" noProof="0">
                          <a:solidFill>
                            <a:schemeClr val="tx1">
                              <a:lumMod val="75000"/>
                            </a:schemeClr>
                          </a:solidFill>
                        </a:rPr>
                        <a:t>0,8</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tc>
                  <a:txBody>
                    <a:bodyPr/>
                    <a:lstStyle/>
                    <a:p>
                      <a:pPr algn="ctr"/>
                      <a:r>
                        <a:rPr lang="en-GB" sz="1200" b="1" noProof="0">
                          <a:solidFill>
                            <a:schemeClr val="tx1">
                              <a:lumMod val="75000"/>
                            </a:schemeClr>
                          </a:solidFill>
                        </a:rPr>
                        <a:t>3,2</a:t>
                      </a:r>
                    </a:p>
                  </a:txBody>
                  <a:tcPr anchor="ctr">
                    <a:lnL w="3175" cap="flat" cmpd="sng" algn="ctr">
                      <a:noFill/>
                      <a:prstDash val="solid"/>
                      <a:round/>
                      <a:headEnd type="none" w="med" len="med"/>
                      <a:tailEnd type="none" w="med" len="med"/>
                    </a:lnL>
                    <a:lnT w="190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047746987"/>
                  </a:ext>
                </a:extLst>
              </a:tr>
              <a:tr h="296973">
                <a:tc vMerge="1">
                  <a:txBody>
                    <a:bodyPr/>
                    <a:lstStyle/>
                    <a:p>
                      <a:pPr algn="l"/>
                      <a:endParaRPr lang="pl-PL" sz="1200" b="1" dirty="0">
                        <a:solidFill>
                          <a:schemeClr val="tx1">
                            <a:lumMod val="75000"/>
                          </a:schemeClr>
                        </a:solidFill>
                      </a:endParaRPr>
                    </a:p>
                  </a:txBody>
                  <a:tcPr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l"/>
                      <a:r>
                        <a:rPr lang="en-GB" sz="1200" b="1" noProof="0">
                          <a:solidFill>
                            <a:schemeClr val="tx1">
                              <a:lumMod val="75000"/>
                            </a:schemeClr>
                          </a:solidFill>
                        </a:rPr>
                        <a:t>Household consumption (% yoy)</a:t>
                      </a:r>
                    </a:p>
                  </a:txBody>
                  <a:tcPr anchor="ctr">
                    <a:lnL w="12700" cmpd="sng">
                      <a:noFill/>
                    </a:lnL>
                    <a:lnR w="12700" cmpd="sng">
                      <a:noFill/>
                    </a:lnR>
                    <a:lnT w="3175" cap="flat" cmpd="sng" algn="ctr">
                      <a:solidFill>
                        <a:srgbClr val="C00000"/>
                      </a:solidFill>
                      <a:prstDash val="solid"/>
                      <a:round/>
                      <a:headEnd type="none" w="med" len="med"/>
                      <a:tailEnd type="none" w="med" len="med"/>
                    </a:lnT>
                    <a:lnB w="3175" cap="flat" cmpd="sng" algn="ctr">
                      <a:solidFill>
                        <a:srgbClr val="C00000"/>
                      </a:solidFill>
                      <a:prstDash val="solid"/>
                      <a:round/>
                      <a:headEnd type="none" w="med" len="med"/>
                      <a:tailEnd type="none" w="med" len="med"/>
                    </a:lnB>
                    <a:solidFill>
                      <a:srgbClr val="FFEFEF">
                        <a:alpha val="40000"/>
                      </a:srgbClr>
                    </a:solidFill>
                  </a:tcPr>
                </a:tc>
                <a:tc>
                  <a:txBody>
                    <a:bodyPr/>
                    <a:lstStyle/>
                    <a:p>
                      <a:pPr algn="ctr"/>
                      <a:endParaRPr lang="en-GB" sz="1200" b="0" noProof="0">
                        <a:solidFill>
                          <a:schemeClr val="tx1">
                            <a:lumMod val="75000"/>
                          </a:schemeClr>
                        </a:solidFill>
                      </a:endParaRPr>
                    </a:p>
                  </a:txBody>
                  <a:tcPr anchor="ctr">
                    <a:lnL w="12700" cmpd="sng">
                      <a:noFill/>
                    </a:lnL>
                    <a:lnR w="12700" cmpd="sng">
                      <a:noFill/>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noProof="0">
                          <a:solidFill>
                            <a:schemeClr val="tx1">
                              <a:lumMod val="75000"/>
                            </a:schemeClr>
                          </a:solidFill>
                        </a:rPr>
                        <a:t>6,2</a:t>
                      </a:r>
                    </a:p>
                  </a:txBody>
                  <a:tcPr anchor="ctr">
                    <a:lnL w="12700" cmpd="sng">
                      <a:noFill/>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0" noProof="0">
                          <a:solidFill>
                            <a:schemeClr val="tx1">
                              <a:lumMod val="75000"/>
                            </a:schemeClr>
                          </a:solidFill>
                        </a:rPr>
                        <a:t>3,0</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1" noProof="0">
                          <a:solidFill>
                            <a:schemeClr val="tx1">
                              <a:lumMod val="75000"/>
                            </a:schemeClr>
                          </a:solidFill>
                        </a:rPr>
                        <a:t>-0,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tc>
                  <a:txBody>
                    <a:bodyPr/>
                    <a:lstStyle/>
                    <a:p>
                      <a:pPr algn="ctr"/>
                      <a:r>
                        <a:rPr lang="en-GB" sz="1200" b="1" noProof="0">
                          <a:solidFill>
                            <a:schemeClr val="tx1">
                              <a:lumMod val="75000"/>
                            </a:schemeClr>
                          </a:solidFill>
                        </a:rPr>
                        <a:t>2,9</a:t>
                      </a:r>
                    </a:p>
                  </a:txBody>
                  <a:tcPr anchor="ctr">
                    <a:lnL w="3175" cap="flat" cmpd="sng" algn="ctr">
                      <a:noFill/>
                      <a:prstDash val="solid"/>
                      <a:round/>
                      <a:headEnd type="none" w="med" len="med"/>
                      <a:tailEnd type="none" w="med" len="med"/>
                    </a:lnL>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2869874535"/>
                  </a:ext>
                </a:extLst>
              </a:tr>
              <a:tr h="296973">
                <a:tc vMerge="1">
                  <a:txBody>
                    <a:bodyPr/>
                    <a:lstStyle/>
                    <a:p>
                      <a:pPr algn="l"/>
                      <a:endParaRPr lang="pl-PL" sz="1200" b="1" dirty="0">
                        <a:solidFill>
                          <a:schemeClr val="tx1">
                            <a:lumMod val="75000"/>
                          </a:schemeClr>
                        </a:solidFill>
                      </a:endParaRPr>
                    </a:p>
                  </a:txBody>
                  <a:tcPr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l"/>
                      <a:r>
                        <a:rPr lang="en-GB" sz="1200" b="1" noProof="0">
                          <a:solidFill>
                            <a:schemeClr val="tx1">
                              <a:lumMod val="75000"/>
                            </a:schemeClr>
                          </a:solidFill>
                        </a:rPr>
                        <a:t>Investment</a:t>
                      </a:r>
                      <a:r>
                        <a:rPr lang="en-GB" sz="1200" b="1" baseline="0" noProof="0">
                          <a:solidFill>
                            <a:schemeClr val="tx1">
                              <a:lumMod val="75000"/>
                            </a:schemeClr>
                          </a:solidFill>
                        </a:rPr>
                        <a:t> (% yoy)</a:t>
                      </a:r>
                      <a:endParaRPr lang="en-GB" sz="1200" b="1" noProof="0">
                        <a:solidFill>
                          <a:schemeClr val="tx1">
                            <a:lumMod val="75000"/>
                          </a:schemeClr>
                        </a:solidFill>
                      </a:endParaRPr>
                    </a:p>
                  </a:txBody>
                  <a:tcPr anchor="ctr">
                    <a:lnL w="12700" cmpd="sng">
                      <a:noFill/>
                    </a:lnL>
                    <a:lnR w="12700" cmpd="sng">
                      <a:noFill/>
                    </a:lnR>
                    <a:lnT w="3175" cap="flat" cmpd="sng" algn="ctr">
                      <a:solidFill>
                        <a:srgbClr val="C00000"/>
                      </a:solidFill>
                      <a:prstDash val="solid"/>
                      <a:round/>
                      <a:headEnd type="none" w="med" len="med"/>
                      <a:tailEnd type="none" w="med" len="med"/>
                    </a:lnT>
                    <a:lnB w="3175" cap="flat" cmpd="sng" algn="ctr">
                      <a:solidFill>
                        <a:srgbClr val="C00000"/>
                      </a:solidFill>
                      <a:prstDash val="solid"/>
                      <a:round/>
                      <a:headEnd type="none" w="med" len="med"/>
                      <a:tailEnd type="none" w="med" len="med"/>
                    </a:lnB>
                    <a:solidFill>
                      <a:srgbClr val="FFEFEF">
                        <a:alpha val="40000"/>
                      </a:srgbClr>
                    </a:solidFill>
                  </a:tcPr>
                </a:tc>
                <a:tc>
                  <a:txBody>
                    <a:bodyPr/>
                    <a:lstStyle/>
                    <a:p>
                      <a:pPr algn="ctr"/>
                      <a:endParaRPr lang="en-GB" sz="1200" b="0" noProof="0">
                        <a:solidFill>
                          <a:schemeClr val="tx1">
                            <a:lumMod val="75000"/>
                          </a:schemeClr>
                        </a:solidFill>
                      </a:endParaRPr>
                    </a:p>
                  </a:txBody>
                  <a:tcPr anchor="ctr">
                    <a:lnL w="12700" cmpd="sng">
                      <a:noFill/>
                    </a:lnL>
                    <a:lnR w="12700" cmpd="sng">
                      <a:noFill/>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noProof="0">
                          <a:solidFill>
                            <a:schemeClr val="tx1">
                              <a:lumMod val="75000"/>
                            </a:schemeClr>
                          </a:solidFill>
                        </a:rPr>
                        <a:t>2,0</a:t>
                      </a:r>
                    </a:p>
                  </a:txBody>
                  <a:tcPr anchor="ctr">
                    <a:lnL w="12700" cmpd="sng">
                      <a:noFill/>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0" noProof="0">
                          <a:solidFill>
                            <a:schemeClr val="tx1">
                              <a:lumMod val="75000"/>
                            </a:schemeClr>
                          </a:solidFill>
                        </a:rPr>
                        <a:t>4,9</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1" noProof="0">
                          <a:solidFill>
                            <a:schemeClr val="tx1">
                              <a:lumMod val="75000"/>
                            </a:schemeClr>
                          </a:solidFill>
                        </a:rPr>
                        <a:t>3,5</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tc>
                  <a:txBody>
                    <a:bodyPr/>
                    <a:lstStyle/>
                    <a:p>
                      <a:pPr algn="ctr"/>
                      <a:r>
                        <a:rPr lang="en-GB" sz="1200" b="1" noProof="0">
                          <a:solidFill>
                            <a:schemeClr val="tx1">
                              <a:lumMod val="75000"/>
                            </a:schemeClr>
                          </a:solidFill>
                        </a:rPr>
                        <a:t>6,2</a:t>
                      </a:r>
                    </a:p>
                  </a:txBody>
                  <a:tcPr anchor="ctr">
                    <a:lnL w="3175" cap="flat" cmpd="sng" algn="ctr">
                      <a:noFill/>
                      <a:prstDash val="solid"/>
                      <a:round/>
                      <a:headEnd type="none" w="med" len="med"/>
                      <a:tailEnd type="none" w="med" len="med"/>
                    </a:lnL>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2677082120"/>
                  </a:ext>
                </a:extLst>
              </a:tr>
              <a:tr h="296973">
                <a:tc rowSpan="4">
                  <a:txBody>
                    <a:bodyPr/>
                    <a:lstStyle/>
                    <a:p>
                      <a:pPr marL="0" algn="ctr" defTabSz="914400" rtl="0" eaLnBrk="1" latinLnBrk="0" hangingPunct="1"/>
                      <a:r>
                        <a:rPr lang="en-GB" sz="1200" b="1" kern="1200" noProof="0">
                          <a:solidFill>
                            <a:schemeClr val="bg1"/>
                          </a:solidFill>
                          <a:latin typeface="+mn-lt"/>
                          <a:ea typeface="+mn-ea"/>
                          <a:cs typeface="+mn-cs"/>
                        </a:rPr>
                        <a:t>Prices and monetary policy</a:t>
                      </a:r>
                    </a:p>
                  </a:txBody>
                  <a:tcPr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0" algn="l" defTabSz="914400" rtl="0" eaLnBrk="1" latinLnBrk="0" hangingPunct="1"/>
                      <a:r>
                        <a:rPr lang="en-GB" sz="1200" b="1" kern="1200" noProof="0">
                          <a:solidFill>
                            <a:schemeClr val="tx1">
                              <a:lumMod val="75000"/>
                            </a:schemeClr>
                          </a:solidFill>
                        </a:rPr>
                        <a:t>CPI (% yoy, annual average)</a:t>
                      </a:r>
                      <a:endParaRPr lang="en-GB" sz="1200" b="1" kern="1200" noProof="0">
                        <a:solidFill>
                          <a:schemeClr val="tx1">
                            <a:lumMod val="75000"/>
                          </a:schemeClr>
                        </a:solidFill>
                        <a:latin typeface="+mn-lt"/>
                        <a:ea typeface="+mn-ea"/>
                        <a:cs typeface="+mn-cs"/>
                      </a:endParaRPr>
                    </a:p>
                  </a:txBody>
                  <a:tcPr anchor="ctr">
                    <a:lnL w="12700" cmpd="sng">
                      <a:noFill/>
                    </a:lnL>
                    <a:lnR w="12700" cmpd="sng">
                      <a:noFill/>
                    </a:lnR>
                    <a:lnT w="3175" cap="flat" cmpd="sng" algn="ctr">
                      <a:solidFill>
                        <a:srgbClr val="C00000"/>
                      </a:solidFill>
                      <a:prstDash val="solid"/>
                      <a:round/>
                      <a:headEnd type="none" w="med" len="med"/>
                      <a:tailEnd type="none" w="med" len="med"/>
                    </a:lnT>
                    <a:lnB w="3175" cap="flat" cmpd="sng" algn="ctr">
                      <a:solidFill>
                        <a:srgbClr val="C00000"/>
                      </a:solidFill>
                      <a:prstDash val="solid"/>
                      <a:round/>
                      <a:headEnd type="none" w="med" len="med"/>
                      <a:tailEnd type="none" w="med" len="med"/>
                    </a:lnB>
                    <a:solidFill>
                      <a:srgbClr val="FFEFEF">
                        <a:alpha val="40000"/>
                      </a:srgbClr>
                    </a:solidFill>
                  </a:tcPr>
                </a:tc>
                <a:tc>
                  <a:txBody>
                    <a:bodyPr/>
                    <a:lstStyle/>
                    <a:p>
                      <a:pPr algn="ctr"/>
                      <a:endParaRPr lang="en-GB" sz="1200" b="0" noProof="0">
                        <a:solidFill>
                          <a:schemeClr val="tx1">
                            <a:lumMod val="75000"/>
                          </a:schemeClr>
                        </a:solidFill>
                      </a:endParaRPr>
                    </a:p>
                  </a:txBody>
                  <a:tcPr anchor="ctr">
                    <a:lnL w="12700" cmpd="sng">
                      <a:noFill/>
                    </a:lnL>
                    <a:lnR w="12700" cmpd="sng">
                      <a:noFill/>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noProof="0">
                          <a:solidFill>
                            <a:schemeClr val="tx1">
                              <a:lumMod val="75000"/>
                            </a:schemeClr>
                          </a:solidFill>
                        </a:rPr>
                        <a:t>5,1</a:t>
                      </a:r>
                    </a:p>
                  </a:txBody>
                  <a:tcPr anchor="ctr">
                    <a:lnL w="12700" cmpd="sng">
                      <a:noFill/>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0" noProof="0">
                          <a:solidFill>
                            <a:schemeClr val="tx1">
                              <a:lumMod val="75000"/>
                            </a:schemeClr>
                          </a:solidFill>
                        </a:rPr>
                        <a:t>14,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1" noProof="0">
                          <a:solidFill>
                            <a:schemeClr val="tx1">
                              <a:lumMod val="75000"/>
                            </a:schemeClr>
                          </a:solidFill>
                        </a:rPr>
                        <a:t>12,2</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tc>
                  <a:txBody>
                    <a:bodyPr/>
                    <a:lstStyle/>
                    <a:p>
                      <a:pPr algn="ctr"/>
                      <a:r>
                        <a:rPr lang="en-GB" sz="1200" b="1" noProof="0">
                          <a:solidFill>
                            <a:schemeClr val="tx1">
                              <a:lumMod val="75000"/>
                            </a:schemeClr>
                          </a:solidFill>
                        </a:rPr>
                        <a:t>6,2</a:t>
                      </a:r>
                    </a:p>
                  </a:txBody>
                  <a:tcPr anchor="ctr">
                    <a:lnL w="3175" cap="flat" cmpd="sng" algn="ctr">
                      <a:noFill/>
                      <a:prstDash val="solid"/>
                      <a:round/>
                      <a:headEnd type="none" w="med" len="med"/>
                      <a:tailEnd type="none" w="med" len="med"/>
                    </a:lnL>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236081818"/>
                  </a:ext>
                </a:extLst>
              </a:tr>
              <a:tr h="296973">
                <a:tc vMerge="1">
                  <a:txBody>
                    <a:bodyPr/>
                    <a:lstStyle/>
                    <a:p>
                      <a:endParaRPr lang="pl-PL"/>
                    </a:p>
                  </a:txBody>
                  <a:tcPr/>
                </a:tc>
                <a:tc>
                  <a:txBody>
                    <a:bodyPr/>
                    <a:lstStyle/>
                    <a:p>
                      <a:pPr marL="0" algn="l" defTabSz="914400" rtl="0" eaLnBrk="1" latinLnBrk="0" hangingPunct="1"/>
                      <a:r>
                        <a:rPr lang="en-GB" sz="1200" b="1" kern="1200" noProof="0">
                          <a:solidFill>
                            <a:schemeClr val="tx1">
                              <a:lumMod val="75000"/>
                            </a:schemeClr>
                          </a:solidFill>
                          <a:latin typeface="+mn-lt"/>
                          <a:ea typeface="+mn-ea"/>
                          <a:cs typeface="+mn-cs"/>
                        </a:rPr>
                        <a:t>CPI (% yoy, end of period)</a:t>
                      </a:r>
                    </a:p>
                  </a:txBody>
                  <a:tcPr anchor="ctr">
                    <a:lnL w="12700" cmpd="sng">
                      <a:noFill/>
                    </a:lnL>
                    <a:lnR w="12700" cmpd="sng">
                      <a:noFill/>
                    </a:lnR>
                    <a:lnT w="3175" cap="flat" cmpd="sng" algn="ctr">
                      <a:solidFill>
                        <a:srgbClr val="C00000"/>
                      </a:solidFill>
                      <a:prstDash val="solid"/>
                      <a:round/>
                      <a:headEnd type="none" w="med" len="med"/>
                      <a:tailEnd type="none" w="med" len="med"/>
                    </a:lnT>
                    <a:lnB w="3175" cap="flat" cmpd="sng" algn="ctr">
                      <a:solidFill>
                        <a:srgbClr val="C00000"/>
                      </a:solidFill>
                      <a:prstDash val="solid"/>
                      <a:round/>
                      <a:headEnd type="none" w="med" len="med"/>
                      <a:tailEnd type="none" w="med" len="med"/>
                    </a:lnB>
                    <a:solidFill>
                      <a:srgbClr val="FFEFEF">
                        <a:alpha val="40000"/>
                      </a:srgbClr>
                    </a:solidFill>
                  </a:tcPr>
                </a:tc>
                <a:tc>
                  <a:txBody>
                    <a:bodyPr/>
                    <a:lstStyle/>
                    <a:p>
                      <a:pPr algn="ctr"/>
                      <a:endParaRPr lang="en-GB" sz="1200" b="0" noProof="0">
                        <a:solidFill>
                          <a:schemeClr val="tx1">
                            <a:lumMod val="75000"/>
                          </a:schemeClr>
                        </a:solidFill>
                      </a:endParaRPr>
                    </a:p>
                  </a:txBody>
                  <a:tcPr anchor="ctr">
                    <a:lnL w="12700" cmpd="sng">
                      <a:noFill/>
                    </a:lnL>
                    <a:lnR w="12700" cmpd="sng">
                      <a:noFill/>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noProof="0">
                          <a:solidFill>
                            <a:schemeClr val="tx1">
                              <a:lumMod val="75000"/>
                            </a:schemeClr>
                          </a:solidFill>
                        </a:rPr>
                        <a:t>8,6</a:t>
                      </a:r>
                    </a:p>
                  </a:txBody>
                  <a:tcPr anchor="ctr">
                    <a:lnL w="12700" cmpd="sng">
                      <a:noFill/>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0" noProof="0">
                          <a:solidFill>
                            <a:schemeClr val="tx1">
                              <a:lumMod val="75000"/>
                            </a:schemeClr>
                          </a:solidFill>
                        </a:rPr>
                        <a:t>16,6</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1" noProof="0">
                          <a:solidFill>
                            <a:schemeClr val="tx1">
                              <a:lumMod val="75000"/>
                            </a:schemeClr>
                          </a:solidFill>
                        </a:rPr>
                        <a:t>7,2</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tc>
                  <a:txBody>
                    <a:bodyPr/>
                    <a:lstStyle/>
                    <a:p>
                      <a:pPr algn="ctr"/>
                      <a:r>
                        <a:rPr lang="en-GB" sz="1200" b="1" noProof="0">
                          <a:solidFill>
                            <a:schemeClr val="tx1">
                              <a:lumMod val="75000"/>
                            </a:schemeClr>
                          </a:solidFill>
                        </a:rPr>
                        <a:t>5,5</a:t>
                      </a:r>
                    </a:p>
                  </a:txBody>
                  <a:tcPr anchor="ctr">
                    <a:lnL w="3175" cap="flat" cmpd="sng" algn="ctr">
                      <a:noFill/>
                      <a:prstDash val="solid"/>
                      <a:round/>
                      <a:headEnd type="none" w="med" len="med"/>
                      <a:tailEnd type="none" w="med" len="med"/>
                    </a:lnL>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1005291923"/>
                  </a:ext>
                </a:extLst>
              </a:tr>
              <a:tr h="296973">
                <a:tc vMerge="1">
                  <a:txBody>
                    <a:bodyPr/>
                    <a:lstStyle/>
                    <a:p>
                      <a:pPr marL="0" algn="l" defTabSz="914400" rtl="0" eaLnBrk="1" latinLnBrk="0" hangingPunct="1"/>
                      <a:endParaRPr lang="pl-PL" sz="1200" b="1" kern="1200" dirty="0">
                        <a:solidFill>
                          <a:schemeClr val="tx1">
                            <a:lumMod val="75000"/>
                          </a:schemeClr>
                        </a:solidFill>
                        <a:latin typeface="+mn-lt"/>
                        <a:ea typeface="+mn-ea"/>
                        <a:cs typeface="+mn-cs"/>
                      </a:endParaRPr>
                    </a:p>
                  </a:txBody>
                  <a:tcPr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C00000">
                        <a:alpha val="40000"/>
                      </a:srgbClr>
                    </a:solidFill>
                  </a:tcPr>
                </a:tc>
                <a:tc>
                  <a:txBody>
                    <a:bodyPr/>
                    <a:lstStyle/>
                    <a:p>
                      <a:pPr marL="0" algn="l" defTabSz="914400" rtl="0" eaLnBrk="1" latinLnBrk="0" hangingPunct="1"/>
                      <a:r>
                        <a:rPr lang="en-GB" sz="1200" b="1" kern="1200" noProof="0">
                          <a:solidFill>
                            <a:schemeClr val="tx1">
                              <a:lumMod val="75000"/>
                            </a:schemeClr>
                          </a:solidFill>
                        </a:rPr>
                        <a:t>Core CPI (% yoy)</a:t>
                      </a:r>
                      <a:endParaRPr lang="en-GB" sz="1200" b="1" kern="1200" noProof="0">
                        <a:solidFill>
                          <a:schemeClr val="tx1">
                            <a:lumMod val="75000"/>
                          </a:schemeClr>
                        </a:solidFill>
                        <a:latin typeface="+mn-lt"/>
                        <a:ea typeface="+mn-ea"/>
                        <a:cs typeface="+mn-cs"/>
                      </a:endParaRPr>
                    </a:p>
                  </a:txBody>
                  <a:tcPr anchor="ctr">
                    <a:lnL w="12700" cmpd="sng">
                      <a:noFill/>
                    </a:lnL>
                    <a:lnR w="12700" cmpd="sng">
                      <a:noFill/>
                    </a:lnR>
                    <a:lnT w="3175" cap="flat" cmpd="sng" algn="ctr">
                      <a:solidFill>
                        <a:srgbClr val="C00000"/>
                      </a:solidFill>
                      <a:prstDash val="solid"/>
                      <a:round/>
                      <a:headEnd type="none" w="med" len="med"/>
                      <a:tailEnd type="none" w="med" len="med"/>
                    </a:lnT>
                    <a:lnB w="3175" cap="flat" cmpd="sng" algn="ctr">
                      <a:solidFill>
                        <a:srgbClr val="C00000"/>
                      </a:solidFill>
                      <a:prstDash val="solid"/>
                      <a:round/>
                      <a:headEnd type="none" w="med" len="med"/>
                      <a:tailEnd type="none" w="med" len="med"/>
                    </a:lnB>
                    <a:solidFill>
                      <a:srgbClr val="FFEFEF">
                        <a:alpha val="40000"/>
                      </a:srgbClr>
                    </a:solidFill>
                  </a:tcPr>
                </a:tc>
                <a:tc>
                  <a:txBody>
                    <a:bodyPr/>
                    <a:lstStyle/>
                    <a:p>
                      <a:pPr algn="ctr"/>
                      <a:endParaRPr lang="en-GB" sz="1200" b="0" noProof="0">
                        <a:solidFill>
                          <a:schemeClr val="tx1">
                            <a:lumMod val="75000"/>
                          </a:schemeClr>
                        </a:solidFill>
                      </a:endParaRPr>
                    </a:p>
                  </a:txBody>
                  <a:tcPr anchor="ctr">
                    <a:lnL w="12700" cmpd="sng">
                      <a:noFill/>
                    </a:lnL>
                    <a:lnR w="12700" cmpd="sng">
                      <a:noFill/>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noProof="0">
                          <a:solidFill>
                            <a:schemeClr val="tx1">
                              <a:lumMod val="75000"/>
                            </a:schemeClr>
                          </a:solidFill>
                        </a:rPr>
                        <a:t>4,1</a:t>
                      </a:r>
                    </a:p>
                  </a:txBody>
                  <a:tcPr anchor="ctr">
                    <a:lnL w="12700" cmpd="sng">
                      <a:noFill/>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0" noProof="0">
                          <a:solidFill>
                            <a:schemeClr val="tx1">
                              <a:lumMod val="75000"/>
                            </a:schemeClr>
                          </a:solidFill>
                        </a:rPr>
                        <a:t>9,1</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1" noProof="0">
                          <a:solidFill>
                            <a:schemeClr val="tx1">
                              <a:lumMod val="75000"/>
                            </a:schemeClr>
                          </a:solidFill>
                        </a:rPr>
                        <a:t>10,2</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tc>
                  <a:txBody>
                    <a:bodyPr/>
                    <a:lstStyle/>
                    <a:p>
                      <a:pPr algn="ctr"/>
                      <a:r>
                        <a:rPr lang="en-GB" sz="1200" b="1" noProof="0">
                          <a:solidFill>
                            <a:schemeClr val="tx1">
                              <a:lumMod val="75000"/>
                            </a:schemeClr>
                          </a:solidFill>
                        </a:rPr>
                        <a:t>4,8</a:t>
                      </a:r>
                    </a:p>
                  </a:txBody>
                  <a:tcPr anchor="ctr">
                    <a:lnL w="3175" cap="flat" cmpd="sng" algn="ctr">
                      <a:noFill/>
                      <a:prstDash val="solid"/>
                      <a:round/>
                      <a:headEnd type="none" w="med" len="med"/>
                      <a:tailEnd type="none" w="med" len="med"/>
                    </a:lnL>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2921037715"/>
                  </a:ext>
                </a:extLst>
              </a:tr>
              <a:tr h="296973">
                <a:tc vMerge="1">
                  <a:txBody>
                    <a:bodyPr/>
                    <a:lstStyle/>
                    <a:p>
                      <a:pPr marL="0" algn="ctr" defTabSz="914400" rtl="0" eaLnBrk="1" latinLnBrk="0" hangingPunct="1"/>
                      <a:endParaRPr lang="pl-PL" sz="1200" b="1" kern="1200" dirty="0">
                        <a:solidFill>
                          <a:schemeClr val="bg1"/>
                        </a:solidFill>
                        <a:latin typeface="+mn-lt"/>
                        <a:ea typeface="+mn-ea"/>
                        <a:cs typeface="+mn-cs"/>
                      </a:endParaRPr>
                    </a:p>
                  </a:txBody>
                  <a:tcPr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l"/>
                      <a:r>
                        <a:rPr lang="en-GB" sz="1200" b="1" noProof="0">
                          <a:solidFill>
                            <a:schemeClr val="tx1">
                              <a:lumMod val="75000"/>
                            </a:schemeClr>
                          </a:solidFill>
                        </a:rPr>
                        <a:t>NBP reference rate (%, end of period)</a:t>
                      </a:r>
                    </a:p>
                  </a:txBody>
                  <a:tcPr anchor="ctr">
                    <a:lnL w="12700" cmpd="sng">
                      <a:noFill/>
                    </a:lnL>
                    <a:lnR w="12700" cmpd="sng">
                      <a:noFill/>
                    </a:lnR>
                    <a:lnT w="3175" cap="flat" cmpd="sng" algn="ctr">
                      <a:solidFill>
                        <a:srgbClr val="C00000"/>
                      </a:solidFill>
                      <a:prstDash val="solid"/>
                      <a:round/>
                      <a:headEnd type="none" w="med" len="med"/>
                      <a:tailEnd type="none" w="med" len="med"/>
                    </a:lnT>
                    <a:lnB w="3175" cap="flat" cmpd="sng" algn="ctr">
                      <a:solidFill>
                        <a:srgbClr val="C00000"/>
                      </a:solidFill>
                      <a:prstDash val="solid"/>
                      <a:round/>
                      <a:headEnd type="none" w="med" len="med"/>
                      <a:tailEnd type="none" w="med" len="med"/>
                    </a:lnB>
                    <a:solidFill>
                      <a:srgbClr val="FFEFEF">
                        <a:alpha val="40000"/>
                      </a:srgbClr>
                    </a:solidFill>
                  </a:tcPr>
                </a:tc>
                <a:tc>
                  <a:txBody>
                    <a:bodyPr/>
                    <a:lstStyle/>
                    <a:p>
                      <a:pPr algn="ctr"/>
                      <a:endParaRPr lang="en-GB" sz="1200" b="0" noProof="0">
                        <a:solidFill>
                          <a:schemeClr val="tx1">
                            <a:lumMod val="75000"/>
                          </a:schemeClr>
                        </a:solidFill>
                      </a:endParaRPr>
                    </a:p>
                  </a:txBody>
                  <a:tcPr anchor="ctr">
                    <a:lnL w="12700" cmpd="sng">
                      <a:noFill/>
                    </a:lnL>
                    <a:lnR w="12700" cmpd="sng">
                      <a:noFill/>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noProof="0">
                          <a:solidFill>
                            <a:schemeClr val="tx1">
                              <a:lumMod val="75000"/>
                            </a:schemeClr>
                          </a:solidFill>
                        </a:rPr>
                        <a:t>1,75</a:t>
                      </a:r>
                    </a:p>
                  </a:txBody>
                  <a:tcPr anchor="ctr">
                    <a:lnL w="12700" cmpd="sng">
                      <a:noFill/>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0" noProof="0">
                          <a:solidFill>
                            <a:schemeClr val="tx1">
                              <a:lumMod val="75000"/>
                            </a:schemeClr>
                          </a:solidFill>
                        </a:rPr>
                        <a:t>6,75</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1" noProof="0">
                          <a:solidFill>
                            <a:schemeClr val="tx1">
                              <a:lumMod val="75000"/>
                            </a:schemeClr>
                          </a:solidFill>
                        </a:rPr>
                        <a:t>6,50</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tc>
                  <a:txBody>
                    <a:bodyPr/>
                    <a:lstStyle/>
                    <a:p>
                      <a:pPr algn="ctr"/>
                      <a:r>
                        <a:rPr lang="en-GB" sz="1200" b="1" noProof="0">
                          <a:solidFill>
                            <a:schemeClr val="tx1">
                              <a:lumMod val="75000"/>
                            </a:schemeClr>
                          </a:solidFill>
                        </a:rPr>
                        <a:t>4,00</a:t>
                      </a:r>
                    </a:p>
                  </a:txBody>
                  <a:tcPr anchor="ctr">
                    <a:lnL w="3175" cap="flat" cmpd="sng" algn="ctr">
                      <a:noFill/>
                      <a:prstDash val="solid"/>
                      <a:round/>
                      <a:headEnd type="none" w="med" len="med"/>
                      <a:tailEnd type="none" w="med" len="med"/>
                    </a:lnL>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546391509"/>
                  </a:ext>
                </a:extLst>
              </a:tr>
              <a:tr h="296973">
                <a:tc rowSpan="3">
                  <a:txBody>
                    <a:bodyPr/>
                    <a:lstStyle/>
                    <a:p>
                      <a:pPr algn="ctr"/>
                      <a:r>
                        <a:rPr lang="en-GB" sz="1200" b="1" noProof="0">
                          <a:solidFill>
                            <a:schemeClr val="bg1"/>
                          </a:solidFill>
                        </a:rPr>
                        <a:t>Labor market</a:t>
                      </a:r>
                    </a:p>
                  </a:txBody>
                  <a:tcPr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l"/>
                      <a:r>
                        <a:rPr lang="en-GB" sz="1200" b="1" noProof="0">
                          <a:solidFill>
                            <a:schemeClr val="tx1">
                              <a:lumMod val="75000"/>
                            </a:schemeClr>
                          </a:solidFill>
                        </a:rPr>
                        <a:t>Unemployment rate (%, end of period)</a:t>
                      </a:r>
                    </a:p>
                  </a:txBody>
                  <a:tcPr anchor="ctr">
                    <a:lnL w="12700" cmpd="sng">
                      <a:noFill/>
                    </a:lnL>
                    <a:lnR w="12700" cmpd="sng">
                      <a:noFill/>
                    </a:lnR>
                    <a:lnT w="3175" cap="flat" cmpd="sng" algn="ctr">
                      <a:solidFill>
                        <a:srgbClr val="C00000"/>
                      </a:solidFill>
                      <a:prstDash val="solid"/>
                      <a:round/>
                      <a:headEnd type="none" w="med" len="med"/>
                      <a:tailEnd type="none" w="med" len="med"/>
                    </a:lnT>
                    <a:lnB w="3175" cap="flat" cmpd="sng" algn="ctr">
                      <a:solidFill>
                        <a:srgbClr val="C00000"/>
                      </a:solidFill>
                      <a:prstDash val="solid"/>
                      <a:round/>
                      <a:headEnd type="none" w="med" len="med"/>
                      <a:tailEnd type="none" w="med" len="med"/>
                    </a:lnB>
                    <a:solidFill>
                      <a:srgbClr val="FFEFEF">
                        <a:alpha val="40000"/>
                      </a:srgbClr>
                    </a:solidFill>
                  </a:tcPr>
                </a:tc>
                <a:tc>
                  <a:txBody>
                    <a:bodyPr/>
                    <a:lstStyle/>
                    <a:p>
                      <a:pPr algn="ctr"/>
                      <a:endParaRPr lang="en-GB" sz="1200" b="0" noProof="0">
                        <a:solidFill>
                          <a:schemeClr val="tx1">
                            <a:lumMod val="75000"/>
                          </a:schemeClr>
                        </a:solidFill>
                      </a:endParaRPr>
                    </a:p>
                  </a:txBody>
                  <a:tcPr anchor="ctr">
                    <a:lnL w="12700" cmpd="sng">
                      <a:noFill/>
                    </a:lnL>
                    <a:lnR w="12700" cmpd="sng">
                      <a:noFill/>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noProof="0">
                          <a:solidFill>
                            <a:schemeClr val="tx1">
                              <a:lumMod val="75000"/>
                            </a:schemeClr>
                          </a:solidFill>
                        </a:rPr>
                        <a:t>5,4</a:t>
                      </a:r>
                    </a:p>
                  </a:txBody>
                  <a:tcPr anchor="ctr">
                    <a:lnL w="12700" cmpd="sng">
                      <a:noFill/>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0" noProof="0">
                          <a:solidFill>
                            <a:schemeClr val="tx1">
                              <a:lumMod val="75000"/>
                            </a:schemeClr>
                          </a:solidFill>
                        </a:rPr>
                        <a:t>5,2</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1" noProof="0">
                          <a:solidFill>
                            <a:schemeClr val="tx1">
                              <a:lumMod val="75000"/>
                            </a:schemeClr>
                          </a:solidFill>
                        </a:rPr>
                        <a:t>5,5</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tc>
                  <a:txBody>
                    <a:bodyPr/>
                    <a:lstStyle/>
                    <a:p>
                      <a:pPr algn="ctr"/>
                      <a:r>
                        <a:rPr lang="en-GB" sz="1200" b="1" noProof="0">
                          <a:solidFill>
                            <a:schemeClr val="tx1">
                              <a:lumMod val="75000"/>
                            </a:schemeClr>
                          </a:solidFill>
                        </a:rPr>
                        <a:t>5,8</a:t>
                      </a:r>
                    </a:p>
                  </a:txBody>
                  <a:tcPr anchor="ctr">
                    <a:lnL w="3175" cap="flat" cmpd="sng" algn="ctr">
                      <a:noFill/>
                      <a:prstDash val="solid"/>
                      <a:round/>
                      <a:headEnd type="none" w="med" len="med"/>
                      <a:tailEnd type="none" w="med" len="med"/>
                    </a:lnL>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1761506843"/>
                  </a:ext>
                </a:extLst>
              </a:tr>
              <a:tr h="296973">
                <a:tc vMerge="1">
                  <a:txBody>
                    <a:bodyPr/>
                    <a:lstStyle/>
                    <a:p>
                      <a:pPr algn="l"/>
                      <a:endParaRPr lang="pl-PL" sz="1200" b="1" dirty="0">
                        <a:solidFill>
                          <a:schemeClr val="tx1">
                            <a:lumMod val="75000"/>
                          </a:schemeClr>
                        </a:solidFill>
                      </a:endParaRPr>
                    </a:p>
                  </a:txBody>
                  <a:tcPr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l"/>
                      <a:r>
                        <a:rPr lang="en-GB" sz="1200" b="1" noProof="0">
                          <a:solidFill>
                            <a:schemeClr val="tx1">
                              <a:lumMod val="75000"/>
                            </a:schemeClr>
                          </a:solidFill>
                        </a:rPr>
                        <a:t>Corporate employment (% yoy)</a:t>
                      </a:r>
                    </a:p>
                  </a:txBody>
                  <a:tcPr anchor="ctr">
                    <a:lnL w="12700" cmpd="sng">
                      <a:noFill/>
                    </a:lnL>
                    <a:lnR w="12700" cmpd="sng">
                      <a:noFill/>
                    </a:lnR>
                    <a:lnT w="3175" cap="flat" cmpd="sng" algn="ctr">
                      <a:solidFill>
                        <a:srgbClr val="C00000"/>
                      </a:solidFill>
                      <a:prstDash val="solid"/>
                      <a:round/>
                      <a:headEnd type="none" w="med" len="med"/>
                      <a:tailEnd type="none" w="med" len="med"/>
                    </a:lnT>
                    <a:lnB w="3175" cap="flat" cmpd="sng" algn="ctr">
                      <a:solidFill>
                        <a:srgbClr val="C00000"/>
                      </a:solidFill>
                      <a:prstDash val="solid"/>
                      <a:round/>
                      <a:headEnd type="none" w="med" len="med"/>
                      <a:tailEnd type="none" w="med" len="med"/>
                    </a:lnB>
                    <a:solidFill>
                      <a:srgbClr val="FFEFEF">
                        <a:alpha val="40000"/>
                      </a:srgbClr>
                    </a:solidFill>
                  </a:tcPr>
                </a:tc>
                <a:tc>
                  <a:txBody>
                    <a:bodyPr/>
                    <a:lstStyle/>
                    <a:p>
                      <a:pPr algn="ctr"/>
                      <a:endParaRPr lang="en-GB" sz="1200" b="0" noProof="0">
                        <a:solidFill>
                          <a:schemeClr val="tx1">
                            <a:lumMod val="75000"/>
                          </a:schemeClr>
                        </a:solidFill>
                      </a:endParaRPr>
                    </a:p>
                  </a:txBody>
                  <a:tcPr anchor="ctr">
                    <a:lnL w="12700" cmpd="sng">
                      <a:noFill/>
                    </a:lnL>
                    <a:lnR w="12700" cmpd="sng">
                      <a:noFill/>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noProof="0">
                          <a:solidFill>
                            <a:schemeClr val="tx1">
                              <a:lumMod val="75000"/>
                            </a:schemeClr>
                          </a:solidFill>
                        </a:rPr>
                        <a:t>0,5</a:t>
                      </a:r>
                    </a:p>
                  </a:txBody>
                  <a:tcPr anchor="ctr">
                    <a:lnL w="12700" cmpd="sng">
                      <a:noFill/>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0" noProof="0">
                          <a:solidFill>
                            <a:schemeClr val="tx1">
                              <a:lumMod val="75000"/>
                            </a:schemeClr>
                          </a:solidFill>
                        </a:rPr>
                        <a:t>2,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1" noProof="0">
                          <a:solidFill>
                            <a:schemeClr val="tx1">
                              <a:lumMod val="75000"/>
                            </a:schemeClr>
                          </a:solidFill>
                        </a:rPr>
                        <a:t>1,0</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tc>
                  <a:txBody>
                    <a:bodyPr/>
                    <a:lstStyle/>
                    <a:p>
                      <a:pPr algn="ctr"/>
                      <a:r>
                        <a:rPr lang="en-GB" sz="1200" b="1" noProof="0">
                          <a:solidFill>
                            <a:schemeClr val="tx1">
                              <a:lumMod val="75000"/>
                            </a:schemeClr>
                          </a:solidFill>
                        </a:rPr>
                        <a:t>0,0</a:t>
                      </a:r>
                    </a:p>
                  </a:txBody>
                  <a:tcPr anchor="ctr">
                    <a:lnL w="3175" cap="flat" cmpd="sng" algn="ctr">
                      <a:noFill/>
                      <a:prstDash val="solid"/>
                      <a:round/>
                      <a:headEnd type="none" w="med" len="med"/>
                      <a:tailEnd type="none" w="med" len="med"/>
                    </a:lnL>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041055756"/>
                  </a:ext>
                </a:extLst>
              </a:tr>
              <a:tr h="296973">
                <a:tc vMerge="1">
                  <a:txBody>
                    <a:bodyPr/>
                    <a:lstStyle/>
                    <a:p>
                      <a:pPr algn="l"/>
                      <a:endParaRPr lang="pl-PL" sz="1200" b="1" dirty="0">
                        <a:solidFill>
                          <a:schemeClr val="tx1">
                            <a:lumMod val="75000"/>
                          </a:schemeClr>
                        </a:solidFill>
                      </a:endParaRPr>
                    </a:p>
                  </a:txBody>
                  <a:tcPr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l"/>
                      <a:r>
                        <a:rPr lang="en-GB" sz="1200" b="1" noProof="0">
                          <a:solidFill>
                            <a:schemeClr val="tx1">
                              <a:lumMod val="75000"/>
                            </a:schemeClr>
                          </a:solidFill>
                        </a:rPr>
                        <a:t>Corporate wages</a:t>
                      </a:r>
                      <a:r>
                        <a:rPr lang="en-GB" sz="1200" b="1" baseline="0" noProof="0">
                          <a:solidFill>
                            <a:schemeClr val="tx1">
                              <a:lumMod val="75000"/>
                            </a:schemeClr>
                          </a:solidFill>
                        </a:rPr>
                        <a:t> (% yoy)</a:t>
                      </a:r>
                      <a:endParaRPr lang="en-GB" sz="1200" b="1" noProof="0">
                        <a:solidFill>
                          <a:schemeClr val="tx1">
                            <a:lumMod val="75000"/>
                          </a:schemeClr>
                        </a:solidFill>
                      </a:endParaRPr>
                    </a:p>
                  </a:txBody>
                  <a:tcPr anchor="ctr">
                    <a:lnL w="12700" cmpd="sng">
                      <a:noFill/>
                    </a:lnL>
                    <a:lnR w="12700" cmpd="sng">
                      <a:noFill/>
                    </a:lnR>
                    <a:lnT w="3175" cap="flat" cmpd="sng" algn="ctr">
                      <a:solidFill>
                        <a:srgbClr val="C00000"/>
                      </a:solidFill>
                      <a:prstDash val="solid"/>
                      <a:round/>
                      <a:headEnd type="none" w="med" len="med"/>
                      <a:tailEnd type="none" w="med" len="med"/>
                    </a:lnT>
                    <a:lnB w="3175" cap="flat" cmpd="sng" algn="ctr">
                      <a:solidFill>
                        <a:srgbClr val="C00000"/>
                      </a:solidFill>
                      <a:prstDash val="solid"/>
                      <a:round/>
                      <a:headEnd type="none" w="med" len="med"/>
                      <a:tailEnd type="none" w="med" len="med"/>
                    </a:lnB>
                    <a:solidFill>
                      <a:srgbClr val="FFEFEF">
                        <a:alpha val="40000"/>
                      </a:srgbClr>
                    </a:solidFill>
                  </a:tcPr>
                </a:tc>
                <a:tc>
                  <a:txBody>
                    <a:bodyPr/>
                    <a:lstStyle/>
                    <a:p>
                      <a:pPr algn="ctr"/>
                      <a:endParaRPr lang="en-GB" sz="1200" b="0" noProof="0">
                        <a:solidFill>
                          <a:schemeClr val="tx1">
                            <a:lumMod val="75000"/>
                          </a:schemeClr>
                        </a:solidFill>
                      </a:endParaRPr>
                    </a:p>
                  </a:txBody>
                  <a:tcPr anchor="ctr">
                    <a:lnL w="12700" cmpd="sng">
                      <a:noFill/>
                    </a:lnL>
                    <a:lnR w="12700" cmpd="sng">
                      <a:noFill/>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noProof="0">
                          <a:solidFill>
                            <a:schemeClr val="tx1">
                              <a:lumMod val="75000"/>
                            </a:schemeClr>
                          </a:solidFill>
                        </a:rPr>
                        <a:t>8,6</a:t>
                      </a:r>
                    </a:p>
                  </a:txBody>
                  <a:tcPr anchor="ctr">
                    <a:lnL w="12700" cmpd="sng">
                      <a:noFill/>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0" noProof="0">
                          <a:solidFill>
                            <a:schemeClr val="tx1">
                              <a:lumMod val="75000"/>
                            </a:schemeClr>
                          </a:solidFill>
                        </a:rPr>
                        <a:t>12,9</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1" noProof="0">
                          <a:solidFill>
                            <a:schemeClr val="tx1">
                              <a:lumMod val="75000"/>
                            </a:schemeClr>
                          </a:solidFill>
                        </a:rPr>
                        <a:t>10,7</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tc>
                  <a:txBody>
                    <a:bodyPr/>
                    <a:lstStyle/>
                    <a:p>
                      <a:pPr algn="ctr"/>
                      <a:r>
                        <a:rPr lang="en-GB" sz="1200" b="1" noProof="0">
                          <a:solidFill>
                            <a:schemeClr val="tx1">
                              <a:lumMod val="75000"/>
                            </a:schemeClr>
                          </a:solidFill>
                        </a:rPr>
                        <a:t>6,7</a:t>
                      </a:r>
                    </a:p>
                  </a:txBody>
                  <a:tcPr anchor="ctr">
                    <a:lnL w="3175" cap="flat" cmpd="sng" algn="ctr">
                      <a:noFill/>
                      <a:prstDash val="solid"/>
                      <a:round/>
                      <a:headEnd type="none" w="med" len="med"/>
                      <a:tailEnd type="none" w="med" len="med"/>
                    </a:lnL>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2499520397"/>
                  </a:ext>
                </a:extLst>
              </a:tr>
              <a:tr h="296973">
                <a:tc rowSpan="2">
                  <a:txBody>
                    <a:bodyPr/>
                    <a:lstStyle/>
                    <a:p>
                      <a:pPr algn="ctr"/>
                      <a:r>
                        <a:rPr lang="en-GB" sz="1200" b="1" noProof="0">
                          <a:solidFill>
                            <a:schemeClr val="bg1"/>
                          </a:solidFill>
                        </a:rPr>
                        <a:t>Public finance</a:t>
                      </a:r>
                    </a:p>
                  </a:txBody>
                  <a:tcPr anchor="ct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l"/>
                      <a:r>
                        <a:rPr lang="en-GB" sz="1200" b="1" noProof="0">
                          <a:solidFill>
                            <a:schemeClr val="tx1">
                              <a:lumMod val="75000"/>
                            </a:schemeClr>
                          </a:solidFill>
                        </a:rPr>
                        <a:t>Fiscal balance (ESA2010, % GDP)</a:t>
                      </a:r>
                    </a:p>
                  </a:txBody>
                  <a:tcPr anchor="ctr">
                    <a:lnL w="12700" cmpd="sng">
                      <a:noFill/>
                    </a:lnL>
                    <a:lnR w="12700" cmpd="sng">
                      <a:noFill/>
                    </a:lnR>
                    <a:lnT w="3175" cap="flat" cmpd="sng" algn="ctr">
                      <a:solidFill>
                        <a:srgbClr val="C00000"/>
                      </a:solidFill>
                      <a:prstDash val="solid"/>
                      <a:round/>
                      <a:headEnd type="none" w="med" len="med"/>
                      <a:tailEnd type="none" w="med" len="med"/>
                    </a:lnT>
                    <a:lnB w="3175" cap="flat" cmpd="sng" algn="ctr">
                      <a:solidFill>
                        <a:srgbClr val="C00000"/>
                      </a:solidFill>
                      <a:prstDash val="solid"/>
                      <a:round/>
                      <a:headEnd type="none" w="med" len="med"/>
                      <a:tailEnd type="none" w="med" len="med"/>
                    </a:lnB>
                    <a:solidFill>
                      <a:srgbClr val="FFEFEF">
                        <a:alpha val="40000"/>
                      </a:srgbClr>
                    </a:solidFill>
                  </a:tcPr>
                </a:tc>
                <a:tc>
                  <a:txBody>
                    <a:bodyPr/>
                    <a:lstStyle/>
                    <a:p>
                      <a:pPr marL="0" algn="ctr" defTabSz="914400" rtl="0" eaLnBrk="1" fontAlgn="b" latinLnBrk="0" hangingPunct="1"/>
                      <a:endParaRPr lang="en-GB" sz="1200" b="0" kern="1200" noProof="0">
                        <a:solidFill>
                          <a:schemeClr val="tx1">
                            <a:lumMod val="75000"/>
                          </a:schemeClr>
                        </a:solidFill>
                        <a:latin typeface="+mn-lt"/>
                        <a:ea typeface="+mn-ea"/>
                        <a:cs typeface="+mn-cs"/>
                      </a:endParaRPr>
                    </a:p>
                  </a:txBody>
                  <a:tcPr marL="6350" marR="6350" marT="6350" marB="0" anchor="ctr">
                    <a:lnL w="12700" cmpd="sng">
                      <a:noFill/>
                    </a:lnL>
                    <a:lnR w="12700" cmpd="sng">
                      <a:noFill/>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GB" sz="1200" b="0" kern="1200" noProof="0">
                          <a:solidFill>
                            <a:schemeClr val="tx1">
                              <a:lumMod val="75000"/>
                            </a:schemeClr>
                          </a:solidFill>
                          <a:latin typeface="+mn-lt"/>
                          <a:ea typeface="+mn-ea"/>
                          <a:cs typeface="+mn-cs"/>
                        </a:rPr>
                        <a:t>-1,8</a:t>
                      </a:r>
                    </a:p>
                  </a:txBody>
                  <a:tcPr marL="6350" marR="6350" marT="6350" marB="0" anchor="ctr">
                    <a:lnL w="12700" cmpd="sng">
                      <a:noFill/>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marL="0" algn="ctr" defTabSz="914400" rtl="0" eaLnBrk="1" fontAlgn="b" latinLnBrk="0" hangingPunct="1"/>
                      <a:r>
                        <a:rPr lang="en-GB" sz="1200" b="0" kern="1200" noProof="0">
                          <a:solidFill>
                            <a:schemeClr val="tx1">
                              <a:lumMod val="75000"/>
                            </a:schemeClr>
                          </a:solidFill>
                          <a:latin typeface="+mn-lt"/>
                          <a:ea typeface="+mn-ea"/>
                          <a:cs typeface="+mn-cs"/>
                        </a:rPr>
                        <a:t>-3,5</a:t>
                      </a:r>
                    </a:p>
                  </a:txBody>
                  <a:tcPr marL="6350" marR="6350" marT="635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marL="0" algn="ctr" defTabSz="914400" rtl="0" eaLnBrk="1" fontAlgn="b" latinLnBrk="0" hangingPunct="1"/>
                      <a:r>
                        <a:rPr lang="en-GB" sz="1200" b="1" kern="1200" noProof="0">
                          <a:solidFill>
                            <a:schemeClr val="tx1">
                              <a:lumMod val="75000"/>
                            </a:schemeClr>
                          </a:solidFill>
                          <a:latin typeface="+mn-lt"/>
                          <a:ea typeface="+mn-ea"/>
                          <a:cs typeface="+mn-cs"/>
                        </a:rPr>
                        <a:t>-3,7</a:t>
                      </a:r>
                    </a:p>
                  </a:txBody>
                  <a:tcPr marL="6350" marR="6350" marT="635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tc>
                  <a:txBody>
                    <a:bodyPr/>
                    <a:lstStyle/>
                    <a:p>
                      <a:pPr marL="0" algn="ctr" defTabSz="914400" rtl="0" eaLnBrk="1" latinLnBrk="0" hangingPunct="1"/>
                      <a:r>
                        <a:rPr lang="en-GB" sz="1200" b="1" kern="1200" noProof="0">
                          <a:solidFill>
                            <a:schemeClr val="tx1">
                              <a:lumMod val="75000"/>
                            </a:schemeClr>
                          </a:solidFill>
                          <a:latin typeface="+mn-lt"/>
                          <a:ea typeface="+mn-ea"/>
                          <a:cs typeface="+mn-cs"/>
                        </a:rPr>
                        <a:t>-2,8</a:t>
                      </a:r>
                    </a:p>
                  </a:txBody>
                  <a:tcPr anchor="ctr">
                    <a:lnL w="3175" cap="flat" cmpd="sng" algn="ctr">
                      <a:noFill/>
                      <a:prstDash val="solid"/>
                      <a:round/>
                      <a:headEnd type="none" w="med" len="med"/>
                      <a:tailEnd type="none" w="med" len="med"/>
                    </a:lnL>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215454120"/>
                  </a:ext>
                </a:extLst>
              </a:tr>
              <a:tr h="296973">
                <a:tc vMerge="1">
                  <a:txBody>
                    <a:bodyPr/>
                    <a:lstStyle/>
                    <a:p>
                      <a:pPr algn="l"/>
                      <a:endParaRPr lang="pl-PL" sz="1200" b="1" dirty="0">
                        <a:solidFill>
                          <a:schemeClr val="tx1">
                            <a:lumMod val="75000"/>
                          </a:schemeClr>
                        </a:solidFill>
                      </a:endParaRPr>
                    </a:p>
                  </a:txBody>
                  <a:tcPr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l"/>
                      <a:r>
                        <a:rPr lang="en-GB" sz="1200" b="1" noProof="0">
                          <a:solidFill>
                            <a:schemeClr val="tx1">
                              <a:lumMod val="75000"/>
                            </a:schemeClr>
                          </a:solidFill>
                        </a:rPr>
                        <a:t>Public debt </a:t>
                      </a:r>
                      <a:r>
                        <a:rPr lang="en-GB" sz="1200" b="1" baseline="0" noProof="0">
                          <a:solidFill>
                            <a:schemeClr val="tx1">
                              <a:lumMod val="75000"/>
                            </a:schemeClr>
                          </a:solidFill>
                        </a:rPr>
                        <a:t>(ESA2010, % GDP)</a:t>
                      </a:r>
                      <a:endParaRPr lang="en-GB" sz="1200" b="1" noProof="0">
                        <a:solidFill>
                          <a:schemeClr val="tx1">
                            <a:lumMod val="75000"/>
                          </a:schemeClr>
                        </a:solidFill>
                      </a:endParaRPr>
                    </a:p>
                  </a:txBody>
                  <a:tcPr anchor="ctr">
                    <a:lnL w="12700" cmpd="sng">
                      <a:noFill/>
                    </a:lnL>
                    <a:lnR w="12700" cmpd="sng">
                      <a:noFill/>
                    </a:lnR>
                    <a:lnT w="3175" cap="flat" cmpd="sng" algn="ctr">
                      <a:solidFill>
                        <a:srgbClr val="C00000"/>
                      </a:solidFill>
                      <a:prstDash val="solid"/>
                      <a:round/>
                      <a:headEnd type="none" w="med" len="med"/>
                      <a:tailEnd type="none" w="med" len="med"/>
                    </a:lnT>
                    <a:lnB w="3175" cap="flat" cmpd="sng" algn="ctr">
                      <a:solidFill>
                        <a:srgbClr val="C00000"/>
                      </a:solidFill>
                      <a:prstDash val="solid"/>
                      <a:round/>
                      <a:headEnd type="none" w="med" len="med"/>
                      <a:tailEnd type="none" w="med" len="med"/>
                    </a:lnB>
                    <a:solidFill>
                      <a:srgbClr val="FFEFEF">
                        <a:alpha val="40000"/>
                      </a:srgbClr>
                    </a:solidFill>
                  </a:tcPr>
                </a:tc>
                <a:tc>
                  <a:txBody>
                    <a:bodyPr/>
                    <a:lstStyle/>
                    <a:p>
                      <a:pPr algn="ctr"/>
                      <a:endParaRPr lang="en-GB" sz="1200" b="0" noProof="0">
                        <a:solidFill>
                          <a:schemeClr val="tx1">
                            <a:lumMod val="75000"/>
                          </a:schemeClr>
                        </a:solidFill>
                      </a:endParaRPr>
                    </a:p>
                  </a:txBody>
                  <a:tcPr anchor="ctr">
                    <a:lnL w="12700" cmpd="sng">
                      <a:noFill/>
                    </a:lnL>
                    <a:lnR w="12700" cmpd="sng">
                      <a:noFill/>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noProof="0">
                          <a:solidFill>
                            <a:schemeClr val="tx1">
                              <a:lumMod val="75000"/>
                            </a:schemeClr>
                          </a:solidFill>
                        </a:rPr>
                        <a:t>53,4</a:t>
                      </a:r>
                    </a:p>
                  </a:txBody>
                  <a:tcPr anchor="ctr">
                    <a:lnL w="12700" cmpd="sng">
                      <a:noFill/>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0" noProof="0">
                          <a:solidFill>
                            <a:schemeClr val="tx1">
                              <a:lumMod val="75000"/>
                            </a:schemeClr>
                          </a:solidFill>
                        </a:rPr>
                        <a:t>48,1</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1" noProof="0">
                          <a:solidFill>
                            <a:schemeClr val="tx1">
                              <a:lumMod val="75000"/>
                            </a:schemeClr>
                          </a:solidFill>
                        </a:rPr>
                        <a:t>50,9</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tc>
                  <a:txBody>
                    <a:bodyPr/>
                    <a:lstStyle/>
                    <a:p>
                      <a:pPr algn="ctr"/>
                      <a:r>
                        <a:rPr lang="en-GB" sz="1200" b="1" noProof="0">
                          <a:solidFill>
                            <a:schemeClr val="tx1">
                              <a:lumMod val="75000"/>
                            </a:schemeClr>
                          </a:solidFill>
                        </a:rPr>
                        <a:t>49,0</a:t>
                      </a:r>
                    </a:p>
                  </a:txBody>
                  <a:tcPr anchor="ctr">
                    <a:lnL w="3175" cap="flat" cmpd="sng" algn="ctr">
                      <a:noFill/>
                      <a:prstDash val="solid"/>
                      <a:round/>
                      <a:headEnd type="none" w="med" len="med"/>
                      <a:tailEnd type="none" w="med" len="med"/>
                    </a:lnL>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631729139"/>
                  </a:ext>
                </a:extLst>
              </a:tr>
              <a:tr h="296973">
                <a:tc rowSpan="3">
                  <a:txBody>
                    <a:bodyPr/>
                    <a:lstStyle/>
                    <a:p>
                      <a:pPr algn="ctr"/>
                      <a:r>
                        <a:rPr lang="en-GB" sz="1200" b="1" noProof="0">
                          <a:solidFill>
                            <a:schemeClr val="bg1"/>
                          </a:solidFill>
                        </a:rPr>
                        <a:t>Balance of payments &amp; FX</a:t>
                      </a:r>
                    </a:p>
                  </a:txBody>
                  <a:tcPr anchor="ctr">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tc>
                  <a:txBody>
                    <a:bodyPr/>
                    <a:lstStyle/>
                    <a:p>
                      <a:pPr algn="l"/>
                      <a:r>
                        <a:rPr lang="en-GB" sz="1200" b="1" noProof="0">
                          <a:solidFill>
                            <a:schemeClr val="tx1">
                              <a:lumMod val="75000"/>
                            </a:schemeClr>
                          </a:solidFill>
                        </a:rPr>
                        <a:t>Current acount balance (% GDP)</a:t>
                      </a:r>
                    </a:p>
                  </a:txBody>
                  <a:tcPr anchor="ctr">
                    <a:lnL w="12700" cmpd="sng">
                      <a:noFill/>
                    </a:lnL>
                    <a:lnR w="12700" cmpd="sng">
                      <a:noFill/>
                    </a:lnR>
                    <a:lnT w="3175" cap="flat" cmpd="sng" algn="ctr">
                      <a:solidFill>
                        <a:srgbClr val="C00000"/>
                      </a:solidFill>
                      <a:prstDash val="solid"/>
                      <a:round/>
                      <a:headEnd type="none" w="med" len="med"/>
                      <a:tailEnd type="none" w="med" len="med"/>
                    </a:lnT>
                    <a:lnB w="3175" cap="flat" cmpd="sng" algn="ctr">
                      <a:solidFill>
                        <a:srgbClr val="C00000"/>
                      </a:solidFill>
                      <a:prstDash val="solid"/>
                      <a:round/>
                      <a:headEnd type="none" w="med" len="med"/>
                      <a:tailEnd type="none" w="med" len="med"/>
                    </a:lnB>
                    <a:solidFill>
                      <a:srgbClr val="FFEFEF">
                        <a:alpha val="40000"/>
                      </a:srgbClr>
                    </a:solidFill>
                  </a:tcPr>
                </a:tc>
                <a:tc>
                  <a:txBody>
                    <a:bodyPr/>
                    <a:lstStyle/>
                    <a:p>
                      <a:pPr algn="ctr"/>
                      <a:endParaRPr lang="en-GB" sz="1200" b="0" noProof="0">
                        <a:solidFill>
                          <a:schemeClr val="tx1">
                            <a:lumMod val="75000"/>
                          </a:schemeClr>
                        </a:solidFill>
                      </a:endParaRPr>
                    </a:p>
                  </a:txBody>
                  <a:tcPr anchor="ctr">
                    <a:lnL w="12700" cmpd="sng">
                      <a:noFill/>
                    </a:lnL>
                    <a:lnR w="12700" cmpd="sng">
                      <a:noFill/>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noProof="0">
                          <a:solidFill>
                            <a:schemeClr val="tx1">
                              <a:lumMod val="75000"/>
                            </a:schemeClr>
                          </a:solidFill>
                        </a:rPr>
                        <a:t>-1,4</a:t>
                      </a:r>
                    </a:p>
                  </a:txBody>
                  <a:tcPr anchor="ctr">
                    <a:lnL w="12700" cmpd="sng">
                      <a:noFill/>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0" noProof="0">
                          <a:solidFill>
                            <a:schemeClr val="tx1">
                              <a:lumMod val="75000"/>
                            </a:schemeClr>
                          </a:solidFill>
                        </a:rPr>
                        <a:t>-3,2</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1" noProof="0">
                          <a:solidFill>
                            <a:schemeClr val="tx1">
                              <a:lumMod val="75000"/>
                            </a:schemeClr>
                          </a:solidFill>
                        </a:rPr>
                        <a:t>-1,1</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tc>
                  <a:txBody>
                    <a:bodyPr/>
                    <a:lstStyle/>
                    <a:p>
                      <a:pPr algn="ctr"/>
                      <a:r>
                        <a:rPr lang="en-GB" sz="1200" b="1" noProof="0">
                          <a:solidFill>
                            <a:schemeClr val="tx1">
                              <a:lumMod val="75000"/>
                            </a:schemeClr>
                          </a:solidFill>
                        </a:rPr>
                        <a:t>0,3</a:t>
                      </a:r>
                    </a:p>
                  </a:txBody>
                  <a:tcPr anchor="ctr">
                    <a:lnL w="3175" cap="flat" cmpd="sng" algn="ctr">
                      <a:noFill/>
                      <a:prstDash val="solid"/>
                      <a:round/>
                      <a:headEnd type="none" w="med" len="med"/>
                      <a:tailEnd type="none" w="med" len="med"/>
                    </a:lnL>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2346315626"/>
                  </a:ext>
                </a:extLst>
              </a:tr>
              <a:tr h="296973">
                <a:tc vMerge="1">
                  <a:txBody>
                    <a:bodyPr/>
                    <a:lstStyle/>
                    <a:p>
                      <a:pPr algn="l"/>
                      <a:endParaRPr lang="pl-PL" sz="1200" b="1" dirty="0">
                        <a:solidFill>
                          <a:schemeClr val="tx1">
                            <a:lumMod val="75000"/>
                          </a:schemeClr>
                        </a:solidFill>
                      </a:endParaRPr>
                    </a:p>
                  </a:txBody>
                  <a:tcPr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l"/>
                      <a:r>
                        <a:rPr lang="en-GB" sz="1200" b="1" noProof="0">
                          <a:solidFill>
                            <a:schemeClr val="tx1">
                              <a:lumMod val="75000"/>
                            </a:schemeClr>
                          </a:solidFill>
                        </a:rPr>
                        <a:t>EUR/PLN (end of period</a:t>
                      </a:r>
                      <a:r>
                        <a:rPr lang="en-GB" sz="1200" b="1" baseline="0" noProof="0">
                          <a:solidFill>
                            <a:schemeClr val="tx1">
                              <a:lumMod val="75000"/>
                            </a:schemeClr>
                          </a:solidFill>
                        </a:rPr>
                        <a:t>)</a:t>
                      </a:r>
                      <a:endParaRPr lang="en-GB" sz="1200" b="1" noProof="0">
                        <a:solidFill>
                          <a:schemeClr val="tx1">
                            <a:lumMod val="75000"/>
                          </a:schemeClr>
                        </a:solidFill>
                      </a:endParaRPr>
                    </a:p>
                  </a:txBody>
                  <a:tcPr anchor="ctr">
                    <a:lnL w="12700" cmpd="sng">
                      <a:noFill/>
                    </a:lnL>
                    <a:lnR w="12700" cmpd="sng">
                      <a:noFill/>
                    </a:lnR>
                    <a:lnT w="3175" cap="flat" cmpd="sng" algn="ctr">
                      <a:solidFill>
                        <a:srgbClr val="C00000"/>
                      </a:solidFill>
                      <a:prstDash val="solid"/>
                      <a:round/>
                      <a:headEnd type="none" w="med" len="med"/>
                      <a:tailEnd type="none" w="med" len="med"/>
                    </a:lnT>
                    <a:lnB w="3175" cap="flat" cmpd="sng" algn="ctr">
                      <a:solidFill>
                        <a:srgbClr val="C00000"/>
                      </a:solidFill>
                      <a:prstDash val="solid"/>
                      <a:round/>
                      <a:headEnd type="none" w="med" len="med"/>
                      <a:tailEnd type="none" w="med" len="med"/>
                    </a:lnB>
                    <a:solidFill>
                      <a:srgbClr val="FFEFEF">
                        <a:alpha val="40000"/>
                      </a:srgbClr>
                    </a:solidFill>
                  </a:tcPr>
                </a:tc>
                <a:tc>
                  <a:txBody>
                    <a:bodyPr/>
                    <a:lstStyle/>
                    <a:p>
                      <a:pPr algn="ctr"/>
                      <a:endParaRPr lang="en-GB" sz="1200" b="0" noProof="0">
                        <a:solidFill>
                          <a:schemeClr val="tx1">
                            <a:lumMod val="75000"/>
                          </a:schemeClr>
                        </a:solidFill>
                      </a:endParaRPr>
                    </a:p>
                  </a:txBody>
                  <a:tcPr anchor="ctr">
                    <a:lnL w="12700" cmpd="sng">
                      <a:noFill/>
                    </a:lnL>
                    <a:lnR w="12700" cmpd="sng">
                      <a:noFill/>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noProof="0">
                          <a:solidFill>
                            <a:schemeClr val="tx1">
                              <a:lumMod val="75000"/>
                            </a:schemeClr>
                          </a:solidFill>
                        </a:rPr>
                        <a:t>4,60</a:t>
                      </a:r>
                    </a:p>
                  </a:txBody>
                  <a:tcPr anchor="ctr">
                    <a:lnL w="12700" cmpd="sng">
                      <a:noFill/>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0" noProof="0">
                          <a:solidFill>
                            <a:schemeClr val="tx1">
                              <a:lumMod val="75000"/>
                            </a:schemeClr>
                          </a:solidFill>
                        </a:rPr>
                        <a:t>4,69</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solidFill>
                  </a:tcPr>
                </a:tc>
                <a:tc>
                  <a:txBody>
                    <a:bodyPr/>
                    <a:lstStyle/>
                    <a:p>
                      <a:pPr algn="ctr"/>
                      <a:r>
                        <a:rPr lang="en-GB" sz="1200" b="1" noProof="0">
                          <a:solidFill>
                            <a:schemeClr val="tx1">
                              <a:lumMod val="75000"/>
                            </a:schemeClr>
                          </a:solidFill>
                        </a:rPr>
                        <a:t>4,7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tc>
                  <a:txBody>
                    <a:bodyPr/>
                    <a:lstStyle/>
                    <a:p>
                      <a:pPr algn="ctr"/>
                      <a:r>
                        <a:rPr lang="en-GB" sz="1200" b="1" noProof="0">
                          <a:solidFill>
                            <a:schemeClr val="tx1">
                              <a:lumMod val="75000"/>
                            </a:schemeClr>
                          </a:solidFill>
                        </a:rPr>
                        <a:t>4,78</a:t>
                      </a:r>
                    </a:p>
                  </a:txBody>
                  <a:tcPr anchor="ctr">
                    <a:lnL w="3175" cap="flat" cmpd="sng" algn="ctr">
                      <a:noFill/>
                      <a:prstDash val="solid"/>
                      <a:round/>
                      <a:headEnd type="none" w="med" len="med"/>
                      <a:tailEnd type="none" w="med" len="med"/>
                    </a:lnL>
                    <a:lnT w="6350" cap="flat" cmpd="sng" algn="ctr">
                      <a:solidFill>
                        <a:schemeClr val="bg1">
                          <a:lumMod val="65000"/>
                        </a:schemeClr>
                      </a:solidFill>
                      <a:prstDash val="sysDash"/>
                      <a:round/>
                      <a:headEnd type="none" w="med" len="med"/>
                      <a:tailEnd type="none" w="med" len="med"/>
                    </a:lnT>
                    <a:lnB w="6350" cap="flat" cmpd="sng" algn="ctr">
                      <a:solidFill>
                        <a:schemeClr val="bg1">
                          <a:lumMod val="65000"/>
                        </a:schemeClr>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4142243460"/>
                  </a:ext>
                </a:extLst>
              </a:tr>
              <a:tr h="296973">
                <a:tc vMerge="1">
                  <a:txBody>
                    <a:bodyPr/>
                    <a:lstStyle/>
                    <a:p>
                      <a:pPr algn="l"/>
                      <a:endParaRPr lang="pl-PL" sz="1200" b="1" dirty="0">
                        <a:solidFill>
                          <a:schemeClr val="tx1">
                            <a:lumMod val="75000"/>
                          </a:schemeClr>
                        </a:solidFill>
                      </a:endParaRPr>
                    </a:p>
                  </a:txBody>
                  <a:tcPr anchor="ctr">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tc>
                  <a:txBody>
                    <a:bodyPr/>
                    <a:lstStyle/>
                    <a:p>
                      <a:pPr algn="l"/>
                      <a:r>
                        <a:rPr lang="en-GB" sz="1200" b="1" noProof="0">
                          <a:solidFill>
                            <a:schemeClr val="tx1">
                              <a:lumMod val="75000"/>
                            </a:schemeClr>
                          </a:solidFill>
                        </a:rPr>
                        <a:t>USD/PLN (end of period)</a:t>
                      </a:r>
                    </a:p>
                  </a:txBody>
                  <a:tcPr anchor="ctr">
                    <a:lnL w="12700" cmpd="sng">
                      <a:noFill/>
                    </a:lnL>
                    <a:lnR w="12700" cmpd="sng">
                      <a:noFill/>
                    </a:lnR>
                    <a:lnT w="3175" cap="flat" cmpd="sng" algn="ctr">
                      <a:solidFill>
                        <a:srgbClr val="C00000"/>
                      </a:solidFill>
                      <a:prstDash val="solid"/>
                      <a:round/>
                      <a:headEnd type="none" w="med" len="med"/>
                      <a:tailEnd type="none" w="med" len="med"/>
                    </a:lnT>
                    <a:solidFill>
                      <a:srgbClr val="FFEFEF">
                        <a:alpha val="40000"/>
                      </a:srgbClr>
                    </a:solidFill>
                  </a:tcPr>
                </a:tc>
                <a:tc>
                  <a:txBody>
                    <a:bodyPr/>
                    <a:lstStyle/>
                    <a:p>
                      <a:pPr algn="ctr"/>
                      <a:endParaRPr lang="en-GB" sz="1200" b="0" noProof="0">
                        <a:solidFill>
                          <a:schemeClr val="tx1">
                            <a:lumMod val="75000"/>
                          </a:schemeClr>
                        </a:solidFill>
                      </a:endParaRPr>
                    </a:p>
                  </a:txBody>
                  <a:tcPr anchor="ctr">
                    <a:lnL w="12700" cmpd="sng">
                      <a:noFill/>
                    </a:lnL>
                    <a:lnR w="12700" cmpd="sng">
                      <a:noFill/>
                    </a:lnR>
                    <a:lnT w="6350" cap="flat" cmpd="sng" algn="ctr">
                      <a:noFill/>
                      <a:prstDash val="sys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noProof="0">
                          <a:solidFill>
                            <a:schemeClr val="tx1">
                              <a:lumMod val="75000"/>
                            </a:schemeClr>
                          </a:solidFill>
                        </a:rPr>
                        <a:t>4,06</a:t>
                      </a:r>
                    </a:p>
                  </a:txBody>
                  <a:tcPr anchor="ctr">
                    <a:lnL w="12700" cmpd="sng">
                      <a:noFill/>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noProof="0">
                          <a:solidFill>
                            <a:schemeClr val="tx1">
                              <a:lumMod val="75000"/>
                            </a:schemeClr>
                          </a:solidFill>
                        </a:rPr>
                        <a:t>4,40</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noProof="0">
                          <a:solidFill>
                            <a:schemeClr val="tx1">
                              <a:lumMod val="75000"/>
                            </a:schemeClr>
                          </a:solidFill>
                        </a:rPr>
                        <a:t>4,27</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65000"/>
                        </a:schemeClr>
                      </a:solidFill>
                      <a:prstDash val="sys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200" b="1" noProof="0" dirty="0">
                          <a:solidFill>
                            <a:schemeClr val="tx1">
                              <a:lumMod val="75000"/>
                            </a:schemeClr>
                          </a:solidFill>
                        </a:rPr>
                        <a:t>4,23</a:t>
                      </a:r>
                    </a:p>
                  </a:txBody>
                  <a:tcPr anchor="ctr">
                    <a:lnL w="3175" cap="flat" cmpd="sng" algn="ctr">
                      <a:noFill/>
                      <a:prstDash val="solid"/>
                      <a:round/>
                      <a:headEnd type="none" w="med" len="med"/>
                      <a:tailEnd type="none" w="med" len="med"/>
                    </a:lnL>
                    <a:lnR w="12700" cmpd="sng">
                      <a:noFill/>
                    </a:lnR>
                    <a:lnT w="6350" cap="flat" cmpd="sng" algn="ctr">
                      <a:solidFill>
                        <a:schemeClr val="bg1">
                          <a:lumMod val="65000"/>
                        </a:schemeClr>
                      </a:solidFill>
                      <a:prstDash val="sys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8314260"/>
                  </a:ext>
                </a:extLst>
              </a:tr>
            </a:tbl>
          </a:graphicData>
        </a:graphic>
      </p:graphicFrame>
    </p:spTree>
    <p:extLst>
      <p:ext uri="{BB962C8B-B14F-4D97-AF65-F5344CB8AC3E}">
        <p14:creationId xmlns:p14="http://schemas.microsoft.com/office/powerpoint/2010/main" val="96165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i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i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51" name="Obraz 150"/>
          <p:cNvPicPr/>
          <p:nvPr/>
        </p:nvPicPr>
        <p:blipFill rotWithShape="1">
          <a:blip r:embed="rId7">
            <a:extLst>
              <a:ext uri="{28A0092B-C50C-407E-A947-70E740481C1C}">
                <a14:useLocalDpi xmlns:a14="http://schemas.microsoft.com/office/drawing/2010/main" val="0"/>
              </a:ext>
            </a:extLst>
          </a:blip>
          <a:srcRect l="62014" b="51403"/>
          <a:stretch/>
        </p:blipFill>
        <p:spPr bwMode="auto">
          <a:xfrm>
            <a:off x="11473378" y="531024"/>
            <a:ext cx="706057" cy="1157468"/>
          </a:xfrm>
          <a:prstGeom prst="rect">
            <a:avLst/>
          </a:prstGeom>
          <a:noFill/>
        </p:spPr>
      </p:pic>
      <p:cxnSp>
        <p:nvCxnSpPr>
          <p:cNvPr id="121" name="Łącznik prosty 120"/>
          <p:cNvCxnSpPr/>
          <p:nvPr/>
        </p:nvCxnSpPr>
        <p:spPr>
          <a:xfrm>
            <a:off x="-112115" y="550605"/>
            <a:ext cx="12416230" cy="0"/>
          </a:xfrm>
          <a:prstGeom prst="line">
            <a:avLst/>
          </a:prstGeom>
          <a:ln w="28575" cap="rnd">
            <a:solidFill>
              <a:srgbClr val="D62121"/>
            </a:solidFill>
            <a:prstDash val="solid"/>
            <a:round/>
          </a:ln>
        </p:spPr>
        <p:style>
          <a:lnRef idx="1">
            <a:schemeClr val="accent1"/>
          </a:lnRef>
          <a:fillRef idx="0">
            <a:schemeClr val="accent1"/>
          </a:fillRef>
          <a:effectRef idx="0">
            <a:schemeClr val="accent1"/>
          </a:effectRef>
          <a:fontRef idx="minor">
            <a:schemeClr val="tx1"/>
          </a:fontRef>
        </p:style>
      </p:cxnSp>
      <p:sp>
        <p:nvSpPr>
          <p:cNvPr id="5" name="Tytuł 4">
            <a:extLst>
              <a:ext uri="{FF2B5EF4-FFF2-40B4-BE49-F238E27FC236}">
                <a16:creationId xmlns:a16="http://schemas.microsoft.com/office/drawing/2014/main" id="{1CF6C14E-4999-40E5-A548-38AB2D541588}"/>
              </a:ext>
            </a:extLst>
          </p:cNvPr>
          <p:cNvSpPr>
            <a:spLocks noGrp="1"/>
          </p:cNvSpPr>
          <p:nvPr>
            <p:ph type="title"/>
          </p:nvPr>
        </p:nvSpPr>
        <p:spPr>
          <a:xfrm>
            <a:off x="725125" y="2835251"/>
            <a:ext cx="11466875" cy="404119"/>
          </a:xfrm>
        </p:spPr>
        <p:txBody>
          <a:bodyPr/>
          <a:lstStyle/>
          <a:p>
            <a:r>
              <a:rPr lang="en-US" dirty="0"/>
              <a:t>How institutions</a:t>
            </a:r>
            <a:r>
              <a:rPr lang="pl-PL" dirty="0"/>
              <a:t> </a:t>
            </a:r>
            <a:r>
              <a:rPr lang="en-US" dirty="0"/>
              <a:t>can support entrepreneurs in their international activities - our experience and capabilities</a:t>
            </a:r>
            <a:br>
              <a:rPr lang="pl-PL" dirty="0"/>
            </a:br>
            <a:br>
              <a:rPr lang="pl-PL" dirty="0"/>
            </a:br>
            <a:br>
              <a:rPr lang="pl-PL" dirty="0"/>
            </a:br>
            <a:br>
              <a:rPr lang="pl-PL" dirty="0"/>
            </a:br>
            <a:br>
              <a:rPr lang="pl-PL" dirty="0"/>
            </a:br>
            <a:br>
              <a:rPr lang="pl-PL" dirty="0"/>
            </a:br>
            <a:br>
              <a:rPr lang="pl-PL" dirty="0"/>
            </a:br>
            <a:r>
              <a:rPr lang="pl-PL" b="0" dirty="0"/>
              <a:t>Part II</a:t>
            </a:r>
          </a:p>
        </p:txBody>
      </p:sp>
    </p:spTree>
    <p:extLst>
      <p:ext uri="{BB962C8B-B14F-4D97-AF65-F5344CB8AC3E}">
        <p14:creationId xmlns:p14="http://schemas.microsoft.com/office/powerpoint/2010/main" val="4184828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STYLE_NAME" val="Pekao SA GRID 2019 Grid 16:9"/>
  <p:tag name="EE4P_STYLE_ID" val="39dcc26a-7131-49f4-a9eb-1c0521500c03"/>
  <p:tag name="EE4P_MASTERWIZARD_MARGINS" val="0"/>
  <p:tag name="THINKCELLPRESENTATIONDONOTDELETE" val="&lt;?xml version=&quot;1.0&quot; encoding=&quot;UTF-16&quot; standalone=&quot;yes&quot;?&gt;&lt;root reqver=&quot;25060&quot;&gt;&lt;version val=&quot;284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2&quot;&gt;&lt;elem m_fUsage=&quot;9.82619565035075126502E+00&quot;&gt;&lt;m_msothmcolidx val=&quot;0&quot;/&gt;&lt;m_rgb r=&quot;D9&quot; g=&quot;26&quot; b=&quot;2C&quot;/&gt;&lt;m_nBrightness endver=&quot;26206&quot; val=&quot;0&quot;/&gt;&lt;/elem&gt;&lt;elem m_fUsage=&quot;2.25283995449391989674E-02&quot;&gt;&lt;m_msothmcolidx val=&quot;0&quot;/&gt;&lt;m_rgb r=&quot;D2&quot; g=&quot;D3&quot; b=&quot;D3&quot;/&gt;&lt;m_nBrightness endver=&quot;26206&quot; val=&quot;0&quot;/&gt;&lt;/elem&gt;&lt;elem m_fUsage=&quot;2.09869310813541563865E-02&quot;&gt;&lt;m_msothmcolidx val=&quot;0&quot;/&gt;&lt;m_rgb r=&quot;E5&quot; g=&quot;3C&quot; b=&quot;45&quot;/&gt;&lt;m_nBrightness endver=&quot;26206&quot; val=&quot;0&quot;/&gt;&lt;/elem&gt;&lt;elem m_fUsage=&quot;1.84257008659629607783E-02&quot;&gt;&lt;m_msothmcolidx val=&quot;0&quot;/&gt;&lt;m_rgb r=&quot;7F&quot; g=&quot;7F&quot; b=&quot;7F&quot;/&gt;&lt;m_nBrightness endver=&quot;26206&quot; val=&quot;0&quot;/&gt;&lt;/elem&gt;&lt;elem m_fUsage=&quot;1.49248177014300008325E-02&quot;&gt;&lt;m_msothmcolidx val=&quot;0&quot;/&gt;&lt;m_rgb r=&quot;59&quot; g=&quot;0D&quot; b=&quot;10&quot;/&gt;&lt;m_nBrightness endver=&quot;26206&quot; val=&quot;0&quot;/&gt;&lt;/elem&gt;&lt;elem m_fUsage=&quot;1.39667308118375226716E-02&quot;&gt;&lt;m_msothmcolidx val=&quot;0&quot;/&gt;&lt;m_rgb r=&quot;6C&quot; g=&quot;0D&quot; b=&quot;10&quot;/&gt;&lt;m_nBrightness endver=&quot;26206&quot; val=&quot;0&quot;/&gt;&lt;/elem&gt;&lt;elem m_fUsage=&quot;1.33027946472911474951E-02&quot;&gt;&lt;m_msothmcolidx val=&quot;0&quot;/&gt;&lt;m_rgb r=&quot;D7&quot; g=&quot;19&quot; b=&quot;21&quot;/&gt;&lt;m_nBrightness endver=&quot;26206&quot; val=&quot;0&quot;/&gt;&lt;/elem&gt;&lt;elem m_fUsage=&quot;1.20891023381583008478E-02&quot;&gt;&lt;m_msothmcolidx val=&quot;0&quot;/&gt;&lt;m_rgb r=&quot;00&quot; g=&quot;54&quot; b=&quot;26&quot;/&gt;&lt;m_nBrightness endver=&quot;26206&quot; val=&quot;0&quot;/&gt;&lt;/elem&gt;&lt;elem m_fUsage=&quot;1.19725151825620327456E-02&quot;&gt;&lt;m_msothmcolidx val=&quot;0&quot;/&gt;&lt;m_rgb r=&quot;D6&quot; g=&quot;1F&quot; b=&quot;1F&quot;/&gt;&lt;m_nBrightness endver=&quot;26206&quot; val=&quot;0&quot;/&gt;&lt;/elem&gt;&lt;elem m_fUsage=&quot;1.07752636643058292976E-02&quot;&gt;&lt;m_msothmcolidx val=&quot;0&quot;/&gt;&lt;m_rgb r=&quot;C0&quot; g=&quot;00&quot; b=&quot;00&quot;/&gt;&lt;m_nBrightness endver=&quot;26206&quot; val=&quot;0&quot;/&gt;&lt;/elem&gt;&lt;elem m_fUsage=&quot;7.13849403965909675568E-03&quot;&gt;&lt;m_msothmcolidx val=&quot;0&quot;/&gt;&lt;m_rgb r=&quot;1B&quot; g=&quot;59&quot; b=&quot;9A&quot;/&gt;&lt;m_nBrightness endver=&quot;26206&quot; val=&quot;0&quot;/&gt;&lt;/elem&gt;&lt;elem m_fUsage=&quot;3.04325272217045731185E-03&quot;&gt;&lt;m_msothmcolidx val=&quot;0&quot;/&gt;&lt;m_rgb r=&quot;39&quot; g=&quot;4D&quot; b=&quot;70&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6PDX3mD85qllNZ2jtns_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T3rhqzzS5X6H9VL76TOB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T3rhqzzS5X6H9VL76TOB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0udriXvQdSusWEIul5Hu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0udriXvQdSusWEIul5Hu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T3rhqzzS5X6H9VL76TOB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S0udriXvQdSusWEIul5H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T3rhqzzS5X6H9VL76TOB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0udriXvQdSusWEIul5H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ekao SA GRID 2019 Grid 16:9">
  <a:themeElements>
    <a:clrScheme name="Custom 1">
      <a:dk1>
        <a:srgbClr val="414141"/>
      </a:dk1>
      <a:lt1>
        <a:sysClr val="window" lastClr="FFFFFF"/>
      </a:lt1>
      <a:dk2>
        <a:srgbClr val="971217"/>
      </a:dk2>
      <a:lt2>
        <a:srgbClr val="F2F2F2"/>
      </a:lt2>
      <a:accent1>
        <a:srgbClr val="D71920"/>
      </a:accent1>
      <a:accent2>
        <a:srgbClr val="570A0D"/>
      </a:accent2>
      <a:accent3>
        <a:srgbClr val="FFC000"/>
      </a:accent3>
      <a:accent4>
        <a:srgbClr val="414141"/>
      </a:accent4>
      <a:accent5>
        <a:srgbClr val="9A9A9A"/>
      </a:accent5>
      <a:accent6>
        <a:srgbClr val="ED656B"/>
      </a:accent6>
      <a:hlink>
        <a:srgbClr val="07B965"/>
      </a:hlink>
      <a:folHlink>
        <a:srgbClr val="07B96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600" dirty="0" err="1"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Pekao SA GRID 2019 Grid 16:9">
  <a:themeElements>
    <a:clrScheme name="Custom 1">
      <a:dk1>
        <a:srgbClr val="414141"/>
      </a:dk1>
      <a:lt1>
        <a:sysClr val="window" lastClr="FFFFFF"/>
      </a:lt1>
      <a:dk2>
        <a:srgbClr val="971217"/>
      </a:dk2>
      <a:lt2>
        <a:srgbClr val="F2F2F2"/>
      </a:lt2>
      <a:accent1>
        <a:srgbClr val="D71920"/>
      </a:accent1>
      <a:accent2>
        <a:srgbClr val="570A0D"/>
      </a:accent2>
      <a:accent3>
        <a:srgbClr val="FFC000"/>
      </a:accent3>
      <a:accent4>
        <a:srgbClr val="414141"/>
      </a:accent4>
      <a:accent5>
        <a:srgbClr val="9A9A9A"/>
      </a:accent5>
      <a:accent6>
        <a:srgbClr val="ED656B"/>
      </a:accent6>
      <a:hlink>
        <a:srgbClr val="07B965"/>
      </a:hlink>
      <a:folHlink>
        <a:srgbClr val="07B96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600" dirty="0" err="1"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Pekao SA GRID 2019 Grid 16:9">
  <a:themeElements>
    <a:clrScheme name="Custom 1">
      <a:dk1>
        <a:srgbClr val="414141"/>
      </a:dk1>
      <a:lt1>
        <a:sysClr val="window" lastClr="FFFFFF"/>
      </a:lt1>
      <a:dk2>
        <a:srgbClr val="971217"/>
      </a:dk2>
      <a:lt2>
        <a:srgbClr val="F2F2F2"/>
      </a:lt2>
      <a:accent1>
        <a:srgbClr val="D71920"/>
      </a:accent1>
      <a:accent2>
        <a:srgbClr val="570A0D"/>
      </a:accent2>
      <a:accent3>
        <a:srgbClr val="FFC000"/>
      </a:accent3>
      <a:accent4>
        <a:srgbClr val="414141"/>
      </a:accent4>
      <a:accent5>
        <a:srgbClr val="9A9A9A"/>
      </a:accent5>
      <a:accent6>
        <a:srgbClr val="ED656B"/>
      </a:accent6>
      <a:hlink>
        <a:srgbClr val="07B965"/>
      </a:hlink>
      <a:folHlink>
        <a:srgbClr val="07B96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600" dirty="0" err="1"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3_Pekao SA GRID 2019 Grid 16:9">
  <a:themeElements>
    <a:clrScheme name="Custom 1">
      <a:dk1>
        <a:srgbClr val="414141"/>
      </a:dk1>
      <a:lt1>
        <a:sysClr val="window" lastClr="FFFFFF"/>
      </a:lt1>
      <a:dk2>
        <a:srgbClr val="971217"/>
      </a:dk2>
      <a:lt2>
        <a:srgbClr val="F2F2F2"/>
      </a:lt2>
      <a:accent1>
        <a:srgbClr val="D71920"/>
      </a:accent1>
      <a:accent2>
        <a:srgbClr val="570A0D"/>
      </a:accent2>
      <a:accent3>
        <a:srgbClr val="FFC000"/>
      </a:accent3>
      <a:accent4>
        <a:srgbClr val="414141"/>
      </a:accent4>
      <a:accent5>
        <a:srgbClr val="9A9A9A"/>
      </a:accent5>
      <a:accent6>
        <a:srgbClr val="ED656B"/>
      </a:accent6>
      <a:hlink>
        <a:srgbClr val="07B965"/>
      </a:hlink>
      <a:folHlink>
        <a:srgbClr val="07B96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600" dirty="0" err="1"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0756</TotalTime>
  <Words>2656</Words>
  <Application>Microsoft Office PowerPoint</Application>
  <PresentationFormat>Panoramiczny</PresentationFormat>
  <Paragraphs>537</Paragraphs>
  <Slides>20</Slides>
  <Notes>19</Notes>
  <HiddenSlides>0</HiddenSlides>
  <MMClips>0</MMClips>
  <ScaleCrop>false</ScaleCrop>
  <HeadingPairs>
    <vt:vector size="10" baseType="variant">
      <vt:variant>
        <vt:lpstr>Używane czcionki</vt:lpstr>
      </vt:variant>
      <vt:variant>
        <vt:i4>7</vt:i4>
      </vt:variant>
      <vt:variant>
        <vt:lpstr>Motyw</vt:lpstr>
      </vt:variant>
      <vt:variant>
        <vt:i4>4</vt:i4>
      </vt:variant>
      <vt:variant>
        <vt:lpstr>Osadzone serwery OLE</vt:lpstr>
      </vt:variant>
      <vt:variant>
        <vt:i4>1</vt:i4>
      </vt:variant>
      <vt:variant>
        <vt:lpstr>Tytuły slajdów</vt:lpstr>
      </vt:variant>
      <vt:variant>
        <vt:i4>20</vt:i4>
      </vt:variant>
      <vt:variant>
        <vt:lpstr>Pokazy niestandardowe</vt:lpstr>
      </vt:variant>
      <vt:variant>
        <vt:i4>1</vt:i4>
      </vt:variant>
    </vt:vector>
  </HeadingPairs>
  <TitlesOfParts>
    <vt:vector size="33" baseType="lpstr">
      <vt:lpstr>Arial</vt:lpstr>
      <vt:lpstr>Calibri</vt:lpstr>
      <vt:lpstr>Sofia Pro Light</vt:lpstr>
      <vt:lpstr>Times New Roman</vt:lpstr>
      <vt:lpstr>Trebuchet MS</vt:lpstr>
      <vt:lpstr>Wingdings</vt:lpstr>
      <vt:lpstr>Wingdings 2</vt:lpstr>
      <vt:lpstr>Pekao SA GRID 2019 Grid 16:9</vt:lpstr>
      <vt:lpstr>1_Pekao SA GRID 2019 Grid 16:9</vt:lpstr>
      <vt:lpstr>2_Pekao SA GRID 2019 Grid 16:9</vt:lpstr>
      <vt:lpstr>3_Pekao SA GRID 2019 Grid 16:9</vt:lpstr>
      <vt:lpstr>think-cell Slide</vt:lpstr>
      <vt:lpstr>Prezentacja programu PowerPoint</vt:lpstr>
      <vt:lpstr>Macroeconomic overview       Part I</vt:lpstr>
      <vt:lpstr>Poland’s second Golden Age</vt:lpstr>
      <vt:lpstr>The last 30 years – no longer recession-free</vt:lpstr>
      <vt:lpstr>Despite the pandemic turmoil, Polish exports remained in a strong upward trend, maintaining strong geographic and product diversification  </vt:lpstr>
      <vt:lpstr>The portfolio of foreign direct investments in Poland grows systematically. The trend accelerated after 2015, and the outbreak of the pandemic slowed it down only temporarily.  </vt:lpstr>
      <vt:lpstr>Challenges that lie ahead</vt:lpstr>
      <vt:lpstr>Outlook for 2023-24: let’s remain optimistic</vt:lpstr>
      <vt:lpstr>How institutions can support entrepreneurs in their international activities - our experience and capabilities       Part II</vt:lpstr>
      <vt:lpstr>A network of cooperating institutions and organizations supporting international expansion can help  to consolidate the competitive position of enterprises  </vt:lpstr>
      <vt:lpstr>Cooperation with KIG: by associating businesses, combining the know-how of institutions and financing tools, we will support entrepreneurs in their international activities  </vt:lpstr>
      <vt:lpstr>Bank Pekao Competence Centre for international business ventures and commercial operations of enterprises </vt:lpstr>
      <vt:lpstr>Our experience - examples of transactions</vt:lpstr>
      <vt:lpstr>Case 1: Spanish capital group manufactures means of transport in Poland and exports them to Estonia </vt:lpstr>
      <vt:lpstr>Case 1: Spanish capital group manufactures means of transport in Poland and exports them to Estonia </vt:lpstr>
      <vt:lpstr>Case 2:  Asian and European manufacturers deliver to a clothing company based in Poland </vt:lpstr>
      <vt:lpstr>Prezentacja programu PowerPoint</vt:lpstr>
      <vt:lpstr>Case 3: A company from Ukraine signs a contract with a general contractor &amp; supplier from Poland  and obtains an investment loan</vt:lpstr>
      <vt:lpstr>Case 3: A company from Ukraine signs a contract with a general contractor &amp; supplier from Poland  and obtains an investment loan</vt:lpstr>
      <vt:lpstr>Prezentacja programu PowerPoint</vt:lpstr>
      <vt:lpstr>Format Guide Workshop</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zysztof.mrowczynski@pekao.com.pl</dc:creator>
  <cp:lastModifiedBy>Alicja Strzelczak</cp:lastModifiedBy>
  <cp:revision>2353</cp:revision>
  <cp:lastPrinted>1999-12-31T23:00:00Z</cp:lastPrinted>
  <dcterms:created xsi:type="dcterms:W3CDTF">2019-01-17T18:10:15Z</dcterms:created>
  <dcterms:modified xsi:type="dcterms:W3CDTF">2023-03-07T14:0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6878627</vt:lpwstr>
  </property>
  <property fmtid="{D5CDD505-2E9C-101B-9397-08002B2CF9AE}" pid="4" name="NXPowerLiteSettings">
    <vt:lpwstr>87000AA0054001</vt:lpwstr>
  </property>
  <property fmtid="{D5CDD505-2E9C-101B-9397-08002B2CF9AE}" pid="5" name="NXPowerLiteVersion">
    <vt:lpwstr>D8.0.4</vt:lpwstr>
  </property>
  <property fmtid="{D5CDD505-2E9C-101B-9397-08002B2CF9AE}" pid="6" name="Template Name">
    <vt:lpwstr>16x9</vt:lpwstr>
  </property>
  <property fmtid="{D5CDD505-2E9C-101B-9397-08002B2CF9AE}" pid="7" name="MSIP_Label_e926a907-a439-4552-97d4-cf3e4f94d4c9_Enabled">
    <vt:lpwstr>true</vt:lpwstr>
  </property>
  <property fmtid="{D5CDD505-2E9C-101B-9397-08002B2CF9AE}" pid="8" name="MSIP_Label_e926a907-a439-4552-97d4-cf3e4f94d4c9_SetDate">
    <vt:lpwstr>2023-02-06T12:57:12Z</vt:lpwstr>
  </property>
  <property fmtid="{D5CDD505-2E9C-101B-9397-08002B2CF9AE}" pid="9" name="MSIP_Label_e926a907-a439-4552-97d4-cf3e4f94d4c9_Method">
    <vt:lpwstr>Standard</vt:lpwstr>
  </property>
  <property fmtid="{D5CDD505-2E9C-101B-9397-08002B2CF9AE}" pid="10" name="MSIP_Label_e926a907-a439-4552-97d4-cf3e4f94d4c9_Name">
    <vt:lpwstr>Bank Pekao SA – Do użytku służbowego</vt:lpwstr>
  </property>
  <property fmtid="{D5CDD505-2E9C-101B-9397-08002B2CF9AE}" pid="11" name="MSIP_Label_e926a907-a439-4552-97d4-cf3e4f94d4c9_SiteId">
    <vt:lpwstr>72d4cc57-c098-4169-86a9-284d255e89f2</vt:lpwstr>
  </property>
  <property fmtid="{D5CDD505-2E9C-101B-9397-08002B2CF9AE}" pid="12" name="MSIP_Label_e926a907-a439-4552-97d4-cf3e4f94d4c9_ActionId">
    <vt:lpwstr>7d3b00db-10ab-4763-86dd-2138de226d80</vt:lpwstr>
  </property>
  <property fmtid="{D5CDD505-2E9C-101B-9397-08002B2CF9AE}" pid="13" name="MSIP_Label_e926a907-a439-4552-97d4-cf3e4f94d4c9_ContentBits">
    <vt:lpwstr>0</vt:lpwstr>
  </property>
</Properties>
</file>